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wmv" ContentType="video/x-ms-wmv"/>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4.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5.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6.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7.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8.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9.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0.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1.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2.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3.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15.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16.xml" ContentType="application/vnd.openxmlformats-officedocument.theme+xml"/>
  <Override PartName="/ppt/tags/tag2.xml" ContentType="application/vnd.openxmlformats-officedocument.presentationml.tags+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17.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18.xml" ContentType="application/vnd.openxmlformats-officedocument.theme+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19.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theme/theme20.xml" ContentType="application/vnd.openxmlformats-officedocument.theme+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theme/theme21.xml" ContentType="application/vnd.openxmlformats-officedocument.theme+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theme/theme22.xml" ContentType="application/vnd.openxmlformats-officedocument.theme+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ink/ink1.xml" ContentType="application/inkml+xml"/>
  <Override PartName="/ppt/notesSlides/notesSlide49.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notesSlides/notesSlide5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1.xml" ContentType="application/vnd.openxmlformats-officedocument.presentationml.notesSlide+xml"/>
  <Override PartName="/ppt/ink/ink5.xml" ContentType="application/inkml+xml"/>
  <Override PartName="/ppt/ink/ink6.xml" ContentType="application/inkml+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596" r:id="rId4"/>
    <p:sldMasterId id="2147483762" r:id="rId5"/>
    <p:sldMasterId id="2147485638" r:id="rId6"/>
    <p:sldMasterId id="2147485672" r:id="rId7"/>
    <p:sldMasterId id="2147485732" r:id="rId8"/>
    <p:sldMasterId id="2147485765" r:id="rId9"/>
    <p:sldMasterId id="2147485809" r:id="rId10"/>
    <p:sldMasterId id="2147485848" r:id="rId11"/>
    <p:sldMasterId id="2147485859" r:id="rId12"/>
    <p:sldMasterId id="2147485874" r:id="rId13"/>
    <p:sldMasterId id="2147485913" r:id="rId14"/>
    <p:sldMasterId id="2147485944" r:id="rId15"/>
    <p:sldMasterId id="2147486013" r:id="rId16"/>
    <p:sldMasterId id="2147486047" r:id="rId17"/>
    <p:sldMasterId id="2147486069" r:id="rId18"/>
    <p:sldMasterId id="2147486105" r:id="rId19"/>
    <p:sldMasterId id="2147486127" r:id="rId20"/>
    <p:sldMasterId id="2147486163" r:id="rId21"/>
    <p:sldMasterId id="2147486189" r:id="rId22"/>
    <p:sldMasterId id="2147486225" r:id="rId23"/>
    <p:sldMasterId id="2147486281" r:id="rId24"/>
    <p:sldMasterId id="2147486316" r:id="rId25"/>
    <p:sldMasterId id="2147486336" r:id="rId26"/>
  </p:sldMasterIdLst>
  <p:notesMasterIdLst>
    <p:notesMasterId r:id="rId102"/>
  </p:notesMasterIdLst>
  <p:sldIdLst>
    <p:sldId id="2146846702" r:id="rId27"/>
    <p:sldId id="2146846746" r:id="rId28"/>
    <p:sldId id="2076137641" r:id="rId29"/>
    <p:sldId id="2146846748" r:id="rId30"/>
    <p:sldId id="2146846757" r:id="rId31"/>
    <p:sldId id="2146846758" r:id="rId32"/>
    <p:sldId id="2137" r:id="rId33"/>
    <p:sldId id="10082" r:id="rId34"/>
    <p:sldId id="2146846749" r:id="rId35"/>
    <p:sldId id="2146846750" r:id="rId36"/>
    <p:sldId id="2146846754" r:id="rId37"/>
    <p:sldId id="10083" r:id="rId38"/>
    <p:sldId id="2076137650" r:id="rId39"/>
    <p:sldId id="2146846752" r:id="rId40"/>
    <p:sldId id="2126" r:id="rId41"/>
    <p:sldId id="2157" r:id="rId42"/>
    <p:sldId id="10088" r:id="rId43"/>
    <p:sldId id="10081" r:id="rId44"/>
    <p:sldId id="10100" r:id="rId45"/>
    <p:sldId id="10093" r:id="rId46"/>
    <p:sldId id="2156" r:id="rId47"/>
    <p:sldId id="10092" r:id="rId48"/>
    <p:sldId id="2146846753" r:id="rId49"/>
    <p:sldId id="2146846759" r:id="rId50"/>
    <p:sldId id="2125" r:id="rId51"/>
    <p:sldId id="10091" r:id="rId52"/>
    <p:sldId id="10094" r:id="rId53"/>
    <p:sldId id="2146846755" r:id="rId54"/>
    <p:sldId id="2076138422" r:id="rId55"/>
    <p:sldId id="2076138064" r:id="rId56"/>
    <p:sldId id="2076138058" r:id="rId57"/>
    <p:sldId id="2076138063" r:id="rId58"/>
    <p:sldId id="2076138062" r:id="rId59"/>
    <p:sldId id="2076138065" r:id="rId60"/>
    <p:sldId id="2076138060" r:id="rId61"/>
    <p:sldId id="2076138059" r:id="rId62"/>
    <p:sldId id="3295" r:id="rId63"/>
    <p:sldId id="2146846756" r:id="rId64"/>
    <p:sldId id="2146846747" r:id="rId65"/>
    <p:sldId id="2146846740" r:id="rId66"/>
    <p:sldId id="2146846739" r:id="rId67"/>
    <p:sldId id="2146846741" r:id="rId68"/>
    <p:sldId id="2146846745" r:id="rId69"/>
    <p:sldId id="2146846730" r:id="rId70"/>
    <p:sldId id="2146846734" r:id="rId71"/>
    <p:sldId id="2076137627" r:id="rId72"/>
    <p:sldId id="2076137639" r:id="rId73"/>
    <p:sldId id="2076137631" r:id="rId74"/>
    <p:sldId id="2076137628" r:id="rId75"/>
    <p:sldId id="2076137633" r:id="rId76"/>
    <p:sldId id="2076136723" r:id="rId77"/>
    <p:sldId id="2076136724" r:id="rId78"/>
    <p:sldId id="2076136725" r:id="rId79"/>
    <p:sldId id="2076136726" r:id="rId80"/>
    <p:sldId id="2076136727" r:id="rId81"/>
    <p:sldId id="10627" r:id="rId82"/>
    <p:sldId id="2076137514" r:id="rId83"/>
    <p:sldId id="2146846738" r:id="rId84"/>
    <p:sldId id="2146846731" r:id="rId85"/>
    <p:sldId id="2076137900" r:id="rId86"/>
    <p:sldId id="2076137617" r:id="rId87"/>
    <p:sldId id="2146846733" r:id="rId88"/>
    <p:sldId id="2146846742" r:id="rId89"/>
    <p:sldId id="2076137349" r:id="rId90"/>
    <p:sldId id="2076137947" r:id="rId91"/>
    <p:sldId id="2146846736" r:id="rId92"/>
    <p:sldId id="2146846737" r:id="rId93"/>
    <p:sldId id="2146846743" r:id="rId94"/>
    <p:sldId id="2146846735" r:id="rId95"/>
    <p:sldId id="2474" r:id="rId96"/>
    <p:sldId id="10620" r:id="rId97"/>
    <p:sldId id="2141411343" r:id="rId98"/>
    <p:sldId id="2141411345" r:id="rId99"/>
    <p:sldId id="2141411346" r:id="rId100"/>
    <p:sldId id="2146846744" r:id="rId10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201C3B4-608A-4051-946E-CA6CB3CC016F}">
          <p14:sldIdLst>
            <p14:sldId id="2146846702"/>
            <p14:sldId id="2146846746"/>
            <p14:sldId id="2076137641"/>
            <p14:sldId id="2146846748"/>
            <p14:sldId id="2146846757"/>
            <p14:sldId id="2146846758"/>
            <p14:sldId id="2137"/>
            <p14:sldId id="10082"/>
            <p14:sldId id="2146846749"/>
            <p14:sldId id="2146846750"/>
            <p14:sldId id="2146846754"/>
            <p14:sldId id="10083"/>
            <p14:sldId id="2076137650"/>
            <p14:sldId id="2146846752"/>
            <p14:sldId id="2126"/>
            <p14:sldId id="2157"/>
            <p14:sldId id="10088"/>
            <p14:sldId id="10081"/>
            <p14:sldId id="10100"/>
            <p14:sldId id="10093"/>
            <p14:sldId id="2156"/>
            <p14:sldId id="10092"/>
            <p14:sldId id="2146846753"/>
            <p14:sldId id="2146846759"/>
            <p14:sldId id="2125"/>
            <p14:sldId id="10091"/>
            <p14:sldId id="10094"/>
            <p14:sldId id="2146846755"/>
            <p14:sldId id="2076138422"/>
            <p14:sldId id="2076138064"/>
            <p14:sldId id="2076138058"/>
            <p14:sldId id="2076138063"/>
            <p14:sldId id="2076138062"/>
            <p14:sldId id="2076138065"/>
            <p14:sldId id="2076138060"/>
            <p14:sldId id="2076138059"/>
            <p14:sldId id="3295"/>
            <p14:sldId id="2146846756"/>
            <p14:sldId id="2146846747"/>
            <p14:sldId id="2146846740"/>
            <p14:sldId id="2146846739"/>
            <p14:sldId id="2146846741"/>
            <p14:sldId id="2146846745"/>
          </p14:sldIdLst>
        </p14:section>
        <p14:section name="Appendix" id="{E4225B0E-12D3-4FBC-BFDC-E9A3B94CAE52}">
          <p14:sldIdLst>
            <p14:sldId id="2146846730"/>
            <p14:sldId id="2146846734"/>
            <p14:sldId id="2076137627"/>
            <p14:sldId id="2076137639"/>
            <p14:sldId id="2076137631"/>
            <p14:sldId id="2076137628"/>
            <p14:sldId id="2076137633"/>
            <p14:sldId id="2076136723"/>
            <p14:sldId id="2076136724"/>
            <p14:sldId id="2076136725"/>
            <p14:sldId id="2076136726"/>
            <p14:sldId id="2076136727"/>
            <p14:sldId id="10627"/>
            <p14:sldId id="2076137514"/>
            <p14:sldId id="2146846738"/>
            <p14:sldId id="2146846731"/>
            <p14:sldId id="2076137900"/>
            <p14:sldId id="2076137617"/>
            <p14:sldId id="2146846733"/>
            <p14:sldId id="2146846742"/>
            <p14:sldId id="2076137349"/>
            <p14:sldId id="2076137947"/>
            <p14:sldId id="2146846736"/>
            <p14:sldId id="2146846737"/>
            <p14:sldId id="2146846743"/>
            <p14:sldId id="2146846735"/>
            <p14:sldId id="2474"/>
            <p14:sldId id="10620"/>
            <p14:sldId id="2141411343"/>
            <p14:sldId id="2141411345"/>
            <p14:sldId id="2141411346"/>
            <p14:sldId id="214684674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 Freeman" initials="MF" lastIdx="11" clrIdx="0">
    <p:extLst>
      <p:ext uri="{19B8F6BF-5375-455C-9EA6-DF929625EA0E}">
        <p15:presenceInfo xmlns:p15="http://schemas.microsoft.com/office/powerpoint/2012/main" userId="121e402a363cbb7f" providerId="Windows Live"/>
      </p:ext>
    </p:extLst>
  </p:cmAuthor>
  <p:cmAuthor id="2" name="Marc Freeman" initials="MF [2]" lastIdx="1" clrIdx="1">
    <p:extLst>
      <p:ext uri="{19B8F6BF-5375-455C-9EA6-DF929625EA0E}">
        <p15:presenceInfo xmlns:p15="http://schemas.microsoft.com/office/powerpoint/2012/main" userId="Marc Freem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BEBEB"/>
    <a:srgbClr val="195A98"/>
    <a:srgbClr val="000000"/>
    <a:srgbClr val="303030"/>
    <a:srgbClr val="50E6FF"/>
    <a:srgbClr val="0078D4"/>
    <a:srgbClr val="1D4B7A"/>
    <a:srgbClr val="1B2C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80052" autoAdjust="0"/>
  </p:normalViewPr>
  <p:slideViewPr>
    <p:cSldViewPr snapToGrid="0">
      <p:cViewPr varScale="1">
        <p:scale>
          <a:sx n="93" d="100"/>
          <a:sy n="93" d="100"/>
        </p:scale>
        <p:origin x="1020" y="8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slide" Target="slides/slide42.xml"/><Relationship Id="rId84" Type="http://schemas.openxmlformats.org/officeDocument/2006/relationships/slide" Target="slides/slide58.xml"/><Relationship Id="rId89" Type="http://schemas.openxmlformats.org/officeDocument/2006/relationships/slide" Target="slides/slide63.xml"/><Relationship Id="rId16" Type="http://schemas.openxmlformats.org/officeDocument/2006/relationships/slideMaster" Target="slideMasters/slideMaster13.xml"/><Relationship Id="rId107" Type="http://schemas.openxmlformats.org/officeDocument/2006/relationships/tableStyles" Target="tableStyles.xml"/><Relationship Id="rId11" Type="http://schemas.openxmlformats.org/officeDocument/2006/relationships/slideMaster" Target="slideMasters/slideMaster8.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slide" Target="slides/slide53.xml"/><Relationship Id="rId102"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64.xml"/><Relationship Id="rId95" Type="http://schemas.openxmlformats.org/officeDocument/2006/relationships/slide" Target="slides/slide69.xml"/><Relationship Id="rId22" Type="http://schemas.openxmlformats.org/officeDocument/2006/relationships/slideMaster" Target="slideMasters/slideMaster19.xml"/><Relationship Id="rId27" Type="http://schemas.openxmlformats.org/officeDocument/2006/relationships/slide" Target="slides/slide1.xml"/><Relationship Id="rId43" Type="http://schemas.openxmlformats.org/officeDocument/2006/relationships/slide" Target="slides/slide17.xml"/><Relationship Id="rId48" Type="http://schemas.openxmlformats.org/officeDocument/2006/relationships/slide" Target="slides/slide22.xml"/><Relationship Id="rId64" Type="http://schemas.openxmlformats.org/officeDocument/2006/relationships/slide" Target="slides/slide38.xml"/><Relationship Id="rId69" Type="http://schemas.openxmlformats.org/officeDocument/2006/relationships/slide" Target="slides/slide43.xml"/><Relationship Id="rId80" Type="http://schemas.openxmlformats.org/officeDocument/2006/relationships/slide" Target="slides/slide54.xml"/><Relationship Id="rId85" Type="http://schemas.openxmlformats.org/officeDocument/2006/relationships/slide" Target="slides/slide59.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7.xml"/><Relationship Id="rId38" Type="http://schemas.openxmlformats.org/officeDocument/2006/relationships/slide" Target="slides/slide12.xml"/><Relationship Id="rId59" Type="http://schemas.openxmlformats.org/officeDocument/2006/relationships/slide" Target="slides/slide33.xml"/><Relationship Id="rId103" Type="http://schemas.openxmlformats.org/officeDocument/2006/relationships/commentAuthors" Target="commentAuthors.xml"/><Relationship Id="rId20" Type="http://schemas.openxmlformats.org/officeDocument/2006/relationships/slideMaster" Target="slideMasters/slideMaster17.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slide" Target="slides/slide44.xml"/><Relationship Id="rId75" Type="http://schemas.openxmlformats.org/officeDocument/2006/relationships/slide" Target="slides/slide49.xml"/><Relationship Id="rId83" Type="http://schemas.openxmlformats.org/officeDocument/2006/relationships/slide" Target="slides/slide57.xml"/><Relationship Id="rId88" Type="http://schemas.openxmlformats.org/officeDocument/2006/relationships/slide" Target="slides/slide62.xml"/><Relationship Id="rId91" Type="http://schemas.openxmlformats.org/officeDocument/2006/relationships/slide" Target="slides/slide65.xml"/><Relationship Id="rId96" Type="http://schemas.openxmlformats.org/officeDocument/2006/relationships/slide" Target="slides/slide7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6"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slide" Target="slides/slide47.xml"/><Relationship Id="rId78" Type="http://schemas.openxmlformats.org/officeDocument/2006/relationships/slide" Target="slides/slide52.xml"/><Relationship Id="rId81" Type="http://schemas.openxmlformats.org/officeDocument/2006/relationships/slide" Target="slides/slide55.xml"/><Relationship Id="rId86" Type="http://schemas.openxmlformats.org/officeDocument/2006/relationships/slide" Target="slides/slide60.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slideMaster" Target="slideMasters/slideMaster21.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61" Type="http://schemas.openxmlformats.org/officeDocument/2006/relationships/slide" Target="slides/slide35.xml"/><Relationship Id="rId82" Type="http://schemas.openxmlformats.org/officeDocument/2006/relationships/slide" Target="slides/slide56.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5.xml"/><Relationship Id="rId72" Type="http://schemas.openxmlformats.org/officeDocument/2006/relationships/slide" Target="slides/slide46.xml"/><Relationship Id="rId93" Type="http://schemas.openxmlformats.org/officeDocument/2006/relationships/slide" Target="slides/slide67.xml"/><Relationship Id="rId98" Type="http://schemas.openxmlformats.org/officeDocument/2006/relationships/slide" Target="slides/slide72.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20.xml"/><Relationship Id="rId67" Type="http://schemas.openxmlformats.org/officeDocument/2006/relationships/slide" Target="slides/slide41.xml"/></Relationships>
</file>

<file path=ppt/diagrams/_rels/data1.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8.svg"/><Relationship Id="rId1" Type="http://schemas.openxmlformats.org/officeDocument/2006/relationships/image" Target="../media/image197.png"/><Relationship Id="rId4" Type="http://schemas.openxmlformats.org/officeDocument/2006/relationships/image" Target="../media/image200.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8.svg"/><Relationship Id="rId1" Type="http://schemas.openxmlformats.org/officeDocument/2006/relationships/image" Target="../media/image197.png"/><Relationship Id="rId4" Type="http://schemas.openxmlformats.org/officeDocument/2006/relationships/image" Target="../media/image200.svg"/></Relationships>
</file>

<file path=ppt/diagrams/colors1.xml><?xml version="1.0" encoding="utf-8"?>
<dgm:colorsDef xmlns:dgm="http://schemas.openxmlformats.org/drawingml/2006/diagram" xmlns:a="http://schemas.openxmlformats.org/drawingml/2006/main" uniqueId="urn:microsoft.com/office/officeart/2018/5/colors/Iconchunking_neutralbg_accent5_2">
  <dgm:title val=""/>
  <dgm:desc val=""/>
  <dgm:catLst>
    <dgm:cat type="accent5" pri="15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a:alpha val="0"/>
      </a:schemeClr>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652E4F-94C7-446E-AD0B-B84B333AB219}" type="doc">
      <dgm:prSet loTypeId="urn:microsoft.com/office/officeart/2018/2/layout/IconVerticalSolidList" loCatId="icon" qsTypeId="urn:microsoft.com/office/officeart/2005/8/quickstyle/simple1" qsCatId="simple" csTypeId="urn:microsoft.com/office/officeart/2018/5/colors/Iconchunking_neutralbg_accent5_2" csCatId="accent5" phldr="1"/>
      <dgm:spPr/>
      <dgm:t>
        <a:bodyPr/>
        <a:lstStyle/>
        <a:p>
          <a:endParaRPr lang="en-US"/>
        </a:p>
      </dgm:t>
    </dgm:pt>
    <dgm:pt modelId="{9698A2E4-09B3-49CC-9CCF-EF70DA0D0A99}">
      <dgm:prSet/>
      <dgm:spPr/>
      <dgm:t>
        <a:bodyPr/>
        <a:lstStyle/>
        <a:p>
          <a:pPr>
            <a:lnSpc>
              <a:spcPct val="100000"/>
            </a:lnSpc>
          </a:pPr>
          <a:r>
            <a:rPr lang="en-US"/>
            <a:t>Provisioning Setup = Pre-registration + Device Assignment</a:t>
          </a:r>
        </a:p>
      </dgm:t>
    </dgm:pt>
    <dgm:pt modelId="{7D04CF4A-01B0-44BB-83ED-6447802BF26A}" type="parTrans" cxnId="{AC478375-43B7-4C09-AAC7-87AF375021A6}">
      <dgm:prSet/>
      <dgm:spPr/>
      <dgm:t>
        <a:bodyPr/>
        <a:lstStyle/>
        <a:p>
          <a:endParaRPr lang="en-US"/>
        </a:p>
      </dgm:t>
    </dgm:pt>
    <dgm:pt modelId="{852B0602-DEC6-40BE-81CB-15623D95421A}" type="sibTrans" cxnId="{AC478375-43B7-4C09-AAC7-87AF375021A6}">
      <dgm:prSet/>
      <dgm:spPr/>
      <dgm:t>
        <a:bodyPr/>
        <a:lstStyle/>
        <a:p>
          <a:endParaRPr lang="en-US"/>
        </a:p>
      </dgm:t>
    </dgm:pt>
    <dgm:pt modelId="{FCE3E67A-4ACE-43FE-B5F7-16A989CABBF2}">
      <dgm:prSet/>
      <dgm:spPr/>
      <dgm:t>
        <a:bodyPr/>
        <a:lstStyle/>
        <a:p>
          <a:pPr>
            <a:lnSpc>
              <a:spcPct val="100000"/>
            </a:lnSpc>
          </a:pPr>
          <a:r>
            <a:rPr lang="en-US"/>
            <a:t>Device Provisioning = Runtime assignment + Initial Set up</a:t>
          </a:r>
        </a:p>
      </dgm:t>
    </dgm:pt>
    <dgm:pt modelId="{636DA552-DEB3-4167-A99A-649E52DFA967}" type="parTrans" cxnId="{D5D593A7-7846-414E-A64E-A2E3A967F5D0}">
      <dgm:prSet/>
      <dgm:spPr/>
      <dgm:t>
        <a:bodyPr/>
        <a:lstStyle/>
        <a:p>
          <a:endParaRPr lang="en-US"/>
        </a:p>
      </dgm:t>
    </dgm:pt>
    <dgm:pt modelId="{CA8A9C2A-2573-4526-9BC8-53095C1CC5ED}" type="sibTrans" cxnId="{D5D593A7-7846-414E-A64E-A2E3A967F5D0}">
      <dgm:prSet/>
      <dgm:spPr/>
      <dgm:t>
        <a:bodyPr/>
        <a:lstStyle/>
        <a:p>
          <a:endParaRPr lang="en-US"/>
        </a:p>
      </dgm:t>
    </dgm:pt>
    <dgm:pt modelId="{6CB613E7-4486-4A01-A1C0-B5468A4B213E}" type="pres">
      <dgm:prSet presAssocID="{A4652E4F-94C7-446E-AD0B-B84B333AB219}" presName="root" presStyleCnt="0">
        <dgm:presLayoutVars>
          <dgm:dir/>
          <dgm:resizeHandles val="exact"/>
        </dgm:presLayoutVars>
      </dgm:prSet>
      <dgm:spPr/>
    </dgm:pt>
    <dgm:pt modelId="{7DF4AC3E-BF11-4442-AE40-AC6BE0CFAFFB}" type="pres">
      <dgm:prSet presAssocID="{9698A2E4-09B3-49CC-9CCF-EF70DA0D0A99}" presName="compNode" presStyleCnt="0"/>
      <dgm:spPr/>
    </dgm:pt>
    <dgm:pt modelId="{8C40626D-7510-4BA5-A366-97831DDFD4AB}" type="pres">
      <dgm:prSet presAssocID="{9698A2E4-09B3-49CC-9CCF-EF70DA0D0A99}" presName="bgRect" presStyleLbl="bgShp" presStyleIdx="0" presStyleCnt="2"/>
      <dgm:spPr>
        <a:solidFill>
          <a:schemeClr val="accent1">
            <a:lumMod val="75000"/>
          </a:schemeClr>
        </a:solidFill>
      </dgm:spPr>
    </dgm:pt>
    <dgm:pt modelId="{301572DA-4123-43C3-BE51-940615D62C0F}" type="pres">
      <dgm:prSet presAssocID="{9698A2E4-09B3-49CC-9CCF-EF70DA0D0A99}"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
        </a:ext>
      </dgm:extLst>
    </dgm:pt>
    <dgm:pt modelId="{76F82061-8A7F-4733-AA70-5888B37D13A3}" type="pres">
      <dgm:prSet presAssocID="{9698A2E4-09B3-49CC-9CCF-EF70DA0D0A99}" presName="spaceRect" presStyleCnt="0"/>
      <dgm:spPr/>
    </dgm:pt>
    <dgm:pt modelId="{D64D4A35-92FA-401F-89E7-C4B05C1E7F69}" type="pres">
      <dgm:prSet presAssocID="{9698A2E4-09B3-49CC-9CCF-EF70DA0D0A99}" presName="parTx" presStyleLbl="revTx" presStyleIdx="0" presStyleCnt="2">
        <dgm:presLayoutVars>
          <dgm:chMax val="0"/>
          <dgm:chPref val="0"/>
        </dgm:presLayoutVars>
      </dgm:prSet>
      <dgm:spPr/>
    </dgm:pt>
    <dgm:pt modelId="{46A4A9F0-5A52-4887-8BDE-1E5DE3EB77BB}" type="pres">
      <dgm:prSet presAssocID="{852B0602-DEC6-40BE-81CB-15623D95421A}" presName="sibTrans" presStyleCnt="0"/>
      <dgm:spPr/>
    </dgm:pt>
    <dgm:pt modelId="{11D83F44-3F81-4D97-9410-73696A6090D4}" type="pres">
      <dgm:prSet presAssocID="{FCE3E67A-4ACE-43FE-B5F7-16A989CABBF2}" presName="compNode" presStyleCnt="0"/>
      <dgm:spPr/>
    </dgm:pt>
    <dgm:pt modelId="{927CDE25-3A09-45E7-AFB7-2B376DEE2D63}" type="pres">
      <dgm:prSet presAssocID="{FCE3E67A-4ACE-43FE-B5F7-16A989CABBF2}" presName="bgRect" presStyleLbl="bgShp" presStyleIdx="1" presStyleCnt="2"/>
      <dgm:spPr>
        <a:solidFill>
          <a:schemeClr val="accent1">
            <a:lumMod val="75000"/>
          </a:schemeClr>
        </a:solidFill>
      </dgm:spPr>
    </dgm:pt>
    <dgm:pt modelId="{77EB69CF-D80D-4587-B56B-390EA069EA4E}" type="pres">
      <dgm:prSet presAssocID="{FCE3E67A-4ACE-43FE-B5F7-16A989CABBF2}"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A0AF03FF-8624-472F-A397-89C60C11BE4B}" type="pres">
      <dgm:prSet presAssocID="{FCE3E67A-4ACE-43FE-B5F7-16A989CABBF2}" presName="spaceRect" presStyleCnt="0"/>
      <dgm:spPr/>
    </dgm:pt>
    <dgm:pt modelId="{E2D3861E-E1C1-46D2-943E-748EA1D8D5CC}" type="pres">
      <dgm:prSet presAssocID="{FCE3E67A-4ACE-43FE-B5F7-16A989CABBF2}" presName="parTx" presStyleLbl="revTx" presStyleIdx="1" presStyleCnt="2">
        <dgm:presLayoutVars>
          <dgm:chMax val="0"/>
          <dgm:chPref val="0"/>
        </dgm:presLayoutVars>
      </dgm:prSet>
      <dgm:spPr/>
    </dgm:pt>
  </dgm:ptLst>
  <dgm:cxnLst>
    <dgm:cxn modelId="{89CA8951-C2A8-430E-97AD-077956DBF8B4}" type="presOf" srcId="{FCE3E67A-4ACE-43FE-B5F7-16A989CABBF2}" destId="{E2D3861E-E1C1-46D2-943E-748EA1D8D5CC}" srcOrd="0" destOrd="0" presId="urn:microsoft.com/office/officeart/2018/2/layout/IconVerticalSolidList"/>
    <dgm:cxn modelId="{AC478375-43B7-4C09-AAC7-87AF375021A6}" srcId="{A4652E4F-94C7-446E-AD0B-B84B333AB219}" destId="{9698A2E4-09B3-49CC-9CCF-EF70DA0D0A99}" srcOrd="0" destOrd="0" parTransId="{7D04CF4A-01B0-44BB-83ED-6447802BF26A}" sibTransId="{852B0602-DEC6-40BE-81CB-15623D95421A}"/>
    <dgm:cxn modelId="{94594A9F-C429-4A8D-A192-3EAE08F5F63E}" type="presOf" srcId="{A4652E4F-94C7-446E-AD0B-B84B333AB219}" destId="{6CB613E7-4486-4A01-A1C0-B5468A4B213E}" srcOrd="0" destOrd="0" presId="urn:microsoft.com/office/officeart/2018/2/layout/IconVerticalSolidList"/>
    <dgm:cxn modelId="{D5D593A7-7846-414E-A64E-A2E3A967F5D0}" srcId="{A4652E4F-94C7-446E-AD0B-B84B333AB219}" destId="{FCE3E67A-4ACE-43FE-B5F7-16A989CABBF2}" srcOrd="1" destOrd="0" parTransId="{636DA552-DEB3-4167-A99A-649E52DFA967}" sibTransId="{CA8A9C2A-2573-4526-9BC8-53095C1CC5ED}"/>
    <dgm:cxn modelId="{E1F5C0C1-0F33-46D3-A05C-033D02472130}" type="presOf" srcId="{9698A2E4-09B3-49CC-9CCF-EF70DA0D0A99}" destId="{D64D4A35-92FA-401F-89E7-C4B05C1E7F69}" srcOrd="0" destOrd="0" presId="urn:microsoft.com/office/officeart/2018/2/layout/IconVerticalSolidList"/>
    <dgm:cxn modelId="{81373045-91C7-43D9-B46B-0A82810A2A78}" type="presParOf" srcId="{6CB613E7-4486-4A01-A1C0-B5468A4B213E}" destId="{7DF4AC3E-BF11-4442-AE40-AC6BE0CFAFFB}" srcOrd="0" destOrd="0" presId="urn:microsoft.com/office/officeart/2018/2/layout/IconVerticalSolidList"/>
    <dgm:cxn modelId="{3F75A479-0046-4608-B1F0-803D65F92444}" type="presParOf" srcId="{7DF4AC3E-BF11-4442-AE40-AC6BE0CFAFFB}" destId="{8C40626D-7510-4BA5-A366-97831DDFD4AB}" srcOrd="0" destOrd="0" presId="urn:microsoft.com/office/officeart/2018/2/layout/IconVerticalSolidList"/>
    <dgm:cxn modelId="{AD7B8AD7-9FEC-4DBD-A06C-C3E843608671}" type="presParOf" srcId="{7DF4AC3E-BF11-4442-AE40-AC6BE0CFAFFB}" destId="{301572DA-4123-43C3-BE51-940615D62C0F}" srcOrd="1" destOrd="0" presId="urn:microsoft.com/office/officeart/2018/2/layout/IconVerticalSolidList"/>
    <dgm:cxn modelId="{19E6FC90-1ADA-4788-91B0-19D28FFFE91E}" type="presParOf" srcId="{7DF4AC3E-BF11-4442-AE40-AC6BE0CFAFFB}" destId="{76F82061-8A7F-4733-AA70-5888B37D13A3}" srcOrd="2" destOrd="0" presId="urn:microsoft.com/office/officeart/2018/2/layout/IconVerticalSolidList"/>
    <dgm:cxn modelId="{B95A56B0-143B-4517-844C-A65CE5C022CA}" type="presParOf" srcId="{7DF4AC3E-BF11-4442-AE40-AC6BE0CFAFFB}" destId="{D64D4A35-92FA-401F-89E7-C4B05C1E7F69}" srcOrd="3" destOrd="0" presId="urn:microsoft.com/office/officeart/2018/2/layout/IconVerticalSolidList"/>
    <dgm:cxn modelId="{15BF3F18-53A2-4633-9AA6-907BD56E2A00}" type="presParOf" srcId="{6CB613E7-4486-4A01-A1C0-B5468A4B213E}" destId="{46A4A9F0-5A52-4887-8BDE-1E5DE3EB77BB}" srcOrd="1" destOrd="0" presId="urn:microsoft.com/office/officeart/2018/2/layout/IconVerticalSolidList"/>
    <dgm:cxn modelId="{02E5EE47-C25D-4F18-83F0-FE6EB39458AB}" type="presParOf" srcId="{6CB613E7-4486-4A01-A1C0-B5468A4B213E}" destId="{11D83F44-3F81-4D97-9410-73696A6090D4}" srcOrd="2" destOrd="0" presId="urn:microsoft.com/office/officeart/2018/2/layout/IconVerticalSolidList"/>
    <dgm:cxn modelId="{9A801E56-97AE-497B-95D4-609C64C5B7A3}" type="presParOf" srcId="{11D83F44-3F81-4D97-9410-73696A6090D4}" destId="{927CDE25-3A09-45E7-AFB7-2B376DEE2D63}" srcOrd="0" destOrd="0" presId="urn:microsoft.com/office/officeart/2018/2/layout/IconVerticalSolidList"/>
    <dgm:cxn modelId="{A44FA20D-97D0-4809-A0D2-A841A71A035E}" type="presParOf" srcId="{11D83F44-3F81-4D97-9410-73696A6090D4}" destId="{77EB69CF-D80D-4587-B56B-390EA069EA4E}" srcOrd="1" destOrd="0" presId="urn:microsoft.com/office/officeart/2018/2/layout/IconVerticalSolidList"/>
    <dgm:cxn modelId="{70A86290-A743-41F3-A087-0F4099E70F96}" type="presParOf" srcId="{11D83F44-3F81-4D97-9410-73696A6090D4}" destId="{A0AF03FF-8624-472F-A397-89C60C11BE4B}" srcOrd="2" destOrd="0" presId="urn:microsoft.com/office/officeart/2018/2/layout/IconVerticalSolidList"/>
    <dgm:cxn modelId="{3AA3440E-7B58-4F03-B2E1-2A0C03FFF11D}" type="presParOf" srcId="{11D83F44-3F81-4D97-9410-73696A6090D4}" destId="{E2D3861E-E1C1-46D2-943E-748EA1D8D5C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FBB535A4-DA47-49AB-A01A-CFD3B8BDA142}" type="doc">
      <dgm:prSet loTypeId="urn:microsoft.com/office/officeart/2005/8/layout/pList2" loCatId="list" qsTypeId="urn:microsoft.com/office/officeart/2005/8/quickstyle/simple1" qsCatId="simple" csTypeId="urn:microsoft.com/office/officeart/2005/8/colors/accent1_2" csCatId="accent1" phldr="1"/>
      <dgm:spPr/>
    </dgm:pt>
    <dgm:pt modelId="{34F6A458-E789-42F0-A07D-F96DD0E946DD}">
      <dgm:prSet phldrT="[Text]"/>
      <dgm:spPr/>
      <dgm:t>
        <a:bodyPr/>
        <a:lstStyle/>
        <a:p>
          <a:r>
            <a:rPr lang="en-US"/>
            <a:t>Direct over WAN</a:t>
          </a:r>
        </a:p>
      </dgm:t>
    </dgm:pt>
    <dgm:pt modelId="{E0F42957-739B-4329-834B-B6004AABA0AD}" type="parTrans" cxnId="{9B1E3F81-C689-408E-AC15-1CC979482B97}">
      <dgm:prSet/>
      <dgm:spPr/>
      <dgm:t>
        <a:bodyPr/>
        <a:lstStyle/>
        <a:p>
          <a:endParaRPr lang="en-US"/>
        </a:p>
      </dgm:t>
    </dgm:pt>
    <dgm:pt modelId="{1B614427-AB19-49AB-8476-4F4B5F475732}" type="sibTrans" cxnId="{9B1E3F81-C689-408E-AC15-1CC979482B97}">
      <dgm:prSet/>
      <dgm:spPr/>
      <dgm:t>
        <a:bodyPr/>
        <a:lstStyle/>
        <a:p>
          <a:endParaRPr lang="en-US"/>
        </a:p>
      </dgm:t>
    </dgm:pt>
    <dgm:pt modelId="{538C5CE8-F4F6-4923-81CB-AD4970537792}">
      <dgm:prSet phldrT="[Text]"/>
      <dgm:spPr/>
      <dgm:t>
        <a:bodyPr/>
        <a:lstStyle/>
        <a:p>
          <a:r>
            <a:rPr lang="en-US"/>
            <a:t>Protocol gateway</a:t>
          </a:r>
        </a:p>
      </dgm:t>
    </dgm:pt>
    <dgm:pt modelId="{331485D1-1E1F-4C67-8BD6-6386CBC55514}" type="parTrans" cxnId="{BCC0ADAD-7810-4FE0-A4F0-04DF100CD286}">
      <dgm:prSet/>
      <dgm:spPr/>
      <dgm:t>
        <a:bodyPr/>
        <a:lstStyle/>
        <a:p>
          <a:endParaRPr lang="en-US"/>
        </a:p>
      </dgm:t>
    </dgm:pt>
    <dgm:pt modelId="{B2ADDBDC-7892-4110-9DA5-00BCD3E98D6D}" type="sibTrans" cxnId="{BCC0ADAD-7810-4FE0-A4F0-04DF100CD286}">
      <dgm:prSet/>
      <dgm:spPr/>
      <dgm:t>
        <a:bodyPr/>
        <a:lstStyle/>
        <a:p>
          <a:endParaRPr lang="en-US"/>
        </a:p>
      </dgm:t>
    </dgm:pt>
    <dgm:pt modelId="{56ABB444-ACD8-4DC8-92BC-AAC4D2FFC965}">
      <dgm:prSet phldrT="[Text]"/>
      <dgm:spPr/>
      <dgm:t>
        <a:bodyPr/>
        <a:lstStyle/>
        <a:p>
          <a:r>
            <a:rPr lang="en-US"/>
            <a:t>Edge</a:t>
          </a:r>
        </a:p>
      </dgm:t>
    </dgm:pt>
    <dgm:pt modelId="{2DDE50A1-4E8A-4CA9-8D7B-524934D46E3B}" type="parTrans" cxnId="{1CFD6880-7323-40A7-A4ED-076B732F2C78}">
      <dgm:prSet/>
      <dgm:spPr/>
      <dgm:t>
        <a:bodyPr/>
        <a:lstStyle/>
        <a:p>
          <a:endParaRPr lang="en-US"/>
        </a:p>
      </dgm:t>
    </dgm:pt>
    <dgm:pt modelId="{5F1ED569-9E80-4F86-A719-6167E76054E5}" type="sibTrans" cxnId="{1CFD6880-7323-40A7-A4ED-076B732F2C78}">
      <dgm:prSet/>
      <dgm:spPr/>
      <dgm:t>
        <a:bodyPr/>
        <a:lstStyle/>
        <a:p>
          <a:endParaRPr lang="en-US"/>
        </a:p>
      </dgm:t>
    </dgm:pt>
    <dgm:pt modelId="{CB1BC799-EF23-4ED8-99AF-6A83284304D5}">
      <dgm:prSet phldrT="[Text]"/>
      <dgm:spPr/>
      <dgm:t>
        <a:bodyPr/>
        <a:lstStyle/>
        <a:p>
          <a:r>
            <a:rPr lang="en-US"/>
            <a:t>Devices have public IPv4 &amp; connect to IoT hub directly</a:t>
          </a:r>
        </a:p>
      </dgm:t>
    </dgm:pt>
    <dgm:pt modelId="{10C17C9E-717F-4ABA-B016-86CE19F79A35}" type="parTrans" cxnId="{6EE27146-6DC9-477B-8FAD-22F1152E82A8}">
      <dgm:prSet/>
      <dgm:spPr/>
      <dgm:t>
        <a:bodyPr/>
        <a:lstStyle/>
        <a:p>
          <a:endParaRPr lang="en-US"/>
        </a:p>
      </dgm:t>
    </dgm:pt>
    <dgm:pt modelId="{8133DA8A-B59B-49F9-B2AD-6383806D4C3E}" type="sibTrans" cxnId="{6EE27146-6DC9-477B-8FAD-22F1152E82A8}">
      <dgm:prSet/>
      <dgm:spPr/>
      <dgm:t>
        <a:bodyPr/>
        <a:lstStyle/>
        <a:p>
          <a:endParaRPr lang="en-US"/>
        </a:p>
      </dgm:t>
    </dgm:pt>
    <dgm:pt modelId="{8B4B87DA-CBD2-4FA8-86CF-6AE967BD6C91}">
      <dgm:prSet phldrT="[Text]"/>
      <dgm:spPr/>
      <dgm:t>
        <a:bodyPr/>
        <a:lstStyle/>
        <a:p>
          <a:r>
            <a:rPr lang="en-US"/>
            <a:t>Direct from a private network</a:t>
          </a:r>
        </a:p>
      </dgm:t>
    </dgm:pt>
    <dgm:pt modelId="{3EEF501E-5108-40FF-B6F7-DA5284E1774F}" type="parTrans" cxnId="{659738AF-F32F-41E5-B8B7-C9844C16E258}">
      <dgm:prSet/>
      <dgm:spPr/>
      <dgm:t>
        <a:bodyPr/>
        <a:lstStyle/>
        <a:p>
          <a:endParaRPr lang="en-US"/>
        </a:p>
      </dgm:t>
    </dgm:pt>
    <dgm:pt modelId="{3D97940C-BEEF-4363-86D2-A32D1157437A}" type="sibTrans" cxnId="{659738AF-F32F-41E5-B8B7-C9844C16E258}">
      <dgm:prSet/>
      <dgm:spPr/>
      <dgm:t>
        <a:bodyPr/>
        <a:lstStyle/>
        <a:p>
          <a:endParaRPr lang="en-US"/>
        </a:p>
      </dgm:t>
    </dgm:pt>
    <dgm:pt modelId="{F3804ACC-05A9-4D2F-847A-BF1DDD12113F}">
      <dgm:prSet phldrT="[Text]"/>
      <dgm:spPr/>
      <dgm:t>
        <a:bodyPr/>
        <a:lstStyle/>
        <a:p>
          <a:r>
            <a:rPr lang="en-US"/>
            <a:t>Devices have private IP</a:t>
          </a:r>
        </a:p>
      </dgm:t>
    </dgm:pt>
    <dgm:pt modelId="{C27A71CD-B2A1-4F17-B429-748EAC182D4C}" type="parTrans" cxnId="{5BDECF82-6D67-4734-AAEA-040658198F37}">
      <dgm:prSet/>
      <dgm:spPr/>
      <dgm:t>
        <a:bodyPr/>
        <a:lstStyle/>
        <a:p>
          <a:endParaRPr lang="en-US"/>
        </a:p>
      </dgm:t>
    </dgm:pt>
    <dgm:pt modelId="{A0EE9B32-481C-45F2-9D20-86C2989A0C16}" type="sibTrans" cxnId="{5BDECF82-6D67-4734-AAEA-040658198F37}">
      <dgm:prSet/>
      <dgm:spPr/>
      <dgm:t>
        <a:bodyPr/>
        <a:lstStyle/>
        <a:p>
          <a:endParaRPr lang="en-US"/>
        </a:p>
      </dgm:t>
    </dgm:pt>
    <dgm:pt modelId="{F1933A96-22C0-41B5-B80D-354E5175A940}">
      <dgm:prSet phldrT="[Text]"/>
      <dgm:spPr/>
      <dgm:t>
        <a:bodyPr/>
        <a:lstStyle/>
        <a:p>
          <a:r>
            <a:rPr lang="en-US"/>
            <a:t>Devices’ traffic pass a net. gateway (e.g., HTTP GW) performing NAT</a:t>
          </a:r>
        </a:p>
      </dgm:t>
    </dgm:pt>
    <dgm:pt modelId="{93D8BD0D-9981-40FE-B3CD-DF05513C6564}" type="parTrans" cxnId="{6AF72F42-3585-4E06-9BF8-65176B3021B9}">
      <dgm:prSet/>
      <dgm:spPr/>
      <dgm:t>
        <a:bodyPr/>
        <a:lstStyle/>
        <a:p>
          <a:endParaRPr lang="en-US"/>
        </a:p>
      </dgm:t>
    </dgm:pt>
    <dgm:pt modelId="{FB846F90-DA9D-46B4-9066-509BE7602DD4}" type="sibTrans" cxnId="{6AF72F42-3585-4E06-9BF8-65176B3021B9}">
      <dgm:prSet/>
      <dgm:spPr/>
      <dgm:t>
        <a:bodyPr/>
        <a:lstStyle/>
        <a:p>
          <a:endParaRPr lang="en-US"/>
        </a:p>
      </dgm:t>
    </dgm:pt>
    <dgm:pt modelId="{81627679-8233-432F-AE70-1F9648C3E905}">
      <dgm:prSet phldrT="[Text]"/>
      <dgm:spPr/>
      <dgm:t>
        <a:bodyPr/>
        <a:lstStyle/>
        <a:p>
          <a:r>
            <a:rPr lang="en-US"/>
            <a:t>Devices connect to PG</a:t>
          </a:r>
        </a:p>
      </dgm:t>
    </dgm:pt>
    <dgm:pt modelId="{AB702EAB-5A0C-436B-8206-FA1134C3D1B6}" type="parTrans" cxnId="{93FC3056-AD78-44D3-BF2F-4CF3CC0CBA55}">
      <dgm:prSet/>
      <dgm:spPr/>
      <dgm:t>
        <a:bodyPr/>
        <a:lstStyle/>
        <a:p>
          <a:endParaRPr lang="en-US"/>
        </a:p>
      </dgm:t>
    </dgm:pt>
    <dgm:pt modelId="{3A433908-FD29-4E21-A10E-6BCBA143B654}" type="sibTrans" cxnId="{93FC3056-AD78-44D3-BF2F-4CF3CC0CBA55}">
      <dgm:prSet/>
      <dgm:spPr/>
      <dgm:t>
        <a:bodyPr/>
        <a:lstStyle/>
        <a:p>
          <a:endParaRPr lang="en-US"/>
        </a:p>
      </dgm:t>
    </dgm:pt>
    <dgm:pt modelId="{42AA84C7-1D0D-4ED9-B5F5-6DB7CA900D9E}">
      <dgm:prSet phldrT="[Text]"/>
      <dgm:spPr/>
      <dgm:t>
        <a:bodyPr/>
        <a:lstStyle/>
        <a:p>
          <a:r>
            <a:rPr lang="en-US"/>
            <a:t>A special-purpose protocol gateway</a:t>
          </a:r>
        </a:p>
      </dgm:t>
    </dgm:pt>
    <dgm:pt modelId="{EF11E00E-0254-4EEA-84FB-56933B1F77FF}" type="parTrans" cxnId="{318373E3-3710-46EC-B97F-08F64F736B49}">
      <dgm:prSet/>
      <dgm:spPr/>
      <dgm:t>
        <a:bodyPr/>
        <a:lstStyle/>
        <a:p>
          <a:endParaRPr lang="en-US"/>
        </a:p>
      </dgm:t>
    </dgm:pt>
    <dgm:pt modelId="{3EA8F2C6-E55F-4699-B010-964F282A530E}" type="sibTrans" cxnId="{318373E3-3710-46EC-B97F-08F64F736B49}">
      <dgm:prSet/>
      <dgm:spPr/>
      <dgm:t>
        <a:bodyPr/>
        <a:lstStyle/>
        <a:p>
          <a:endParaRPr lang="en-US"/>
        </a:p>
      </dgm:t>
    </dgm:pt>
    <dgm:pt modelId="{496DCFBA-41F6-4929-A5CE-0CB5D7EAD1CB}">
      <dgm:prSet phldrT="[Text]"/>
      <dgm:spPr/>
      <dgm:t>
        <a:bodyPr/>
        <a:lstStyle/>
        <a:p>
          <a:r>
            <a:rPr lang="en-US"/>
            <a:t>Edge runtime deploys &amp; manages devices’ code</a:t>
          </a:r>
        </a:p>
      </dgm:t>
    </dgm:pt>
    <dgm:pt modelId="{630D1441-C24C-4180-AD30-DA9B4777957E}" type="parTrans" cxnId="{817D23D2-E06B-4226-8060-7C2321CB32FF}">
      <dgm:prSet/>
      <dgm:spPr/>
      <dgm:t>
        <a:bodyPr/>
        <a:lstStyle/>
        <a:p>
          <a:endParaRPr lang="en-US"/>
        </a:p>
      </dgm:t>
    </dgm:pt>
    <dgm:pt modelId="{0F7A9D3E-8CF1-4E11-A1B0-D48B8CB93A2F}" type="sibTrans" cxnId="{817D23D2-E06B-4226-8060-7C2321CB32FF}">
      <dgm:prSet/>
      <dgm:spPr/>
      <dgm:t>
        <a:bodyPr/>
        <a:lstStyle/>
        <a:p>
          <a:endParaRPr lang="en-US"/>
        </a:p>
      </dgm:t>
    </dgm:pt>
    <dgm:pt modelId="{C240282B-B35C-45F9-AB76-EF579F8D827E}">
      <dgm:prSet phldrT="[Text]"/>
      <dgm:spPr/>
      <dgm:t>
        <a:bodyPr/>
        <a:lstStyle/>
        <a:p>
          <a:r>
            <a:rPr lang="en-US"/>
            <a:t>PG connects to IoT Hub on behalf of devices with their identity</a:t>
          </a:r>
        </a:p>
      </dgm:t>
    </dgm:pt>
    <dgm:pt modelId="{BD6D8C5C-387C-474A-9E33-C6AFB7DD1BEA}" type="parTrans" cxnId="{B5BF5702-D85F-4BB8-8747-738ABFE01E4C}">
      <dgm:prSet/>
      <dgm:spPr/>
      <dgm:t>
        <a:bodyPr/>
        <a:lstStyle/>
        <a:p>
          <a:endParaRPr lang="en-US"/>
        </a:p>
      </dgm:t>
    </dgm:pt>
    <dgm:pt modelId="{27172D3E-1EF7-494F-BA9F-38204D2CFED0}" type="sibTrans" cxnId="{B5BF5702-D85F-4BB8-8747-738ABFE01E4C}">
      <dgm:prSet/>
      <dgm:spPr/>
      <dgm:t>
        <a:bodyPr/>
        <a:lstStyle/>
        <a:p>
          <a:endParaRPr lang="en-US"/>
        </a:p>
      </dgm:t>
    </dgm:pt>
    <dgm:pt modelId="{683BD04D-3393-40D4-8502-E5EE16B58150}">
      <dgm:prSet phldrT="[Text]"/>
      <dgm:spPr/>
      <dgm:t>
        <a:bodyPr/>
        <a:lstStyle/>
        <a:p>
          <a:r>
            <a:rPr lang="en-US"/>
            <a:t>e.g., connected car </a:t>
          </a:r>
        </a:p>
      </dgm:t>
    </dgm:pt>
    <dgm:pt modelId="{16A7B09A-BF19-4603-8FBF-94BC0C8AB075}" type="parTrans" cxnId="{0D400AE9-CFC4-403D-98DA-A3A78CB1567F}">
      <dgm:prSet/>
      <dgm:spPr/>
      <dgm:t>
        <a:bodyPr/>
        <a:lstStyle/>
        <a:p>
          <a:endParaRPr lang="en-US"/>
        </a:p>
      </dgm:t>
    </dgm:pt>
    <dgm:pt modelId="{6DF3BC35-D426-4388-B21A-D5910EE3EB22}" type="sibTrans" cxnId="{0D400AE9-CFC4-403D-98DA-A3A78CB1567F}">
      <dgm:prSet/>
      <dgm:spPr/>
      <dgm:t>
        <a:bodyPr/>
        <a:lstStyle/>
        <a:p>
          <a:endParaRPr lang="en-US"/>
        </a:p>
      </dgm:t>
    </dgm:pt>
    <dgm:pt modelId="{6AF5512F-0766-4FAC-923A-064676E26C33}">
      <dgm:prSet phldrT="[Text]"/>
      <dgm:spPr/>
      <dgm:t>
        <a:bodyPr/>
        <a:lstStyle/>
        <a:p>
          <a:r>
            <a:rPr lang="en-US"/>
            <a:t>e.g., robots in factory floor</a:t>
          </a:r>
        </a:p>
      </dgm:t>
    </dgm:pt>
    <dgm:pt modelId="{E6D61405-3179-4E4D-A813-613BB8828983}" type="parTrans" cxnId="{AE2110E2-7BD1-4FFF-A0BB-894A3554AABB}">
      <dgm:prSet/>
      <dgm:spPr/>
      <dgm:t>
        <a:bodyPr/>
        <a:lstStyle/>
        <a:p>
          <a:endParaRPr lang="en-US"/>
        </a:p>
      </dgm:t>
    </dgm:pt>
    <dgm:pt modelId="{E9BE9DB1-6189-4963-8DB4-D3AA5170E93E}" type="sibTrans" cxnId="{AE2110E2-7BD1-4FFF-A0BB-894A3554AABB}">
      <dgm:prSet/>
      <dgm:spPr/>
      <dgm:t>
        <a:bodyPr/>
        <a:lstStyle/>
        <a:p>
          <a:endParaRPr lang="en-US"/>
        </a:p>
      </dgm:t>
    </dgm:pt>
    <dgm:pt modelId="{0FFE7264-8F96-44AA-BB77-23E3D705BD73}">
      <dgm:prSet phldrT="[Text]"/>
      <dgm:spPr/>
      <dgm:t>
        <a:bodyPr/>
        <a:lstStyle/>
        <a:p>
          <a:r>
            <a:rPr lang="en-US"/>
            <a:t>e.g., city street lights</a:t>
          </a:r>
        </a:p>
      </dgm:t>
    </dgm:pt>
    <dgm:pt modelId="{7CFA0A7A-23B4-49C1-AB7B-04EEBFF8DE93}" type="parTrans" cxnId="{93F0F680-DCFB-44C5-845D-DFFA82FC7964}">
      <dgm:prSet/>
      <dgm:spPr/>
      <dgm:t>
        <a:bodyPr/>
        <a:lstStyle/>
        <a:p>
          <a:endParaRPr lang="en-US"/>
        </a:p>
      </dgm:t>
    </dgm:pt>
    <dgm:pt modelId="{714BEF31-A166-4E97-9D6B-6D944BF036D0}" type="sibTrans" cxnId="{93F0F680-DCFB-44C5-845D-DFFA82FC7964}">
      <dgm:prSet/>
      <dgm:spPr/>
      <dgm:t>
        <a:bodyPr/>
        <a:lstStyle/>
        <a:p>
          <a:endParaRPr lang="en-US"/>
        </a:p>
      </dgm:t>
    </dgm:pt>
    <dgm:pt modelId="{4DC1BCE0-82D7-4948-9395-602A08B97915}">
      <dgm:prSet phldrT="[Text]"/>
      <dgm:spPr/>
      <dgm:t>
        <a:bodyPr/>
        <a:lstStyle/>
        <a:p>
          <a:r>
            <a:rPr lang="en-US"/>
            <a:t>Device talks our supported protocols</a:t>
          </a:r>
        </a:p>
      </dgm:t>
    </dgm:pt>
    <dgm:pt modelId="{965FE2E3-1795-4628-BA71-9738E83361FA}" type="parTrans" cxnId="{E9CD9E17-8C73-47A5-916A-90A88F51DB4A}">
      <dgm:prSet/>
      <dgm:spPr/>
      <dgm:t>
        <a:bodyPr/>
        <a:lstStyle/>
        <a:p>
          <a:endParaRPr lang="en-US"/>
        </a:p>
      </dgm:t>
    </dgm:pt>
    <dgm:pt modelId="{75E0D91D-FEFD-4DDC-B623-3958DD8AD921}" type="sibTrans" cxnId="{E9CD9E17-8C73-47A5-916A-90A88F51DB4A}">
      <dgm:prSet/>
      <dgm:spPr/>
      <dgm:t>
        <a:bodyPr/>
        <a:lstStyle/>
        <a:p>
          <a:endParaRPr lang="en-US"/>
        </a:p>
      </dgm:t>
    </dgm:pt>
    <dgm:pt modelId="{5C16F0F7-7931-467E-9318-B34E3FBB9DDF}">
      <dgm:prSet phldrT="[Text]"/>
      <dgm:spPr/>
      <dgm:t>
        <a:bodyPr/>
        <a:lstStyle/>
        <a:p>
          <a:r>
            <a:rPr lang="en-US"/>
            <a:t>Indirect through a field gateway</a:t>
          </a:r>
        </a:p>
      </dgm:t>
    </dgm:pt>
    <dgm:pt modelId="{DCB6D5BE-9370-45C5-B4DE-A5075B20F7EB}" type="parTrans" cxnId="{DBC7766D-BBFE-4E0C-9796-1625DDA5B197}">
      <dgm:prSet/>
      <dgm:spPr/>
      <dgm:t>
        <a:bodyPr/>
        <a:lstStyle/>
        <a:p>
          <a:endParaRPr lang="en-US"/>
        </a:p>
      </dgm:t>
    </dgm:pt>
    <dgm:pt modelId="{2D40FB49-6D32-4741-8D71-5E3D31734B5B}" type="sibTrans" cxnId="{DBC7766D-BBFE-4E0C-9796-1625DDA5B197}">
      <dgm:prSet/>
      <dgm:spPr/>
      <dgm:t>
        <a:bodyPr/>
        <a:lstStyle/>
        <a:p>
          <a:endParaRPr lang="en-US"/>
        </a:p>
      </dgm:t>
    </dgm:pt>
    <dgm:pt modelId="{E8B6844F-A27D-4E91-A675-7150E96C0D82}">
      <dgm:prSet phldrT="[Text]"/>
      <dgm:spPr/>
      <dgm:t>
        <a:bodyPr/>
        <a:lstStyle/>
        <a:p>
          <a:r>
            <a:rPr lang="en-US"/>
            <a:t>Devices don’t know any of our supported protocols</a:t>
          </a:r>
        </a:p>
      </dgm:t>
    </dgm:pt>
    <dgm:pt modelId="{FACCA755-7596-45F2-B0B7-4CB32A9C93F3}" type="parTrans" cxnId="{5DA41582-5655-4ADA-BE5F-DC6EC3ED9A4A}">
      <dgm:prSet/>
      <dgm:spPr/>
      <dgm:t>
        <a:bodyPr/>
        <a:lstStyle/>
        <a:p>
          <a:endParaRPr lang="en-US"/>
        </a:p>
      </dgm:t>
    </dgm:pt>
    <dgm:pt modelId="{B358CBFA-B390-4827-9B1D-3C964565CC43}" type="sibTrans" cxnId="{5DA41582-5655-4ADA-BE5F-DC6EC3ED9A4A}">
      <dgm:prSet/>
      <dgm:spPr/>
      <dgm:t>
        <a:bodyPr/>
        <a:lstStyle/>
        <a:p>
          <a:endParaRPr lang="en-US"/>
        </a:p>
      </dgm:t>
    </dgm:pt>
    <dgm:pt modelId="{DFC42B90-4F98-423B-9F07-53D226EF154E}">
      <dgm:prSet phldrT="[Text]"/>
      <dgm:spPr/>
      <dgm:t>
        <a:bodyPr/>
        <a:lstStyle/>
        <a:p>
          <a:r>
            <a:rPr lang="en-US"/>
            <a:t>Devices connect to a field gateway that supports our protocols</a:t>
          </a:r>
        </a:p>
      </dgm:t>
    </dgm:pt>
    <dgm:pt modelId="{D81111D4-52FE-4D99-83B5-A5ADEBF53844}" type="parTrans" cxnId="{CB8C137A-E4E3-4401-B6EE-3C967A0B8AFB}">
      <dgm:prSet/>
      <dgm:spPr/>
      <dgm:t>
        <a:bodyPr/>
        <a:lstStyle/>
        <a:p>
          <a:endParaRPr lang="en-US"/>
        </a:p>
      </dgm:t>
    </dgm:pt>
    <dgm:pt modelId="{0BB9F263-8155-46E8-B6E2-DFAC483F6033}" type="sibTrans" cxnId="{CB8C137A-E4E3-4401-B6EE-3C967A0B8AFB}">
      <dgm:prSet/>
      <dgm:spPr/>
      <dgm:t>
        <a:bodyPr/>
        <a:lstStyle/>
        <a:p>
          <a:endParaRPr lang="en-US"/>
        </a:p>
      </dgm:t>
    </dgm:pt>
    <dgm:pt modelId="{7E5AB06B-7E61-420F-BBFB-9FF49DDBB6ED}">
      <dgm:prSet phldrT="[Text]"/>
      <dgm:spPr/>
      <dgm:t>
        <a:bodyPr/>
        <a:lstStyle/>
        <a:p>
          <a:r>
            <a:rPr lang="en-US"/>
            <a:t>e.g., soil moisture sensors on a farm</a:t>
          </a:r>
        </a:p>
      </dgm:t>
    </dgm:pt>
    <dgm:pt modelId="{37BB21E0-72A8-4B67-A91A-20FE381A89DE}" type="parTrans" cxnId="{380A18D5-6353-46A5-A0C5-9F0FE8ED2449}">
      <dgm:prSet/>
      <dgm:spPr/>
      <dgm:t>
        <a:bodyPr/>
        <a:lstStyle/>
        <a:p>
          <a:endParaRPr lang="en-US"/>
        </a:p>
      </dgm:t>
    </dgm:pt>
    <dgm:pt modelId="{D11F0FC6-0C70-459E-B22F-A0DE7660797B}" type="sibTrans" cxnId="{380A18D5-6353-46A5-A0C5-9F0FE8ED2449}">
      <dgm:prSet/>
      <dgm:spPr/>
      <dgm:t>
        <a:bodyPr/>
        <a:lstStyle/>
        <a:p>
          <a:endParaRPr lang="en-US"/>
        </a:p>
      </dgm:t>
    </dgm:pt>
    <dgm:pt modelId="{6FDABE3F-E820-4100-A7BF-37193583D217}">
      <dgm:prSet phldrT="[Text]"/>
      <dgm:spPr/>
      <dgm:t>
        <a:bodyPr/>
        <a:lstStyle/>
        <a:p>
          <a:r>
            <a:rPr lang="en-US"/>
            <a:t>e.g., deploy image detection for boxes on a conveyor belt</a:t>
          </a:r>
        </a:p>
      </dgm:t>
    </dgm:pt>
    <dgm:pt modelId="{41D881BF-E000-4BA8-96C1-0EC322BE4DFF}" type="parTrans" cxnId="{CF13AE69-8C7C-4FE3-95C6-213266E52C8B}">
      <dgm:prSet/>
      <dgm:spPr/>
      <dgm:t>
        <a:bodyPr/>
        <a:lstStyle/>
        <a:p>
          <a:endParaRPr lang="en-US"/>
        </a:p>
      </dgm:t>
    </dgm:pt>
    <dgm:pt modelId="{ED8BFDEF-DECF-4210-BFE1-1150E72FB65F}" type="sibTrans" cxnId="{CF13AE69-8C7C-4FE3-95C6-213266E52C8B}">
      <dgm:prSet/>
      <dgm:spPr/>
      <dgm:t>
        <a:bodyPr/>
        <a:lstStyle/>
        <a:p>
          <a:endParaRPr lang="en-US"/>
        </a:p>
      </dgm:t>
    </dgm:pt>
    <dgm:pt modelId="{DB5BA07D-2841-4A82-806F-7275348FD006}">
      <dgm:prSet phldrT="[Text]"/>
      <dgm:spPr/>
      <dgm:t>
        <a:bodyPr/>
        <a:lstStyle/>
        <a:p>
          <a:r>
            <a:rPr lang="en-US"/>
            <a:t>Usually involves high-powered devices</a:t>
          </a:r>
        </a:p>
      </dgm:t>
    </dgm:pt>
    <dgm:pt modelId="{2CF35484-2028-4BE1-8EA6-03519E34EA76}" type="parTrans" cxnId="{86D79D7D-8AFD-4EAF-8703-CA08C40B08C2}">
      <dgm:prSet/>
      <dgm:spPr/>
      <dgm:t>
        <a:bodyPr/>
        <a:lstStyle/>
        <a:p>
          <a:endParaRPr lang="en-US"/>
        </a:p>
      </dgm:t>
    </dgm:pt>
    <dgm:pt modelId="{5DAEEE46-109D-41D0-BDB8-EC8946D8F36C}" type="sibTrans" cxnId="{86D79D7D-8AFD-4EAF-8703-CA08C40B08C2}">
      <dgm:prSet/>
      <dgm:spPr/>
      <dgm:t>
        <a:bodyPr/>
        <a:lstStyle/>
        <a:p>
          <a:endParaRPr lang="en-US"/>
        </a:p>
      </dgm:t>
    </dgm:pt>
    <dgm:pt modelId="{3FFC330C-4CB3-46C7-BB3E-A65C6A8E4D5C}" type="pres">
      <dgm:prSet presAssocID="{FBB535A4-DA47-49AB-A01A-CFD3B8BDA142}" presName="Name0" presStyleCnt="0">
        <dgm:presLayoutVars>
          <dgm:dir/>
          <dgm:resizeHandles val="exact"/>
        </dgm:presLayoutVars>
      </dgm:prSet>
      <dgm:spPr/>
    </dgm:pt>
    <dgm:pt modelId="{9A20CB1E-BE7E-4C4D-945E-2B51AB2BD7CF}" type="pres">
      <dgm:prSet presAssocID="{FBB535A4-DA47-49AB-A01A-CFD3B8BDA142}" presName="bkgdShp" presStyleLbl="alignAccFollowNode1" presStyleIdx="0" presStyleCnt="1"/>
      <dgm:spPr/>
    </dgm:pt>
    <dgm:pt modelId="{6DD276F1-485D-47F8-AC43-4607E9B7385D}" type="pres">
      <dgm:prSet presAssocID="{FBB535A4-DA47-49AB-A01A-CFD3B8BDA142}" presName="linComp" presStyleCnt="0"/>
      <dgm:spPr/>
    </dgm:pt>
    <dgm:pt modelId="{ABF42A39-C2E0-4564-A7E2-9B65E6E4D27F}" type="pres">
      <dgm:prSet presAssocID="{34F6A458-E789-42F0-A07D-F96DD0E946DD}" presName="compNode" presStyleCnt="0"/>
      <dgm:spPr/>
    </dgm:pt>
    <dgm:pt modelId="{D65C5DE3-06E0-4FD4-9FDA-F846F3B8F8B7}" type="pres">
      <dgm:prSet presAssocID="{34F6A458-E789-42F0-A07D-F96DD0E946DD}" presName="node" presStyleLbl="node1" presStyleIdx="0" presStyleCnt="5">
        <dgm:presLayoutVars>
          <dgm:bulletEnabled val="1"/>
        </dgm:presLayoutVars>
      </dgm:prSet>
      <dgm:spPr/>
    </dgm:pt>
    <dgm:pt modelId="{C34E3ACA-A495-4849-9882-7D876941AFAD}" type="pres">
      <dgm:prSet presAssocID="{34F6A458-E789-42F0-A07D-F96DD0E946DD}" presName="invisiNode" presStyleLbl="node1" presStyleIdx="0" presStyleCnt="5"/>
      <dgm:spPr/>
    </dgm:pt>
    <dgm:pt modelId="{EE9801D3-D7E1-455F-A6F4-D1FF3FFC72CE}" type="pres">
      <dgm:prSet presAssocID="{34F6A458-E789-42F0-A07D-F96DD0E946DD}" presName="imagNode" presStyleLbl="fgImgPlace1" presStyleIdx="0" presStyleCnt="5"/>
      <dgm:spPr/>
    </dgm:pt>
    <dgm:pt modelId="{FD85B4F3-0747-4E71-B54E-731BDA1D6C7B}" type="pres">
      <dgm:prSet presAssocID="{1B614427-AB19-49AB-8476-4F4B5F475732}" presName="sibTrans" presStyleLbl="sibTrans2D1" presStyleIdx="0" presStyleCnt="0"/>
      <dgm:spPr/>
    </dgm:pt>
    <dgm:pt modelId="{72B6D7B4-F1F3-4B54-95B1-04281586BD4A}" type="pres">
      <dgm:prSet presAssocID="{5C16F0F7-7931-467E-9318-B34E3FBB9DDF}" presName="compNode" presStyleCnt="0"/>
      <dgm:spPr/>
    </dgm:pt>
    <dgm:pt modelId="{4C357012-6B49-489B-BB83-21D6C536956C}" type="pres">
      <dgm:prSet presAssocID="{5C16F0F7-7931-467E-9318-B34E3FBB9DDF}" presName="node" presStyleLbl="node1" presStyleIdx="1" presStyleCnt="5">
        <dgm:presLayoutVars>
          <dgm:bulletEnabled val="1"/>
        </dgm:presLayoutVars>
      </dgm:prSet>
      <dgm:spPr/>
    </dgm:pt>
    <dgm:pt modelId="{E45591B6-24AF-4277-9F00-630FE8C7012E}" type="pres">
      <dgm:prSet presAssocID="{5C16F0F7-7931-467E-9318-B34E3FBB9DDF}" presName="invisiNode" presStyleLbl="node1" presStyleIdx="1" presStyleCnt="5"/>
      <dgm:spPr/>
    </dgm:pt>
    <dgm:pt modelId="{FF24CE1D-3526-4B7C-A038-175B6CEA23BD}" type="pres">
      <dgm:prSet presAssocID="{5C16F0F7-7931-467E-9318-B34E3FBB9DDF}" presName="imagNode" presStyleLbl="fgImgPlace1" presStyleIdx="1" presStyleCnt="5"/>
      <dgm:spPr/>
    </dgm:pt>
    <dgm:pt modelId="{23A99EF2-0603-445C-92ED-3FF6C14527EA}" type="pres">
      <dgm:prSet presAssocID="{2D40FB49-6D32-4741-8D71-5E3D31734B5B}" presName="sibTrans" presStyleLbl="sibTrans2D1" presStyleIdx="0" presStyleCnt="0"/>
      <dgm:spPr/>
    </dgm:pt>
    <dgm:pt modelId="{4CBE49EB-CAA6-467E-8CE9-869A04C1EB7B}" type="pres">
      <dgm:prSet presAssocID="{8B4B87DA-CBD2-4FA8-86CF-6AE967BD6C91}" presName="compNode" presStyleCnt="0"/>
      <dgm:spPr/>
    </dgm:pt>
    <dgm:pt modelId="{ECAE6AFB-63C6-4D2F-81BA-26A33A77848D}" type="pres">
      <dgm:prSet presAssocID="{8B4B87DA-CBD2-4FA8-86CF-6AE967BD6C91}" presName="node" presStyleLbl="node1" presStyleIdx="2" presStyleCnt="5">
        <dgm:presLayoutVars>
          <dgm:bulletEnabled val="1"/>
        </dgm:presLayoutVars>
      </dgm:prSet>
      <dgm:spPr/>
    </dgm:pt>
    <dgm:pt modelId="{B380A483-477D-4B2E-BC5D-2CBE16E7E82E}" type="pres">
      <dgm:prSet presAssocID="{8B4B87DA-CBD2-4FA8-86CF-6AE967BD6C91}" presName="invisiNode" presStyleLbl="node1" presStyleIdx="2" presStyleCnt="5"/>
      <dgm:spPr/>
    </dgm:pt>
    <dgm:pt modelId="{4184E3C6-83ED-4844-B153-78AB161FD288}" type="pres">
      <dgm:prSet presAssocID="{8B4B87DA-CBD2-4FA8-86CF-6AE967BD6C91}" presName="imagNode" presStyleLbl="fgImgPlace1" presStyleIdx="2" presStyleCnt="5"/>
      <dgm:spPr/>
    </dgm:pt>
    <dgm:pt modelId="{B8BABB63-AB08-41BF-B90F-350E10031208}" type="pres">
      <dgm:prSet presAssocID="{3D97940C-BEEF-4363-86D2-A32D1157437A}" presName="sibTrans" presStyleLbl="sibTrans2D1" presStyleIdx="0" presStyleCnt="0"/>
      <dgm:spPr/>
    </dgm:pt>
    <dgm:pt modelId="{F124E6AA-E7F6-4626-AB59-4D71F50C35E7}" type="pres">
      <dgm:prSet presAssocID="{538C5CE8-F4F6-4923-81CB-AD4970537792}" presName="compNode" presStyleCnt="0"/>
      <dgm:spPr/>
    </dgm:pt>
    <dgm:pt modelId="{30FCDAFC-C565-4FF0-A09E-3E9068BE906A}" type="pres">
      <dgm:prSet presAssocID="{538C5CE8-F4F6-4923-81CB-AD4970537792}" presName="node" presStyleLbl="node1" presStyleIdx="3" presStyleCnt="5">
        <dgm:presLayoutVars>
          <dgm:bulletEnabled val="1"/>
        </dgm:presLayoutVars>
      </dgm:prSet>
      <dgm:spPr/>
    </dgm:pt>
    <dgm:pt modelId="{3448608E-AFCB-4D30-83BF-3B368AC5B5F0}" type="pres">
      <dgm:prSet presAssocID="{538C5CE8-F4F6-4923-81CB-AD4970537792}" presName="invisiNode" presStyleLbl="node1" presStyleIdx="3" presStyleCnt="5"/>
      <dgm:spPr/>
    </dgm:pt>
    <dgm:pt modelId="{8EA125AD-7C05-4FCD-9F90-EE9C6E3CDBA0}" type="pres">
      <dgm:prSet presAssocID="{538C5CE8-F4F6-4923-81CB-AD4970537792}" presName="imagNode" presStyleLbl="fgImgPlace1" presStyleIdx="3" presStyleCnt="5"/>
      <dgm:spPr/>
    </dgm:pt>
    <dgm:pt modelId="{321A3EC8-19C4-4B5A-8C7A-5B4C8780F549}" type="pres">
      <dgm:prSet presAssocID="{B2ADDBDC-7892-4110-9DA5-00BCD3E98D6D}" presName="sibTrans" presStyleLbl="sibTrans2D1" presStyleIdx="0" presStyleCnt="0"/>
      <dgm:spPr/>
    </dgm:pt>
    <dgm:pt modelId="{66F727D1-4666-49FD-9297-00DE7D59CA3B}" type="pres">
      <dgm:prSet presAssocID="{56ABB444-ACD8-4DC8-92BC-AAC4D2FFC965}" presName="compNode" presStyleCnt="0"/>
      <dgm:spPr/>
    </dgm:pt>
    <dgm:pt modelId="{5D7DF59A-5DB8-464A-8702-ECD08295E854}" type="pres">
      <dgm:prSet presAssocID="{56ABB444-ACD8-4DC8-92BC-AAC4D2FFC965}" presName="node" presStyleLbl="node1" presStyleIdx="4" presStyleCnt="5">
        <dgm:presLayoutVars>
          <dgm:bulletEnabled val="1"/>
        </dgm:presLayoutVars>
      </dgm:prSet>
      <dgm:spPr/>
    </dgm:pt>
    <dgm:pt modelId="{60963254-D393-4B23-B21C-7F71B8D4E387}" type="pres">
      <dgm:prSet presAssocID="{56ABB444-ACD8-4DC8-92BC-AAC4D2FFC965}" presName="invisiNode" presStyleLbl="node1" presStyleIdx="4" presStyleCnt="5"/>
      <dgm:spPr/>
    </dgm:pt>
    <dgm:pt modelId="{6431613F-18B6-4FC4-A03A-1A66D4B14996}" type="pres">
      <dgm:prSet presAssocID="{56ABB444-ACD8-4DC8-92BC-AAC4D2FFC965}" presName="imagNode" presStyleLbl="fgImgPlace1" presStyleIdx="4" presStyleCnt="5"/>
      <dgm:spPr/>
    </dgm:pt>
  </dgm:ptLst>
  <dgm:cxnLst>
    <dgm:cxn modelId="{B5BF5702-D85F-4BB8-8747-738ABFE01E4C}" srcId="{538C5CE8-F4F6-4923-81CB-AD4970537792}" destId="{C240282B-B35C-45F9-AB76-EF579F8D827E}" srcOrd="1" destOrd="0" parTransId="{BD6D8C5C-387C-474A-9E33-C6AFB7DD1BEA}" sibTransId="{27172D3E-1EF7-494F-BA9F-38204D2CFED0}"/>
    <dgm:cxn modelId="{C00C8B0F-6A97-44AD-9A08-5167A76F1378}" type="presOf" srcId="{683BD04D-3393-40D4-8502-E5EE16B58150}" destId="{30FCDAFC-C565-4FF0-A09E-3E9068BE906A}" srcOrd="0" destOrd="3" presId="urn:microsoft.com/office/officeart/2005/8/layout/pList2"/>
    <dgm:cxn modelId="{23DC8410-E450-4BBC-AC1B-E5AA51BEB685}" type="presOf" srcId="{2D40FB49-6D32-4741-8D71-5E3D31734B5B}" destId="{23A99EF2-0603-445C-92ED-3FF6C14527EA}" srcOrd="0" destOrd="0" presId="urn:microsoft.com/office/officeart/2005/8/layout/pList2"/>
    <dgm:cxn modelId="{E9CD9E17-8C73-47A5-916A-90A88F51DB4A}" srcId="{34F6A458-E789-42F0-A07D-F96DD0E946DD}" destId="{4DC1BCE0-82D7-4948-9395-602A08B97915}" srcOrd="1" destOrd="0" parTransId="{965FE2E3-1795-4628-BA71-9738E83361FA}" sibTransId="{75E0D91D-FEFD-4DDC-B623-3958DD8AD921}"/>
    <dgm:cxn modelId="{382B4D1B-015A-4E25-ADD6-F3818AF729EC}" type="presOf" srcId="{7E5AB06B-7E61-420F-BBFB-9FF49DDBB6ED}" destId="{4C357012-6B49-489B-BB83-21D6C536956C}" srcOrd="0" destOrd="3" presId="urn:microsoft.com/office/officeart/2005/8/layout/pList2"/>
    <dgm:cxn modelId="{A6FDDE38-7221-4A75-B330-B0ADD51D5006}" type="presOf" srcId="{C240282B-B35C-45F9-AB76-EF579F8D827E}" destId="{30FCDAFC-C565-4FF0-A09E-3E9068BE906A}" srcOrd="0" destOrd="2" presId="urn:microsoft.com/office/officeart/2005/8/layout/pList2"/>
    <dgm:cxn modelId="{A0EBA640-576F-465B-B145-1202F2C0108B}" type="presOf" srcId="{0FFE7264-8F96-44AA-BB77-23E3D705BD73}" destId="{D65C5DE3-06E0-4FD4-9FDA-F846F3B8F8B7}" srcOrd="0" destOrd="3" presId="urn:microsoft.com/office/officeart/2005/8/layout/pList2"/>
    <dgm:cxn modelId="{61C4245B-4F72-4FC4-877C-6CEC41A2DDCE}" type="presOf" srcId="{B2ADDBDC-7892-4110-9DA5-00BCD3E98D6D}" destId="{321A3EC8-19C4-4B5A-8C7A-5B4C8780F549}" srcOrd="0" destOrd="0" presId="urn:microsoft.com/office/officeart/2005/8/layout/pList2"/>
    <dgm:cxn modelId="{6AF72F42-3585-4E06-9BF8-65176B3021B9}" srcId="{8B4B87DA-CBD2-4FA8-86CF-6AE967BD6C91}" destId="{F1933A96-22C0-41B5-B80D-354E5175A940}" srcOrd="1" destOrd="0" parTransId="{93D8BD0D-9981-40FE-B3CD-DF05513C6564}" sibTransId="{FB846F90-DA9D-46B4-9066-509BE7602DD4}"/>
    <dgm:cxn modelId="{47421C63-6C69-45FB-AFF9-21ED08A8B243}" type="presOf" srcId="{42AA84C7-1D0D-4ED9-B5F5-6DB7CA900D9E}" destId="{5D7DF59A-5DB8-464A-8702-ECD08295E854}" srcOrd="0" destOrd="1" presId="urn:microsoft.com/office/officeart/2005/8/layout/pList2"/>
    <dgm:cxn modelId="{70BC5F43-2A90-413D-8E74-735E50DA876C}" type="presOf" srcId="{8B4B87DA-CBD2-4FA8-86CF-6AE967BD6C91}" destId="{ECAE6AFB-63C6-4D2F-81BA-26A33A77848D}" srcOrd="0" destOrd="0" presId="urn:microsoft.com/office/officeart/2005/8/layout/pList2"/>
    <dgm:cxn modelId="{6EE27146-6DC9-477B-8FAD-22F1152E82A8}" srcId="{34F6A458-E789-42F0-A07D-F96DD0E946DD}" destId="{CB1BC799-EF23-4ED8-99AF-6A83284304D5}" srcOrd="0" destOrd="0" parTransId="{10C17C9E-717F-4ABA-B016-86CE19F79A35}" sibTransId="{8133DA8A-B59B-49F9-B2AD-6383806D4C3E}"/>
    <dgm:cxn modelId="{CF13AE69-8C7C-4FE3-95C6-213266E52C8B}" srcId="{56ABB444-ACD8-4DC8-92BC-AAC4D2FFC965}" destId="{6FDABE3F-E820-4100-A7BF-37193583D217}" srcOrd="3" destOrd="0" parTransId="{41D881BF-E000-4BA8-96C1-0EC322BE4DFF}" sibTransId="{ED8BFDEF-DECF-4210-BFE1-1150E72FB65F}"/>
    <dgm:cxn modelId="{F8C5614C-F932-49E1-839B-B0EB9686B328}" type="presOf" srcId="{E8B6844F-A27D-4E91-A675-7150E96C0D82}" destId="{4C357012-6B49-489B-BB83-21D6C536956C}" srcOrd="0" destOrd="1" presId="urn:microsoft.com/office/officeart/2005/8/layout/pList2"/>
    <dgm:cxn modelId="{FCB7066D-1443-4323-B53B-E1F7328BC529}" type="presOf" srcId="{81627679-8233-432F-AE70-1F9648C3E905}" destId="{30FCDAFC-C565-4FF0-A09E-3E9068BE906A}" srcOrd="0" destOrd="1" presId="urn:microsoft.com/office/officeart/2005/8/layout/pList2"/>
    <dgm:cxn modelId="{DBC7766D-BBFE-4E0C-9796-1625DDA5B197}" srcId="{FBB535A4-DA47-49AB-A01A-CFD3B8BDA142}" destId="{5C16F0F7-7931-467E-9318-B34E3FBB9DDF}" srcOrd="1" destOrd="0" parTransId="{DCB6D5BE-9370-45C5-B4DE-A5075B20F7EB}" sibTransId="{2D40FB49-6D32-4741-8D71-5E3D31734B5B}"/>
    <dgm:cxn modelId="{6D4EE06E-BC61-4565-A89F-447A52C9F04C}" type="presOf" srcId="{FBB535A4-DA47-49AB-A01A-CFD3B8BDA142}" destId="{3FFC330C-4CB3-46C7-BB3E-A65C6A8E4D5C}" srcOrd="0" destOrd="0" presId="urn:microsoft.com/office/officeart/2005/8/layout/pList2"/>
    <dgm:cxn modelId="{1B69A16F-2565-4A4C-BD5F-05667507C256}" type="presOf" srcId="{56ABB444-ACD8-4DC8-92BC-AAC4D2FFC965}" destId="{5D7DF59A-5DB8-464A-8702-ECD08295E854}" srcOrd="0" destOrd="0" presId="urn:microsoft.com/office/officeart/2005/8/layout/pList2"/>
    <dgm:cxn modelId="{1F050651-549E-41F6-A761-033444DC4A5D}" type="presOf" srcId="{496DCFBA-41F6-4929-A5CE-0CB5D7EAD1CB}" destId="{5D7DF59A-5DB8-464A-8702-ECD08295E854}" srcOrd="0" destOrd="2" presId="urn:microsoft.com/office/officeart/2005/8/layout/pList2"/>
    <dgm:cxn modelId="{93FC3056-AD78-44D3-BF2F-4CF3CC0CBA55}" srcId="{538C5CE8-F4F6-4923-81CB-AD4970537792}" destId="{81627679-8233-432F-AE70-1F9648C3E905}" srcOrd="0" destOrd="0" parTransId="{AB702EAB-5A0C-436B-8206-FA1134C3D1B6}" sibTransId="{3A433908-FD29-4E21-A10E-6BCBA143B654}"/>
    <dgm:cxn modelId="{CB8C137A-E4E3-4401-B6EE-3C967A0B8AFB}" srcId="{5C16F0F7-7931-467E-9318-B34E3FBB9DDF}" destId="{DFC42B90-4F98-423B-9F07-53D226EF154E}" srcOrd="1" destOrd="0" parTransId="{D81111D4-52FE-4D99-83B5-A5ADEBF53844}" sibTransId="{0BB9F263-8155-46E8-B6E2-DFAC483F6033}"/>
    <dgm:cxn modelId="{B81BAD7B-19F6-4BED-86AB-5519CF08832D}" type="presOf" srcId="{6FDABE3F-E820-4100-A7BF-37193583D217}" destId="{5D7DF59A-5DB8-464A-8702-ECD08295E854}" srcOrd="0" destOrd="4" presId="urn:microsoft.com/office/officeart/2005/8/layout/pList2"/>
    <dgm:cxn modelId="{86D79D7D-8AFD-4EAF-8703-CA08C40B08C2}" srcId="{56ABB444-ACD8-4DC8-92BC-AAC4D2FFC965}" destId="{DB5BA07D-2841-4A82-806F-7275348FD006}" srcOrd="2" destOrd="0" parTransId="{2CF35484-2028-4BE1-8EA6-03519E34EA76}" sibTransId="{5DAEEE46-109D-41D0-BDB8-EC8946D8F36C}"/>
    <dgm:cxn modelId="{1CFD6880-7323-40A7-A4ED-076B732F2C78}" srcId="{FBB535A4-DA47-49AB-A01A-CFD3B8BDA142}" destId="{56ABB444-ACD8-4DC8-92BC-AAC4D2FFC965}" srcOrd="4" destOrd="0" parTransId="{2DDE50A1-4E8A-4CA9-8D7B-524934D46E3B}" sibTransId="{5F1ED569-9E80-4F86-A719-6167E76054E5}"/>
    <dgm:cxn modelId="{93F0F680-DCFB-44C5-845D-DFFA82FC7964}" srcId="{34F6A458-E789-42F0-A07D-F96DD0E946DD}" destId="{0FFE7264-8F96-44AA-BB77-23E3D705BD73}" srcOrd="2" destOrd="0" parTransId="{7CFA0A7A-23B4-49C1-AB7B-04EEBFF8DE93}" sibTransId="{714BEF31-A166-4E97-9D6B-6D944BF036D0}"/>
    <dgm:cxn modelId="{9B1E3F81-C689-408E-AC15-1CC979482B97}" srcId="{FBB535A4-DA47-49AB-A01A-CFD3B8BDA142}" destId="{34F6A458-E789-42F0-A07D-F96DD0E946DD}" srcOrd="0" destOrd="0" parTransId="{E0F42957-739B-4329-834B-B6004AABA0AD}" sibTransId="{1B614427-AB19-49AB-8476-4F4B5F475732}"/>
    <dgm:cxn modelId="{5DA41582-5655-4ADA-BE5F-DC6EC3ED9A4A}" srcId="{5C16F0F7-7931-467E-9318-B34E3FBB9DDF}" destId="{E8B6844F-A27D-4E91-A675-7150E96C0D82}" srcOrd="0" destOrd="0" parTransId="{FACCA755-7596-45F2-B0B7-4CB32A9C93F3}" sibTransId="{B358CBFA-B390-4827-9B1D-3C964565CC43}"/>
    <dgm:cxn modelId="{5BDECF82-6D67-4734-AAEA-040658198F37}" srcId="{8B4B87DA-CBD2-4FA8-86CF-6AE967BD6C91}" destId="{F3804ACC-05A9-4D2F-847A-BF1DDD12113F}" srcOrd="0" destOrd="0" parTransId="{C27A71CD-B2A1-4F17-B429-748EAC182D4C}" sibTransId="{A0EE9B32-481C-45F2-9D20-86C2989A0C16}"/>
    <dgm:cxn modelId="{E71A0099-EC58-4AC5-BE2E-4EAD21BFD4B0}" type="presOf" srcId="{3D97940C-BEEF-4363-86D2-A32D1157437A}" destId="{B8BABB63-AB08-41BF-B90F-350E10031208}" srcOrd="0" destOrd="0" presId="urn:microsoft.com/office/officeart/2005/8/layout/pList2"/>
    <dgm:cxn modelId="{FC1CD49D-D2BE-41C3-9474-A92EC938B3B4}" type="presOf" srcId="{5C16F0F7-7931-467E-9318-B34E3FBB9DDF}" destId="{4C357012-6B49-489B-BB83-21D6C536956C}" srcOrd="0" destOrd="0" presId="urn:microsoft.com/office/officeart/2005/8/layout/pList2"/>
    <dgm:cxn modelId="{F7CF34A7-814B-490B-B68F-BDD7E8DE5CAD}" type="presOf" srcId="{4DC1BCE0-82D7-4948-9395-602A08B97915}" destId="{D65C5DE3-06E0-4FD4-9FDA-F846F3B8F8B7}" srcOrd="0" destOrd="2" presId="urn:microsoft.com/office/officeart/2005/8/layout/pList2"/>
    <dgm:cxn modelId="{BCC0ADAD-7810-4FE0-A4F0-04DF100CD286}" srcId="{FBB535A4-DA47-49AB-A01A-CFD3B8BDA142}" destId="{538C5CE8-F4F6-4923-81CB-AD4970537792}" srcOrd="3" destOrd="0" parTransId="{331485D1-1E1F-4C67-8BD6-6386CBC55514}" sibTransId="{B2ADDBDC-7892-4110-9DA5-00BCD3E98D6D}"/>
    <dgm:cxn modelId="{659738AF-F32F-41E5-B8B7-C9844C16E258}" srcId="{FBB535A4-DA47-49AB-A01A-CFD3B8BDA142}" destId="{8B4B87DA-CBD2-4FA8-86CF-6AE967BD6C91}" srcOrd="2" destOrd="0" parTransId="{3EEF501E-5108-40FF-B6F7-DA5284E1774F}" sibTransId="{3D97940C-BEEF-4363-86D2-A32D1157437A}"/>
    <dgm:cxn modelId="{2F81C0BB-4BB2-45C9-8905-5DBE4A5847F2}" type="presOf" srcId="{F1933A96-22C0-41B5-B80D-354E5175A940}" destId="{ECAE6AFB-63C6-4D2F-81BA-26A33A77848D}" srcOrd="0" destOrd="2" presId="urn:microsoft.com/office/officeart/2005/8/layout/pList2"/>
    <dgm:cxn modelId="{F8DC12BF-ACF8-4201-934F-D2B39F707DE3}" type="presOf" srcId="{DB5BA07D-2841-4A82-806F-7275348FD006}" destId="{5D7DF59A-5DB8-464A-8702-ECD08295E854}" srcOrd="0" destOrd="3" presId="urn:microsoft.com/office/officeart/2005/8/layout/pList2"/>
    <dgm:cxn modelId="{72822BCB-5E7A-41DC-A50E-9D13FE361370}" type="presOf" srcId="{1B614427-AB19-49AB-8476-4F4B5F475732}" destId="{FD85B4F3-0747-4E71-B54E-731BDA1D6C7B}" srcOrd="0" destOrd="0" presId="urn:microsoft.com/office/officeart/2005/8/layout/pList2"/>
    <dgm:cxn modelId="{D370F0CF-14D7-45D6-BC00-77B4B97549BE}" type="presOf" srcId="{F3804ACC-05A9-4D2F-847A-BF1DDD12113F}" destId="{ECAE6AFB-63C6-4D2F-81BA-26A33A77848D}" srcOrd="0" destOrd="1" presId="urn:microsoft.com/office/officeart/2005/8/layout/pList2"/>
    <dgm:cxn modelId="{817D23D2-E06B-4226-8060-7C2321CB32FF}" srcId="{56ABB444-ACD8-4DC8-92BC-AAC4D2FFC965}" destId="{496DCFBA-41F6-4929-A5CE-0CB5D7EAD1CB}" srcOrd="1" destOrd="0" parTransId="{630D1441-C24C-4180-AD30-DA9B4777957E}" sibTransId="{0F7A9D3E-8CF1-4E11-A1B0-D48B8CB93A2F}"/>
    <dgm:cxn modelId="{380A18D5-6353-46A5-A0C5-9F0FE8ED2449}" srcId="{5C16F0F7-7931-467E-9318-B34E3FBB9DDF}" destId="{7E5AB06B-7E61-420F-BBFB-9FF49DDBB6ED}" srcOrd="2" destOrd="0" parTransId="{37BB21E0-72A8-4B67-A91A-20FE381A89DE}" sibTransId="{D11F0FC6-0C70-459E-B22F-A0DE7660797B}"/>
    <dgm:cxn modelId="{74D364D5-0DC5-4AC3-B6B3-9A1037B54929}" type="presOf" srcId="{538C5CE8-F4F6-4923-81CB-AD4970537792}" destId="{30FCDAFC-C565-4FF0-A09E-3E9068BE906A}" srcOrd="0" destOrd="0" presId="urn:microsoft.com/office/officeart/2005/8/layout/pList2"/>
    <dgm:cxn modelId="{FDEE92DB-E208-4654-91F0-7A119EF7EFDD}" type="presOf" srcId="{34F6A458-E789-42F0-A07D-F96DD0E946DD}" destId="{D65C5DE3-06E0-4FD4-9FDA-F846F3B8F8B7}" srcOrd="0" destOrd="0" presId="urn:microsoft.com/office/officeart/2005/8/layout/pList2"/>
    <dgm:cxn modelId="{4B6095DB-F7AD-4DEA-ABC7-CE8B4F71D06A}" type="presOf" srcId="{DFC42B90-4F98-423B-9F07-53D226EF154E}" destId="{4C357012-6B49-489B-BB83-21D6C536956C}" srcOrd="0" destOrd="2" presId="urn:microsoft.com/office/officeart/2005/8/layout/pList2"/>
    <dgm:cxn modelId="{AE2110E2-7BD1-4FFF-A0BB-894A3554AABB}" srcId="{8B4B87DA-CBD2-4FA8-86CF-6AE967BD6C91}" destId="{6AF5512F-0766-4FAC-923A-064676E26C33}" srcOrd="2" destOrd="0" parTransId="{E6D61405-3179-4E4D-A813-613BB8828983}" sibTransId="{E9BE9DB1-6189-4963-8DB4-D3AA5170E93E}"/>
    <dgm:cxn modelId="{318373E3-3710-46EC-B97F-08F64F736B49}" srcId="{56ABB444-ACD8-4DC8-92BC-AAC4D2FFC965}" destId="{42AA84C7-1D0D-4ED9-B5F5-6DB7CA900D9E}" srcOrd="0" destOrd="0" parTransId="{EF11E00E-0254-4EEA-84FB-56933B1F77FF}" sibTransId="{3EA8F2C6-E55F-4699-B010-964F282A530E}"/>
    <dgm:cxn modelId="{0D400AE9-CFC4-403D-98DA-A3A78CB1567F}" srcId="{538C5CE8-F4F6-4923-81CB-AD4970537792}" destId="{683BD04D-3393-40D4-8502-E5EE16B58150}" srcOrd="2" destOrd="0" parTransId="{16A7B09A-BF19-4603-8FBF-94BC0C8AB075}" sibTransId="{6DF3BC35-D426-4388-B21A-D5910EE3EB22}"/>
    <dgm:cxn modelId="{74095CF8-54AF-41F2-9CB9-894FF400484A}" type="presOf" srcId="{CB1BC799-EF23-4ED8-99AF-6A83284304D5}" destId="{D65C5DE3-06E0-4FD4-9FDA-F846F3B8F8B7}" srcOrd="0" destOrd="1" presId="urn:microsoft.com/office/officeart/2005/8/layout/pList2"/>
    <dgm:cxn modelId="{951D5AF8-918B-402A-B575-C3BD3A42D724}" type="presOf" srcId="{6AF5512F-0766-4FAC-923A-064676E26C33}" destId="{ECAE6AFB-63C6-4D2F-81BA-26A33A77848D}" srcOrd="0" destOrd="3" presId="urn:microsoft.com/office/officeart/2005/8/layout/pList2"/>
    <dgm:cxn modelId="{88D99643-0F38-49AD-856A-3436C0DC1245}" type="presParOf" srcId="{3FFC330C-4CB3-46C7-BB3E-A65C6A8E4D5C}" destId="{9A20CB1E-BE7E-4C4D-945E-2B51AB2BD7CF}" srcOrd="0" destOrd="0" presId="urn:microsoft.com/office/officeart/2005/8/layout/pList2"/>
    <dgm:cxn modelId="{F97DBCF9-89DB-4A2C-BC67-231E35BF23BF}" type="presParOf" srcId="{3FFC330C-4CB3-46C7-BB3E-A65C6A8E4D5C}" destId="{6DD276F1-485D-47F8-AC43-4607E9B7385D}" srcOrd="1" destOrd="0" presId="urn:microsoft.com/office/officeart/2005/8/layout/pList2"/>
    <dgm:cxn modelId="{CEBE1F01-D67D-4474-B2ED-0C9976EDDDB0}" type="presParOf" srcId="{6DD276F1-485D-47F8-AC43-4607E9B7385D}" destId="{ABF42A39-C2E0-4564-A7E2-9B65E6E4D27F}" srcOrd="0" destOrd="0" presId="urn:microsoft.com/office/officeart/2005/8/layout/pList2"/>
    <dgm:cxn modelId="{30E1DF12-382E-46CD-ADCF-D1DE09A7C13C}" type="presParOf" srcId="{ABF42A39-C2E0-4564-A7E2-9B65E6E4D27F}" destId="{D65C5DE3-06E0-4FD4-9FDA-F846F3B8F8B7}" srcOrd="0" destOrd="0" presId="urn:microsoft.com/office/officeart/2005/8/layout/pList2"/>
    <dgm:cxn modelId="{8F38FEE2-6976-4A45-83BE-3952B373B497}" type="presParOf" srcId="{ABF42A39-C2E0-4564-A7E2-9B65E6E4D27F}" destId="{C34E3ACA-A495-4849-9882-7D876941AFAD}" srcOrd="1" destOrd="0" presId="urn:microsoft.com/office/officeart/2005/8/layout/pList2"/>
    <dgm:cxn modelId="{84BCC6D2-D2A9-40C6-942F-3DC2E7EC52AF}" type="presParOf" srcId="{ABF42A39-C2E0-4564-A7E2-9B65E6E4D27F}" destId="{EE9801D3-D7E1-455F-A6F4-D1FF3FFC72CE}" srcOrd="2" destOrd="0" presId="urn:microsoft.com/office/officeart/2005/8/layout/pList2"/>
    <dgm:cxn modelId="{E82DE711-10C5-4BE6-8191-579B2094BDA1}" type="presParOf" srcId="{6DD276F1-485D-47F8-AC43-4607E9B7385D}" destId="{FD85B4F3-0747-4E71-B54E-731BDA1D6C7B}" srcOrd="1" destOrd="0" presId="urn:microsoft.com/office/officeart/2005/8/layout/pList2"/>
    <dgm:cxn modelId="{F9CA405F-ED03-4E42-86C9-4D3B032DC3C0}" type="presParOf" srcId="{6DD276F1-485D-47F8-AC43-4607E9B7385D}" destId="{72B6D7B4-F1F3-4B54-95B1-04281586BD4A}" srcOrd="2" destOrd="0" presId="urn:microsoft.com/office/officeart/2005/8/layout/pList2"/>
    <dgm:cxn modelId="{64328E1E-37F5-46D9-8FDC-1126466C71C0}" type="presParOf" srcId="{72B6D7B4-F1F3-4B54-95B1-04281586BD4A}" destId="{4C357012-6B49-489B-BB83-21D6C536956C}" srcOrd="0" destOrd="0" presId="urn:microsoft.com/office/officeart/2005/8/layout/pList2"/>
    <dgm:cxn modelId="{4F2E65E3-82B4-4CCC-B582-BCD7EFE4803D}" type="presParOf" srcId="{72B6D7B4-F1F3-4B54-95B1-04281586BD4A}" destId="{E45591B6-24AF-4277-9F00-630FE8C7012E}" srcOrd="1" destOrd="0" presId="urn:microsoft.com/office/officeart/2005/8/layout/pList2"/>
    <dgm:cxn modelId="{D4F20C1A-98B9-4CB1-954B-BE428A11F040}" type="presParOf" srcId="{72B6D7B4-F1F3-4B54-95B1-04281586BD4A}" destId="{FF24CE1D-3526-4B7C-A038-175B6CEA23BD}" srcOrd="2" destOrd="0" presId="urn:microsoft.com/office/officeart/2005/8/layout/pList2"/>
    <dgm:cxn modelId="{9C0A9C1E-5B0C-4660-BD2A-2DC11F7CC92B}" type="presParOf" srcId="{6DD276F1-485D-47F8-AC43-4607E9B7385D}" destId="{23A99EF2-0603-445C-92ED-3FF6C14527EA}" srcOrd="3" destOrd="0" presId="urn:microsoft.com/office/officeart/2005/8/layout/pList2"/>
    <dgm:cxn modelId="{BD266562-B6B7-4C02-A7D4-9DE3BA1E4BCE}" type="presParOf" srcId="{6DD276F1-485D-47F8-AC43-4607E9B7385D}" destId="{4CBE49EB-CAA6-467E-8CE9-869A04C1EB7B}" srcOrd="4" destOrd="0" presId="urn:microsoft.com/office/officeart/2005/8/layout/pList2"/>
    <dgm:cxn modelId="{8C16FDB0-540E-4D15-AE15-C9E672586827}" type="presParOf" srcId="{4CBE49EB-CAA6-467E-8CE9-869A04C1EB7B}" destId="{ECAE6AFB-63C6-4D2F-81BA-26A33A77848D}" srcOrd="0" destOrd="0" presId="urn:microsoft.com/office/officeart/2005/8/layout/pList2"/>
    <dgm:cxn modelId="{B1C41980-BC6E-489B-853C-B4AEBEF63DD7}" type="presParOf" srcId="{4CBE49EB-CAA6-467E-8CE9-869A04C1EB7B}" destId="{B380A483-477D-4B2E-BC5D-2CBE16E7E82E}" srcOrd="1" destOrd="0" presId="urn:microsoft.com/office/officeart/2005/8/layout/pList2"/>
    <dgm:cxn modelId="{1FAFEE2D-B8E1-4D5F-BA5E-49E119F11736}" type="presParOf" srcId="{4CBE49EB-CAA6-467E-8CE9-869A04C1EB7B}" destId="{4184E3C6-83ED-4844-B153-78AB161FD288}" srcOrd="2" destOrd="0" presId="urn:microsoft.com/office/officeart/2005/8/layout/pList2"/>
    <dgm:cxn modelId="{0CAFA5E1-7812-42D2-93DE-4F88903EC89F}" type="presParOf" srcId="{6DD276F1-485D-47F8-AC43-4607E9B7385D}" destId="{B8BABB63-AB08-41BF-B90F-350E10031208}" srcOrd="5" destOrd="0" presId="urn:microsoft.com/office/officeart/2005/8/layout/pList2"/>
    <dgm:cxn modelId="{4675B844-50CE-43B4-988E-CD7234D653CE}" type="presParOf" srcId="{6DD276F1-485D-47F8-AC43-4607E9B7385D}" destId="{F124E6AA-E7F6-4626-AB59-4D71F50C35E7}" srcOrd="6" destOrd="0" presId="urn:microsoft.com/office/officeart/2005/8/layout/pList2"/>
    <dgm:cxn modelId="{60EC88A9-D29B-4B8F-86EA-A2716BFB1C2F}" type="presParOf" srcId="{F124E6AA-E7F6-4626-AB59-4D71F50C35E7}" destId="{30FCDAFC-C565-4FF0-A09E-3E9068BE906A}" srcOrd="0" destOrd="0" presId="urn:microsoft.com/office/officeart/2005/8/layout/pList2"/>
    <dgm:cxn modelId="{41A18880-CF59-4BC9-B181-660986E11FE8}" type="presParOf" srcId="{F124E6AA-E7F6-4626-AB59-4D71F50C35E7}" destId="{3448608E-AFCB-4D30-83BF-3B368AC5B5F0}" srcOrd="1" destOrd="0" presId="urn:microsoft.com/office/officeart/2005/8/layout/pList2"/>
    <dgm:cxn modelId="{45DDE3D9-43E9-4647-B994-878601D55E25}" type="presParOf" srcId="{F124E6AA-E7F6-4626-AB59-4D71F50C35E7}" destId="{8EA125AD-7C05-4FCD-9F90-EE9C6E3CDBA0}" srcOrd="2" destOrd="0" presId="urn:microsoft.com/office/officeart/2005/8/layout/pList2"/>
    <dgm:cxn modelId="{A07DD745-D85D-4669-9791-B562070344C2}" type="presParOf" srcId="{6DD276F1-485D-47F8-AC43-4607E9B7385D}" destId="{321A3EC8-19C4-4B5A-8C7A-5B4C8780F549}" srcOrd="7" destOrd="0" presId="urn:microsoft.com/office/officeart/2005/8/layout/pList2"/>
    <dgm:cxn modelId="{BDB817F2-E18E-48A2-874B-1432BC9A25FD}" type="presParOf" srcId="{6DD276F1-485D-47F8-AC43-4607E9B7385D}" destId="{66F727D1-4666-49FD-9297-00DE7D59CA3B}" srcOrd="8" destOrd="0" presId="urn:microsoft.com/office/officeart/2005/8/layout/pList2"/>
    <dgm:cxn modelId="{5AFDB050-84CB-4747-A701-49FEF97801EE}" type="presParOf" srcId="{66F727D1-4666-49FD-9297-00DE7D59CA3B}" destId="{5D7DF59A-5DB8-464A-8702-ECD08295E854}" srcOrd="0" destOrd="0" presId="urn:microsoft.com/office/officeart/2005/8/layout/pList2"/>
    <dgm:cxn modelId="{6BCBAEF2-1D1F-4119-B10B-8DB2EBDD7532}" type="presParOf" srcId="{66F727D1-4666-49FD-9297-00DE7D59CA3B}" destId="{60963254-D393-4B23-B21C-7F71B8D4E387}" srcOrd="1" destOrd="0" presId="urn:microsoft.com/office/officeart/2005/8/layout/pList2"/>
    <dgm:cxn modelId="{0084CEBF-84D0-4366-A722-C84871BDF2E3}" type="presParOf" srcId="{66F727D1-4666-49FD-9297-00DE7D59CA3B}" destId="{6431613F-18B6-4FC4-A03A-1A66D4B1499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40626D-7510-4BA5-A366-97831DDFD4AB}">
      <dsp:nvSpPr>
        <dsp:cNvPr id="0" name=""/>
        <dsp:cNvSpPr/>
      </dsp:nvSpPr>
      <dsp:spPr>
        <a:xfrm>
          <a:off x="0" y="706992"/>
          <a:ext cx="10514107" cy="1305216"/>
        </a:xfrm>
        <a:prstGeom prst="roundRect">
          <a:avLst>
            <a:gd name="adj" fmla="val 10000"/>
          </a:avLst>
        </a:prstGeom>
        <a:solidFill>
          <a:schemeClr val="accent1">
            <a:lumMod val="75000"/>
          </a:schemeClr>
        </a:solidFill>
        <a:ln>
          <a:noFill/>
        </a:ln>
        <a:effectLst/>
      </dsp:spPr>
      <dsp:style>
        <a:lnRef idx="0">
          <a:scrgbClr r="0" g="0" b="0"/>
        </a:lnRef>
        <a:fillRef idx="1">
          <a:scrgbClr r="0" g="0" b="0"/>
        </a:fillRef>
        <a:effectRef idx="0">
          <a:scrgbClr r="0" g="0" b="0"/>
        </a:effectRef>
        <a:fontRef idx="minor"/>
      </dsp:style>
    </dsp:sp>
    <dsp:sp modelId="{301572DA-4123-43C3-BE51-940615D62C0F}">
      <dsp:nvSpPr>
        <dsp:cNvPr id="0" name=""/>
        <dsp:cNvSpPr/>
      </dsp:nvSpPr>
      <dsp:spPr>
        <a:xfrm>
          <a:off x="394827" y="1000665"/>
          <a:ext cx="717868" cy="71786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64D4A35-92FA-401F-89E7-C4B05C1E7F69}">
      <dsp:nvSpPr>
        <dsp:cNvPr id="0" name=""/>
        <dsp:cNvSpPr/>
      </dsp:nvSpPr>
      <dsp:spPr>
        <a:xfrm>
          <a:off x="1507524" y="706992"/>
          <a:ext cx="9006583" cy="1305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35" tIns="138135" rIns="138135" bIns="138135" numCol="1" spcCol="1270" anchor="ctr" anchorCtr="0">
          <a:noAutofit/>
        </a:bodyPr>
        <a:lstStyle/>
        <a:p>
          <a:pPr marL="0" lvl="0" indent="0" algn="l" defTabSz="1111250">
            <a:lnSpc>
              <a:spcPct val="100000"/>
            </a:lnSpc>
            <a:spcBef>
              <a:spcPct val="0"/>
            </a:spcBef>
            <a:spcAft>
              <a:spcPct val="35000"/>
            </a:spcAft>
            <a:buNone/>
          </a:pPr>
          <a:r>
            <a:rPr lang="en-US" sz="2500" kern="1200"/>
            <a:t>Provisioning Setup = Pre-registration + Device Assignment</a:t>
          </a:r>
        </a:p>
      </dsp:txBody>
      <dsp:txXfrm>
        <a:off x="1507524" y="706992"/>
        <a:ext cx="9006583" cy="1305216"/>
      </dsp:txXfrm>
    </dsp:sp>
    <dsp:sp modelId="{927CDE25-3A09-45E7-AFB7-2B376DEE2D63}">
      <dsp:nvSpPr>
        <dsp:cNvPr id="0" name=""/>
        <dsp:cNvSpPr/>
      </dsp:nvSpPr>
      <dsp:spPr>
        <a:xfrm>
          <a:off x="0" y="2338512"/>
          <a:ext cx="10514107" cy="1305216"/>
        </a:xfrm>
        <a:prstGeom prst="roundRect">
          <a:avLst>
            <a:gd name="adj" fmla="val 10000"/>
          </a:avLst>
        </a:prstGeom>
        <a:solidFill>
          <a:schemeClr val="accent1">
            <a:lumMod val="75000"/>
          </a:schemeClr>
        </a:solidFill>
        <a:ln>
          <a:noFill/>
        </a:ln>
        <a:effectLst/>
      </dsp:spPr>
      <dsp:style>
        <a:lnRef idx="0">
          <a:scrgbClr r="0" g="0" b="0"/>
        </a:lnRef>
        <a:fillRef idx="1">
          <a:scrgbClr r="0" g="0" b="0"/>
        </a:fillRef>
        <a:effectRef idx="0">
          <a:scrgbClr r="0" g="0" b="0"/>
        </a:effectRef>
        <a:fontRef idx="minor"/>
      </dsp:style>
    </dsp:sp>
    <dsp:sp modelId="{77EB69CF-D80D-4587-B56B-390EA069EA4E}">
      <dsp:nvSpPr>
        <dsp:cNvPr id="0" name=""/>
        <dsp:cNvSpPr/>
      </dsp:nvSpPr>
      <dsp:spPr>
        <a:xfrm>
          <a:off x="394827" y="2632186"/>
          <a:ext cx="717868" cy="71786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2D3861E-E1C1-46D2-943E-748EA1D8D5CC}">
      <dsp:nvSpPr>
        <dsp:cNvPr id="0" name=""/>
        <dsp:cNvSpPr/>
      </dsp:nvSpPr>
      <dsp:spPr>
        <a:xfrm>
          <a:off x="1507524" y="2338512"/>
          <a:ext cx="9006583" cy="1305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35" tIns="138135" rIns="138135" bIns="138135" numCol="1" spcCol="1270" anchor="ctr" anchorCtr="0">
          <a:noAutofit/>
        </a:bodyPr>
        <a:lstStyle/>
        <a:p>
          <a:pPr marL="0" lvl="0" indent="0" algn="l" defTabSz="1111250">
            <a:lnSpc>
              <a:spcPct val="100000"/>
            </a:lnSpc>
            <a:spcBef>
              <a:spcPct val="0"/>
            </a:spcBef>
            <a:spcAft>
              <a:spcPct val="35000"/>
            </a:spcAft>
            <a:buNone/>
          </a:pPr>
          <a:r>
            <a:rPr lang="en-US" sz="2500" kern="1200"/>
            <a:t>Device Provisioning = Runtime assignment + Initial Set up</a:t>
          </a:r>
        </a:p>
      </dsp:txBody>
      <dsp:txXfrm>
        <a:off x="1507524" y="2338512"/>
        <a:ext cx="9006583" cy="13052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20CB1E-BE7E-4C4D-945E-2B51AB2BD7CF}">
      <dsp:nvSpPr>
        <dsp:cNvPr id="0" name=""/>
        <dsp:cNvSpPr/>
      </dsp:nvSpPr>
      <dsp:spPr>
        <a:xfrm>
          <a:off x="0" y="0"/>
          <a:ext cx="11651868" cy="222680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9801D3-D7E1-455F-A6F4-D1FF3FFC72CE}">
      <dsp:nvSpPr>
        <dsp:cNvPr id="0" name=""/>
        <dsp:cNvSpPr/>
      </dsp:nvSpPr>
      <dsp:spPr>
        <a:xfrm>
          <a:off x="353299" y="296907"/>
          <a:ext cx="2026901" cy="1632989"/>
        </a:xfrm>
        <a:prstGeom prst="roundRect">
          <a:avLst>
            <a:gd name="adj" fmla="val 1000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65C5DE3-06E0-4FD4-9FDA-F846F3B8F8B7}">
      <dsp:nvSpPr>
        <dsp:cNvPr id="0" name=""/>
        <dsp:cNvSpPr/>
      </dsp:nvSpPr>
      <dsp:spPr>
        <a:xfrm rot="10800000">
          <a:off x="353299" y="2226804"/>
          <a:ext cx="2026901" cy="2721649"/>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a:t>Direct over WAN</a:t>
          </a:r>
        </a:p>
        <a:p>
          <a:pPr marL="114300" lvl="1" indent="-114300" algn="l" defTabSz="533400">
            <a:lnSpc>
              <a:spcPct val="90000"/>
            </a:lnSpc>
            <a:spcBef>
              <a:spcPct val="0"/>
            </a:spcBef>
            <a:spcAft>
              <a:spcPct val="15000"/>
            </a:spcAft>
            <a:buChar char="•"/>
          </a:pPr>
          <a:r>
            <a:rPr lang="en-US" sz="1200" kern="1200"/>
            <a:t>Devices have public IPv4 &amp; connect to IoT hub directly</a:t>
          </a:r>
        </a:p>
        <a:p>
          <a:pPr marL="114300" lvl="1" indent="-114300" algn="l" defTabSz="533400">
            <a:lnSpc>
              <a:spcPct val="90000"/>
            </a:lnSpc>
            <a:spcBef>
              <a:spcPct val="0"/>
            </a:spcBef>
            <a:spcAft>
              <a:spcPct val="15000"/>
            </a:spcAft>
            <a:buChar char="•"/>
          </a:pPr>
          <a:r>
            <a:rPr lang="en-US" sz="1200" kern="1200"/>
            <a:t>Device talks our supported protocols</a:t>
          </a:r>
        </a:p>
        <a:p>
          <a:pPr marL="114300" lvl="1" indent="-114300" algn="l" defTabSz="533400">
            <a:lnSpc>
              <a:spcPct val="90000"/>
            </a:lnSpc>
            <a:spcBef>
              <a:spcPct val="0"/>
            </a:spcBef>
            <a:spcAft>
              <a:spcPct val="15000"/>
            </a:spcAft>
            <a:buChar char="•"/>
          </a:pPr>
          <a:r>
            <a:rPr lang="en-US" sz="1200" kern="1200"/>
            <a:t>e.g., city street lights</a:t>
          </a:r>
        </a:p>
      </dsp:txBody>
      <dsp:txXfrm rot="10800000">
        <a:off x="415633" y="2226804"/>
        <a:ext cx="1902233" cy="2659315"/>
      </dsp:txXfrm>
    </dsp:sp>
    <dsp:sp modelId="{FF24CE1D-3526-4B7C-A038-175B6CEA23BD}">
      <dsp:nvSpPr>
        <dsp:cNvPr id="0" name=""/>
        <dsp:cNvSpPr/>
      </dsp:nvSpPr>
      <dsp:spPr>
        <a:xfrm>
          <a:off x="2582891" y="296907"/>
          <a:ext cx="2026901" cy="1632989"/>
        </a:xfrm>
        <a:prstGeom prst="roundRect">
          <a:avLst>
            <a:gd name="adj" fmla="val 1000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C357012-6B49-489B-BB83-21D6C536956C}">
      <dsp:nvSpPr>
        <dsp:cNvPr id="0" name=""/>
        <dsp:cNvSpPr/>
      </dsp:nvSpPr>
      <dsp:spPr>
        <a:xfrm rot="10800000">
          <a:off x="2582891" y="2226804"/>
          <a:ext cx="2026901" cy="2721649"/>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a:t>Indirect through a field gateway</a:t>
          </a:r>
        </a:p>
        <a:p>
          <a:pPr marL="114300" lvl="1" indent="-114300" algn="l" defTabSz="533400">
            <a:lnSpc>
              <a:spcPct val="90000"/>
            </a:lnSpc>
            <a:spcBef>
              <a:spcPct val="0"/>
            </a:spcBef>
            <a:spcAft>
              <a:spcPct val="15000"/>
            </a:spcAft>
            <a:buChar char="•"/>
          </a:pPr>
          <a:r>
            <a:rPr lang="en-US" sz="1200" kern="1200"/>
            <a:t>Devices don’t know any of our supported protocols</a:t>
          </a:r>
        </a:p>
        <a:p>
          <a:pPr marL="114300" lvl="1" indent="-114300" algn="l" defTabSz="533400">
            <a:lnSpc>
              <a:spcPct val="90000"/>
            </a:lnSpc>
            <a:spcBef>
              <a:spcPct val="0"/>
            </a:spcBef>
            <a:spcAft>
              <a:spcPct val="15000"/>
            </a:spcAft>
            <a:buChar char="•"/>
          </a:pPr>
          <a:r>
            <a:rPr lang="en-US" sz="1200" kern="1200"/>
            <a:t>Devices connect to a field gateway that supports our protocols</a:t>
          </a:r>
        </a:p>
        <a:p>
          <a:pPr marL="114300" lvl="1" indent="-114300" algn="l" defTabSz="533400">
            <a:lnSpc>
              <a:spcPct val="90000"/>
            </a:lnSpc>
            <a:spcBef>
              <a:spcPct val="0"/>
            </a:spcBef>
            <a:spcAft>
              <a:spcPct val="15000"/>
            </a:spcAft>
            <a:buChar char="•"/>
          </a:pPr>
          <a:r>
            <a:rPr lang="en-US" sz="1200" kern="1200"/>
            <a:t>e.g., soil moisture sensors on a farm</a:t>
          </a:r>
        </a:p>
      </dsp:txBody>
      <dsp:txXfrm rot="10800000">
        <a:off x="2645225" y="2226804"/>
        <a:ext cx="1902233" cy="2659315"/>
      </dsp:txXfrm>
    </dsp:sp>
    <dsp:sp modelId="{4184E3C6-83ED-4844-B153-78AB161FD288}">
      <dsp:nvSpPr>
        <dsp:cNvPr id="0" name=""/>
        <dsp:cNvSpPr/>
      </dsp:nvSpPr>
      <dsp:spPr>
        <a:xfrm>
          <a:off x="4812483" y="296907"/>
          <a:ext cx="2026901" cy="1632989"/>
        </a:xfrm>
        <a:prstGeom prst="roundRect">
          <a:avLst>
            <a:gd name="adj" fmla="val 1000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CAE6AFB-63C6-4D2F-81BA-26A33A77848D}">
      <dsp:nvSpPr>
        <dsp:cNvPr id="0" name=""/>
        <dsp:cNvSpPr/>
      </dsp:nvSpPr>
      <dsp:spPr>
        <a:xfrm rot="10800000">
          <a:off x="4812483" y="2226804"/>
          <a:ext cx="2026901" cy="2721649"/>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a:t>Direct from a private network</a:t>
          </a:r>
        </a:p>
        <a:p>
          <a:pPr marL="114300" lvl="1" indent="-114300" algn="l" defTabSz="533400">
            <a:lnSpc>
              <a:spcPct val="90000"/>
            </a:lnSpc>
            <a:spcBef>
              <a:spcPct val="0"/>
            </a:spcBef>
            <a:spcAft>
              <a:spcPct val="15000"/>
            </a:spcAft>
            <a:buChar char="•"/>
          </a:pPr>
          <a:r>
            <a:rPr lang="en-US" sz="1200" kern="1200"/>
            <a:t>Devices have private IP</a:t>
          </a:r>
        </a:p>
        <a:p>
          <a:pPr marL="114300" lvl="1" indent="-114300" algn="l" defTabSz="533400">
            <a:lnSpc>
              <a:spcPct val="90000"/>
            </a:lnSpc>
            <a:spcBef>
              <a:spcPct val="0"/>
            </a:spcBef>
            <a:spcAft>
              <a:spcPct val="15000"/>
            </a:spcAft>
            <a:buChar char="•"/>
          </a:pPr>
          <a:r>
            <a:rPr lang="en-US" sz="1200" kern="1200"/>
            <a:t>Devices’ traffic pass a net. gateway (e.g., HTTP GW) performing NAT</a:t>
          </a:r>
        </a:p>
        <a:p>
          <a:pPr marL="114300" lvl="1" indent="-114300" algn="l" defTabSz="533400">
            <a:lnSpc>
              <a:spcPct val="90000"/>
            </a:lnSpc>
            <a:spcBef>
              <a:spcPct val="0"/>
            </a:spcBef>
            <a:spcAft>
              <a:spcPct val="15000"/>
            </a:spcAft>
            <a:buChar char="•"/>
          </a:pPr>
          <a:r>
            <a:rPr lang="en-US" sz="1200" kern="1200"/>
            <a:t>e.g., robots in factory floor</a:t>
          </a:r>
        </a:p>
      </dsp:txBody>
      <dsp:txXfrm rot="10800000">
        <a:off x="4874817" y="2226804"/>
        <a:ext cx="1902233" cy="2659315"/>
      </dsp:txXfrm>
    </dsp:sp>
    <dsp:sp modelId="{8EA125AD-7C05-4FCD-9F90-EE9C6E3CDBA0}">
      <dsp:nvSpPr>
        <dsp:cNvPr id="0" name=""/>
        <dsp:cNvSpPr/>
      </dsp:nvSpPr>
      <dsp:spPr>
        <a:xfrm>
          <a:off x="7042075" y="296907"/>
          <a:ext cx="2026901" cy="1632989"/>
        </a:xfrm>
        <a:prstGeom prst="roundRect">
          <a:avLst>
            <a:gd name="adj" fmla="val 1000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0FCDAFC-C565-4FF0-A09E-3E9068BE906A}">
      <dsp:nvSpPr>
        <dsp:cNvPr id="0" name=""/>
        <dsp:cNvSpPr/>
      </dsp:nvSpPr>
      <dsp:spPr>
        <a:xfrm rot="10800000">
          <a:off x="7042075" y="2226804"/>
          <a:ext cx="2026901" cy="2721649"/>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a:t>Protocol gateway</a:t>
          </a:r>
        </a:p>
        <a:p>
          <a:pPr marL="114300" lvl="1" indent="-114300" algn="l" defTabSz="533400">
            <a:lnSpc>
              <a:spcPct val="90000"/>
            </a:lnSpc>
            <a:spcBef>
              <a:spcPct val="0"/>
            </a:spcBef>
            <a:spcAft>
              <a:spcPct val="15000"/>
            </a:spcAft>
            <a:buChar char="•"/>
          </a:pPr>
          <a:r>
            <a:rPr lang="en-US" sz="1200" kern="1200"/>
            <a:t>Devices connect to PG</a:t>
          </a:r>
        </a:p>
        <a:p>
          <a:pPr marL="114300" lvl="1" indent="-114300" algn="l" defTabSz="533400">
            <a:lnSpc>
              <a:spcPct val="90000"/>
            </a:lnSpc>
            <a:spcBef>
              <a:spcPct val="0"/>
            </a:spcBef>
            <a:spcAft>
              <a:spcPct val="15000"/>
            </a:spcAft>
            <a:buChar char="•"/>
          </a:pPr>
          <a:r>
            <a:rPr lang="en-US" sz="1200" kern="1200"/>
            <a:t>PG connects to IoT Hub on behalf of devices with their identity</a:t>
          </a:r>
        </a:p>
        <a:p>
          <a:pPr marL="114300" lvl="1" indent="-114300" algn="l" defTabSz="533400">
            <a:lnSpc>
              <a:spcPct val="90000"/>
            </a:lnSpc>
            <a:spcBef>
              <a:spcPct val="0"/>
            </a:spcBef>
            <a:spcAft>
              <a:spcPct val="15000"/>
            </a:spcAft>
            <a:buChar char="•"/>
          </a:pPr>
          <a:r>
            <a:rPr lang="en-US" sz="1200" kern="1200"/>
            <a:t>e.g., connected car </a:t>
          </a:r>
        </a:p>
      </dsp:txBody>
      <dsp:txXfrm rot="10800000">
        <a:off x="7104409" y="2226804"/>
        <a:ext cx="1902233" cy="2659315"/>
      </dsp:txXfrm>
    </dsp:sp>
    <dsp:sp modelId="{6431613F-18B6-4FC4-A03A-1A66D4B14996}">
      <dsp:nvSpPr>
        <dsp:cNvPr id="0" name=""/>
        <dsp:cNvSpPr/>
      </dsp:nvSpPr>
      <dsp:spPr>
        <a:xfrm>
          <a:off x="9271667" y="296907"/>
          <a:ext cx="2026901" cy="1632989"/>
        </a:xfrm>
        <a:prstGeom prst="roundRect">
          <a:avLst>
            <a:gd name="adj" fmla="val 1000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D7DF59A-5DB8-464A-8702-ECD08295E854}">
      <dsp:nvSpPr>
        <dsp:cNvPr id="0" name=""/>
        <dsp:cNvSpPr/>
      </dsp:nvSpPr>
      <dsp:spPr>
        <a:xfrm rot="10800000">
          <a:off x="9271667" y="2226804"/>
          <a:ext cx="2026901" cy="2721649"/>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a:t>Edge</a:t>
          </a:r>
        </a:p>
        <a:p>
          <a:pPr marL="114300" lvl="1" indent="-114300" algn="l" defTabSz="533400">
            <a:lnSpc>
              <a:spcPct val="90000"/>
            </a:lnSpc>
            <a:spcBef>
              <a:spcPct val="0"/>
            </a:spcBef>
            <a:spcAft>
              <a:spcPct val="15000"/>
            </a:spcAft>
            <a:buChar char="•"/>
          </a:pPr>
          <a:r>
            <a:rPr lang="en-US" sz="1200" kern="1200"/>
            <a:t>A special-purpose protocol gateway</a:t>
          </a:r>
        </a:p>
        <a:p>
          <a:pPr marL="114300" lvl="1" indent="-114300" algn="l" defTabSz="533400">
            <a:lnSpc>
              <a:spcPct val="90000"/>
            </a:lnSpc>
            <a:spcBef>
              <a:spcPct val="0"/>
            </a:spcBef>
            <a:spcAft>
              <a:spcPct val="15000"/>
            </a:spcAft>
            <a:buChar char="•"/>
          </a:pPr>
          <a:r>
            <a:rPr lang="en-US" sz="1200" kern="1200"/>
            <a:t>Edge runtime deploys &amp; manages devices’ code</a:t>
          </a:r>
        </a:p>
        <a:p>
          <a:pPr marL="114300" lvl="1" indent="-114300" algn="l" defTabSz="533400">
            <a:lnSpc>
              <a:spcPct val="90000"/>
            </a:lnSpc>
            <a:spcBef>
              <a:spcPct val="0"/>
            </a:spcBef>
            <a:spcAft>
              <a:spcPct val="15000"/>
            </a:spcAft>
            <a:buChar char="•"/>
          </a:pPr>
          <a:r>
            <a:rPr lang="en-US" sz="1200" kern="1200"/>
            <a:t>Usually involves high-powered devices</a:t>
          </a:r>
        </a:p>
        <a:p>
          <a:pPr marL="114300" lvl="1" indent="-114300" algn="l" defTabSz="533400">
            <a:lnSpc>
              <a:spcPct val="90000"/>
            </a:lnSpc>
            <a:spcBef>
              <a:spcPct val="0"/>
            </a:spcBef>
            <a:spcAft>
              <a:spcPct val="15000"/>
            </a:spcAft>
            <a:buChar char="•"/>
          </a:pPr>
          <a:r>
            <a:rPr lang="en-US" sz="1200" kern="1200"/>
            <a:t>e.g., deploy image detection for boxes on a conveyor belt</a:t>
          </a:r>
        </a:p>
      </dsp:txBody>
      <dsp:txXfrm rot="10800000">
        <a:off x="9334001" y="2226804"/>
        <a:ext cx="1902233" cy="265931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ax="7200" units="cm"/>
          <inkml:channel name="Y" type="integer" max="9600" units="cm"/>
          <inkml:channel name="F" type="integer" max="4096" units="dev"/>
          <inkml:channel name="T" type="integer" max="2.14748E9" units="dev"/>
        </inkml:traceFormat>
        <inkml:channelProperties>
          <inkml:channelProperty channel="X" name="resolution" value="378.54889" units="1/cm"/>
          <inkml:channelProperty channel="Y" name="resolution" value="336.48792" units="1/cm"/>
          <inkml:channelProperty channel="F" name="resolution" value="0" units="1/dev"/>
          <inkml:channelProperty channel="T" name="resolution" value="1" units="1/dev"/>
        </inkml:channelProperties>
      </inkml:inkSource>
      <inkml:timestamp xml:id="ts0" timeString="2019-07-11T21:18:50.677"/>
    </inkml:context>
    <inkml:brush xml:id="br0">
      <inkml:brushProperty name="width" value="0.05292" units="cm"/>
      <inkml:brushProperty name="height" value="0.05292" units="cm"/>
      <inkml:brushProperty name="color" value="#FF0000"/>
    </inkml:brush>
  </inkml:definitions>
  <inkml:trace contextRef="#ctx0" brushRef="#br0">3151 14915 92 0,'-37'-37'32'0,"23"31"-24"0,0 12 0 0,4 4-4 1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11T20:55:51.477"/>
    </inkml:context>
    <inkml:brush xml:id="br0">
      <inkml:brushProperty name="width" value="0.05" units="cm"/>
      <inkml:brushProperty name="height" value="0.05" units="cm"/>
      <inkml:brushProperty name="color" value="#FFC114"/>
    </inkml:brush>
  </inkml:definitions>
  <inkml:trace contextRef="#ctx0" brushRef="#br0">2511 70 2816,'-7'7'1056,"7"-7"-832,12-7-64,1 0-1056</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11T20:58:17.348"/>
    </inkml:context>
    <inkml:brush xml:id="br0">
      <inkml:brushProperty name="width" value="0.05" units="cm"/>
      <inkml:brushProperty name="height" value="0.05" units="cm"/>
      <inkml:brushProperty name="color" value="#F6630D"/>
    </inkml:brush>
  </inkml:definitions>
  <inkml:trace contextRef="#ctx0" brushRef="#br0">1651 1457 896,'-27'0'352,"27"0"-28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11T20:59:18.458"/>
    </inkml:context>
    <inkml:brush xml:id="br0">
      <inkml:brushProperty name="width" value="0.05" units="cm"/>
      <inkml:brushProperty name="height" value="0.05" units="cm"/>
      <inkml:brushProperty name="color" value="#F6630D"/>
    </inkml:brush>
  </inkml:definitions>
  <inkml:trace contextRef="#ctx0" brushRef="#br0">1 0 1152,'7'0'416,"-2"8"-320,2 14 0,-7 0-512</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11T20:55:51.477"/>
    </inkml:context>
    <inkml:brush xml:id="br0">
      <inkml:brushProperty name="width" value="0.05" units="cm"/>
      <inkml:brushProperty name="height" value="0.05" units="cm"/>
      <inkml:brushProperty name="color" value="#FFC114"/>
    </inkml:brush>
  </inkml:definitions>
  <inkml:trace contextRef="#ctx0" brushRef="#br0">2511 70 2816,'-7'7'1056,"7"-7"-832,12-7-64,1 0-1056</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11T20:59:18.458"/>
    </inkml:context>
    <inkml:brush xml:id="br0">
      <inkml:brushProperty name="width" value="0.05" units="cm"/>
      <inkml:brushProperty name="height" value="0.05" units="cm"/>
      <inkml:brushProperty name="color" value="#F6630D"/>
    </inkml:brush>
  </inkml:definitions>
  <inkml:trace contextRef="#ctx0" brushRef="#br0">1 0 1152,'7'0'416,"-2"8"-320,2 14 0,-7 0-512</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A59D92-4E7D-4E08-A805-B467E98CEFD1}" type="datetimeFigureOut">
              <a:rPr lang="en-US" smtClean="0"/>
              <a:t>3/2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27A1F0-49ED-468D-8AED-D4716C3B901C}" type="slidenum">
              <a:rPr lang="en-US" smtClean="0"/>
              <a:t>‹#›</a:t>
            </a:fld>
            <a:endParaRPr lang="en-US"/>
          </a:p>
        </p:txBody>
      </p:sp>
    </p:spTree>
    <p:extLst>
      <p:ext uri="{BB962C8B-B14F-4D97-AF65-F5344CB8AC3E}">
        <p14:creationId xmlns:p14="http://schemas.microsoft.com/office/powerpoint/2010/main" val="24000805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nam06.safelinks.protection.outlook.com/?url=https%3A%2F%2Finsights.timeseries.azure.com%2Fdemo&amp;data=02%7C01%7CAlyssa.Sharp%40microsoft.com%7C1a7f0ad0a30445df43ae08d82d0d2394%7C72f988bf86f141af91ab2d7cd011db47%7C1%7C0%7C637308881751973758&amp;sdata=8KL2I2tJ1iv3gcTFz8rTKqQzT54%2FaiVccLvhFVExpJg%3D&amp;reserved=0"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docs.microsoft.com/en-us/azure/iot-hub/iot-hub-protocol-gateway" TargetMode="External"/><Relationship Id="rId3" Type="http://schemas.openxmlformats.org/officeDocument/2006/relationships/hyperlink" Target="https://docs.microsoft.com/en-us/azure/stream-analytics/" TargetMode="External"/><Relationship Id="rId7" Type="http://schemas.openxmlformats.org/officeDocument/2006/relationships/hyperlink" Target="https://docs.microsoft.com/en-us/azure/storage/blobs/storage-blobs-introduction"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docs.microsoft.com/en-us/azure/cosmos-db/introduction" TargetMode="External"/><Relationship Id="rId11" Type="http://schemas.openxmlformats.org/officeDocument/2006/relationships/hyperlink" Target="https://docs.microsoft.com/en-us/azure/iot-dps/" TargetMode="External"/><Relationship Id="rId5" Type="http://schemas.openxmlformats.org/officeDocument/2006/relationships/hyperlink" Target="https://docs.microsoft.com/en-us/azure/machine-learning/service/" TargetMode="External"/><Relationship Id="rId10" Type="http://schemas.openxmlformats.org/officeDocument/2006/relationships/hyperlink" Target="https://docs.microsoft.com/en-us/azure/logic-apps/logic-apps-overview" TargetMode="External"/><Relationship Id="rId4" Type="http://schemas.openxmlformats.org/officeDocument/2006/relationships/hyperlink" Target="https://docs.microsoft.com/en-us/azure/azure-databricks/" TargetMode="External"/><Relationship Id="rId9" Type="http://schemas.openxmlformats.org/officeDocument/2006/relationships/hyperlink" Target="https://docs.microsoft.com/en-us/azure/azure-functions/"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performance" TargetMode="External"/><Relationship Id="rId2" Type="http://schemas.openxmlformats.org/officeDocument/2006/relationships/slide" Target="../slides/slide49.xml"/><Relationship Id="rId1" Type="http://schemas.openxmlformats.org/officeDocument/2006/relationships/notesMaster" Target="../notesMasters/notesMaster1.xml"/><Relationship Id="rId4" Type="http://schemas.openxmlformats.org/officeDocument/2006/relationships/hyperlink" Target="https://github.com/Azure/azure-iot-sdks" TargetMode="Externa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docs.microsoft.com/en-us/azure/iot-hub/iot-hub-protocol-gateway" TargetMode="External"/><Relationship Id="rId3" Type="http://schemas.openxmlformats.org/officeDocument/2006/relationships/hyperlink" Target="https://docs.microsoft.com/en-us/azure/stream-analytics/" TargetMode="External"/><Relationship Id="rId7" Type="http://schemas.openxmlformats.org/officeDocument/2006/relationships/hyperlink" Target="https://docs.microsoft.com/en-us/azure/storage/blobs/storage-blobs-introduction"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docs.microsoft.com/en-us/azure/cosmos-db/introduction" TargetMode="External"/><Relationship Id="rId5" Type="http://schemas.openxmlformats.org/officeDocument/2006/relationships/hyperlink" Target="https://docs.microsoft.com/en-us/azure/machine-learning/service/" TargetMode="External"/><Relationship Id="rId10" Type="http://schemas.openxmlformats.org/officeDocument/2006/relationships/hyperlink" Target="https://docs.microsoft.com/en-us/azure/logic-apps/logic-apps-overview" TargetMode="External"/><Relationship Id="rId4" Type="http://schemas.openxmlformats.org/officeDocument/2006/relationships/hyperlink" Target="https://docs.microsoft.com/en-us/azure/azure-databricks/" TargetMode="External"/><Relationship Id="rId9" Type="http://schemas.openxmlformats.org/officeDocument/2006/relationships/hyperlink" Target="https://docs.microsoft.com/en-us/azure/azure-functions/"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azure/iot-hub/iot-hub-devguide-endpoints#field-gateways"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azure/iot-hub/iot-hub-devguide-messages-d2c" TargetMode="External"/><Relationship Id="rId2" Type="http://schemas.openxmlformats.org/officeDocument/2006/relationships/slide" Target="../slides/slide66.xml"/><Relationship Id="rId1" Type="http://schemas.openxmlformats.org/officeDocument/2006/relationships/notesMaster" Target="../notesMasters/notesMaster1.xml"/><Relationship Id="rId5" Type="http://schemas.openxmlformats.org/officeDocument/2006/relationships/hyperlink" Target="https://docs.microsoft.com/en-us/azure/iot-hub/iot-hub-devguide-file-upload" TargetMode="External"/><Relationship Id="rId4" Type="http://schemas.openxmlformats.org/officeDocument/2006/relationships/hyperlink" Target="https://docs.microsoft.com/en-us/azure/iot-hub/iot-hub-devguide-device-twins" TargetMode="Externa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azure/iot-hub/iot-hub-devguide-identity-registr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iot-hub/iot-hub-devguide-direct-methods" TargetMode="External"/><Relationship Id="rId2" Type="http://schemas.openxmlformats.org/officeDocument/2006/relationships/slide" Target="../slides/slide68.xml"/><Relationship Id="rId1" Type="http://schemas.openxmlformats.org/officeDocument/2006/relationships/notesMaster" Target="../notesMasters/notesMaster1.xml"/><Relationship Id="rId5" Type="http://schemas.openxmlformats.org/officeDocument/2006/relationships/hyperlink" Target="https://docs.microsoft.com/en-us/azure/iot-hub/iot-hub-devguide-messages-c2d" TargetMode="External"/><Relationship Id="rId4" Type="http://schemas.openxmlformats.org/officeDocument/2006/relationships/hyperlink" Target="https://docs.microsoft.com/en-us/azure/iot-hub/iot-hub-devguide-device-twins" TargetMode="Externa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azure/iot-hub/iot-hub-devguide-endpoints#custom-endpoints" TargetMode="External"/><Relationship Id="rId2" Type="http://schemas.openxmlformats.org/officeDocument/2006/relationships/slide" Target="../slides/slide69.xml"/><Relationship Id="rId1" Type="http://schemas.openxmlformats.org/officeDocument/2006/relationships/notesMaster" Target="../notesMasters/notesMaster1.xml"/><Relationship Id="rId6" Type="http://schemas.openxmlformats.org/officeDocument/2006/relationships/hyperlink" Target="https://docs.microsoft.com/en-us/azure/storage/blobs/data-lake-storage-namespace" TargetMode="External"/><Relationship Id="rId5" Type="http://schemas.openxmlformats.org/officeDocument/2006/relationships/hyperlink" Target="https://docs.microsoft.com/en-us/azure/storage/blobs/data-lake-storage-introduction" TargetMode="External"/><Relationship Id="rId4" Type="http://schemas.openxmlformats.org/officeDocument/2006/relationships/hyperlink" Target="https://docs.microsoft.com/en-us/azure/storage/blobs/storage-blobs-introduction" TargetMode="Externa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iot-hub/iot-hub-devguide-endpoints#custom-endpoints" TargetMode="External"/><Relationship Id="rId2" Type="http://schemas.openxmlformats.org/officeDocument/2006/relationships/slide" Target="../slides/slide70.xml"/><Relationship Id="rId1" Type="http://schemas.openxmlformats.org/officeDocument/2006/relationships/notesMaster" Target="../notesMasters/notesMaster1.xml"/><Relationship Id="rId6" Type="http://schemas.openxmlformats.org/officeDocument/2006/relationships/hyperlink" Target="https://docs.microsoft.com/en-us/azure/storage/blobs/data-lake-storage-namespace" TargetMode="External"/><Relationship Id="rId5" Type="http://schemas.openxmlformats.org/officeDocument/2006/relationships/hyperlink" Target="https://docs.microsoft.com/en-us/azure/storage/blobs/data-lake-storage-introduction" TargetMode="External"/><Relationship Id="rId4" Type="http://schemas.openxmlformats.org/officeDocument/2006/relationships/hyperlink" Target="https://docs.microsoft.com/en-us/azure/storage/blobs/storage-blobs-introduction"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azure.microsoft.com/en-us/"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0451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0869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t’s walk through both HOT path and cold path IoT architecture</a:t>
            </a:r>
            <a:endParaRPr lang="en-US" b="0" dirty="0"/>
          </a:p>
          <a:p>
            <a:endParaRPr lang="en-GB" dirty="0"/>
          </a:p>
        </p:txBody>
      </p:sp>
    </p:spTree>
    <p:extLst>
      <p:ext uri="{BB962C8B-B14F-4D97-AF65-F5344CB8AC3E}">
        <p14:creationId xmlns:p14="http://schemas.microsoft.com/office/powerpoint/2010/main" val="29496536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en-US" b="0" dirty="0"/>
              <a:t>Let’s have a look at this simple IoT Architecture. </a:t>
            </a:r>
          </a:p>
          <a:p>
            <a:r>
              <a:rPr lang="en-US" b="0" dirty="0"/>
              <a:t>On the left, we find our IoT Gateway. On the right our analytics and reporting tool, Power BI.</a:t>
            </a:r>
          </a:p>
          <a:p>
            <a:r>
              <a:rPr lang="en-US" b="0" dirty="0"/>
              <a:t>Along this presentation, we’ll build upon this simple architecture by adding services and features.</a:t>
            </a:r>
          </a:p>
          <a:p>
            <a:endParaRPr lang="en-US" b="0" dirty="0"/>
          </a:p>
          <a:p>
            <a:r>
              <a:rPr lang="en-US" b="0" dirty="0"/>
              <a:t>Let’s start with the raw storage [Click]. We’ll store all incoming telemetry in it’s raw format, directly an data Lake.</a:t>
            </a:r>
            <a:r>
              <a:rPr lang="en-GB" b="0" dirty="0"/>
              <a:t> This data will unlock all analytics and Machine Learning scenarios that may arise in the future.</a:t>
            </a:r>
          </a:p>
          <a:p>
            <a:endParaRPr lang="en-GB" b="0" dirty="0"/>
          </a:p>
          <a:p>
            <a:pPr marL="0" marR="0" lvl="0" indent="0" defTabSz="228554" eaLnBrk="1" fontAlgn="auto" latinLnBrk="0" hangingPunct="1">
              <a:lnSpc>
                <a:spcPct val="117999"/>
              </a:lnSpc>
              <a:spcBef>
                <a:spcPts val="0"/>
              </a:spcBef>
              <a:spcAft>
                <a:spcPts val="0"/>
              </a:spcAft>
              <a:buClrTx/>
              <a:buSzTx/>
              <a:buFontTx/>
              <a:buNone/>
              <a:tabLst/>
              <a:defRPr/>
            </a:pPr>
            <a:r>
              <a:rPr lang="en-US" b="0" dirty="0"/>
              <a:t>Data analysts want harmonized (same field name and unit of measure) data. A cooked prepared meal, </a:t>
            </a:r>
          </a:p>
          <a:p>
            <a:pPr marL="0" marR="0" lvl="0" indent="0" defTabSz="228554" eaLnBrk="1" fontAlgn="auto" latinLnBrk="0" hangingPunct="1">
              <a:lnSpc>
                <a:spcPct val="117999"/>
              </a:lnSpc>
              <a:spcBef>
                <a:spcPts val="0"/>
              </a:spcBef>
              <a:spcAft>
                <a:spcPts val="0"/>
              </a:spcAft>
              <a:buClrTx/>
              <a:buSzTx/>
              <a:buFontTx/>
              <a:buNone/>
              <a:tabLst/>
              <a:defRPr/>
            </a:pPr>
            <a:endParaRPr lang="en-US" b="0" dirty="0"/>
          </a:p>
          <a:p>
            <a:pPr marL="0" marR="0" lvl="0" indent="0" defTabSz="228554" eaLnBrk="1" fontAlgn="auto" latinLnBrk="0" hangingPunct="1">
              <a:lnSpc>
                <a:spcPct val="117999"/>
              </a:lnSpc>
              <a:spcBef>
                <a:spcPts val="0"/>
              </a:spcBef>
              <a:spcAft>
                <a:spcPts val="0"/>
              </a:spcAft>
              <a:buClrTx/>
              <a:buSzTx/>
              <a:buFontTx/>
              <a:buNone/>
              <a:tabLst/>
              <a:defRPr/>
            </a:pPr>
            <a:r>
              <a:rPr lang="en-US" b="0" dirty="0"/>
              <a:t>While data scientists want to access the raw data, data analysts want harmonized data, a cooked meal If you want. </a:t>
            </a:r>
            <a:endParaRPr lang="en-GB" b="0" dirty="0"/>
          </a:p>
          <a:p>
            <a:endParaRPr lang="en-GB" b="0" dirty="0"/>
          </a:p>
          <a:p>
            <a:r>
              <a:rPr lang="en-GB" b="0" dirty="0"/>
              <a:t>That’s why these data will also be processed and ingested into an analytical data store, here a Data Warehouse. For doing this, we’ll use Azure Stream Analytics service. With Azure Stream Analytics we can easily process and store data into several data stores including SQL Datawarehouse without having to deploy any complex service.</a:t>
            </a:r>
          </a:p>
          <a:p>
            <a:endParaRPr lang="en-GB" b="0" dirty="0"/>
          </a:p>
          <a:p>
            <a:r>
              <a:rPr lang="en-GB" b="0" dirty="0"/>
              <a:t>In very specific cases, some IoT Data can also be stored in a classical SQL Database. This is also something you can achieve with Stream Analytics.</a:t>
            </a:r>
          </a:p>
          <a:p>
            <a:pPr marL="0" marR="0" lvl="0" indent="0" defTabSz="228554" eaLnBrk="1" fontAlgn="auto" latinLnBrk="0" hangingPunct="1">
              <a:lnSpc>
                <a:spcPct val="117999"/>
              </a:lnSpc>
              <a:spcBef>
                <a:spcPts val="0"/>
              </a:spcBef>
              <a:spcAft>
                <a:spcPts val="0"/>
              </a:spcAft>
              <a:buClrTx/>
              <a:buSzTx/>
              <a:buFontTx/>
              <a:buNone/>
              <a:tabLst/>
              <a:defRPr/>
            </a:pPr>
            <a:endParaRPr lang="en-US" b="0" dirty="0"/>
          </a:p>
          <a:p>
            <a:pPr marL="0" marR="0" lvl="0" indent="0" defTabSz="228554" eaLnBrk="1" fontAlgn="auto" latinLnBrk="0" hangingPunct="1">
              <a:lnSpc>
                <a:spcPct val="117999"/>
              </a:lnSpc>
              <a:spcBef>
                <a:spcPts val="0"/>
              </a:spcBef>
              <a:spcAft>
                <a:spcPts val="0"/>
              </a:spcAft>
              <a:buClrTx/>
              <a:buSzTx/>
              <a:buFontTx/>
              <a:buNone/>
              <a:tabLst/>
              <a:defRPr/>
            </a:pPr>
            <a:r>
              <a:rPr lang="en-US" b="0" dirty="0"/>
              <a:t>Because cooked data often loses the golden nuggets data scientists are looking for, our current architecture – storing both raw and prepared data – enables a wide spectrum of analytics needs. </a:t>
            </a:r>
          </a:p>
          <a:p>
            <a:endParaRPr lang="en-US" b="0" dirty="0"/>
          </a:p>
          <a:p>
            <a:endParaRPr lang="en-US" b="0" dirty="0"/>
          </a:p>
        </p:txBody>
      </p:sp>
    </p:spTree>
    <p:extLst>
      <p:ext uri="{BB962C8B-B14F-4D97-AF65-F5344CB8AC3E}">
        <p14:creationId xmlns:p14="http://schemas.microsoft.com/office/powerpoint/2010/main" val="34734198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C4C51"/>
                </a:solidFill>
                <a:effectLst/>
                <a:latin typeface="Segoe UI" panose="020B0502040204020203" pitchFamily="34" charset="0"/>
              </a:rPr>
              <a:t>Discover Azure Stream Analytics, the easy-to-use, real-time analytics service that is designed for mission-critical workloads. Build an end-to-end serverless streaming pipeline with just a few clicks. Go from zero to production in minutes using SQL—easily extensible with custom code and built-in machine learning capabilities for more advanced scenarios. Run your most demanding workloads with the confidence of a financially backed SLA</a:t>
            </a:r>
            <a:endParaRPr lang="en-US" dirty="0"/>
          </a:p>
        </p:txBody>
      </p:sp>
      <p:sp>
        <p:nvSpPr>
          <p:cNvPr id="4" name="Footer Placeholder 3"/>
          <p:cNvSpPr>
            <a:spLocks noGrp="1"/>
          </p:cNvSpPr>
          <p:nvPr>
            <p:ph type="ftr" sz="quarter" idx="10"/>
          </p:nvPr>
        </p:nvSpPr>
        <p:spPr/>
        <p:txBody>
          <a:bodyPr/>
          <a:lstStyle/>
          <a:p>
            <a:pPr marL="1091004" marR="0" lvl="0" indent="0" algn="l" defTabSz="165077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1684439"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2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84439" rtl="0" eaLnBrk="1" fontAlgn="auto" latinLnBrk="0" hangingPunct="1">
                <a:lnSpc>
                  <a:spcPct val="100000"/>
                </a:lnSpc>
                <a:spcBef>
                  <a:spcPts val="0"/>
                </a:spcBef>
                <a:spcAft>
                  <a:spcPts val="0"/>
                </a:spcAft>
                <a:buClrTx/>
                <a:buSzTx/>
                <a:buFontTx/>
                <a:buNone/>
                <a:tabLst/>
                <a:defRPr/>
              </a:pPr>
              <a:t>3/29/2021</a:t>
            </a:fld>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168443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84439" rtl="0" eaLnBrk="1" fontAlgn="auto" latinLnBrk="0" hangingPunct="1">
                <a:lnSpc>
                  <a:spcPct val="100000"/>
                </a:lnSpc>
                <a:spcBef>
                  <a:spcPts val="0"/>
                </a:spcBef>
                <a:spcAft>
                  <a:spcPts val="0"/>
                </a:spcAft>
                <a:buClrTx/>
                <a:buSzTx/>
                <a:buFontTx/>
                <a:buNone/>
                <a:tabLst/>
                <a:defRPr/>
              </a:pPr>
              <a:t>13</a:t>
            </a:fld>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41664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a:t>Speaker transcript</a:t>
            </a:r>
            <a:endParaRPr lang="en-US" sz="1800" b="0" dirty="0"/>
          </a:p>
          <a:p>
            <a:r>
              <a:rPr lang="en-US" sz="1800" b="0" dirty="0"/>
              <a:t>We just saw that integrating IoT data into your Data Analytics landscape is possible. Now, let’s see some concrete examples on hot to get insights and actions from your IoT Data.</a:t>
            </a:r>
            <a:endParaRPr lang="en-US" sz="1800" b="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08691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en-US" dirty="0"/>
              <a:t>One of the most straightforward way to use your IoT Data is by augmenting existing dashboard with them.</a:t>
            </a:r>
          </a:p>
          <a:p>
            <a:r>
              <a:rPr lang="en-US" b="0" dirty="0"/>
              <a:t>There, you can see a Power BI report made by the IT department of Contoso city. On top of several traditional data, you now have at the bottom of the report new data coming directly for an air quality IoT deployment.</a:t>
            </a:r>
          </a:p>
          <a:p>
            <a:r>
              <a:rPr lang="en-US" b="0" dirty="0"/>
              <a:t>Let’s dig into how this report is created.</a:t>
            </a:r>
          </a:p>
          <a:p>
            <a:endParaRPr lang="en-US" b="1" dirty="0"/>
          </a:p>
          <a:p>
            <a:r>
              <a:rPr lang="en-US" b="1" dirty="0"/>
              <a:t>Speaker Notes</a:t>
            </a:r>
          </a:p>
          <a:p>
            <a:endParaRPr lang="en-GB" dirty="0"/>
          </a:p>
          <a:p>
            <a:endParaRPr lang="en-US" dirty="0"/>
          </a:p>
          <a:p>
            <a:r>
              <a:rPr lang="en-US" b="1" dirty="0"/>
              <a:t>Screenshot</a:t>
            </a:r>
            <a:endParaRPr lang="en-US" b="0" dirty="0"/>
          </a:p>
          <a:p>
            <a:pPr marL="171450" indent="-171450">
              <a:buFontTx/>
              <a:buChar char="-"/>
            </a:pPr>
            <a:r>
              <a:rPr lang="en-US" b="0" dirty="0"/>
              <a:t>Realtime air quality data from school</a:t>
            </a:r>
          </a:p>
          <a:p>
            <a:pPr marL="171450" indent="-171450">
              <a:buFontTx/>
              <a:buChar char="-"/>
            </a:pPr>
            <a:r>
              <a:rPr lang="en-US" b="0" dirty="0"/>
              <a:t>Canteen menu for today</a:t>
            </a:r>
          </a:p>
          <a:p>
            <a:pPr marL="171450" indent="-171450">
              <a:buFontTx/>
              <a:buChar char="-"/>
            </a:pPr>
            <a:r>
              <a:rPr lang="en-US" b="0" dirty="0"/>
              <a:t>Weather forecast for today</a:t>
            </a:r>
          </a:p>
          <a:p>
            <a:pPr marL="171450" indent="-171450">
              <a:buFontTx/>
              <a:buChar char="-"/>
            </a:pPr>
            <a:r>
              <a:rPr lang="en-US" b="0" dirty="0"/>
              <a:t>Out of school activities</a:t>
            </a:r>
          </a:p>
          <a:p>
            <a:pPr marL="171450" indent="-171450">
              <a:buFontTx/>
              <a:buChar char="-"/>
            </a:pPr>
            <a:r>
              <a:rPr lang="en-US" b="0" dirty="0"/>
              <a:t>Non-attendance report</a:t>
            </a:r>
            <a:endParaRPr lang="en-US" b="1" dirty="0"/>
          </a:p>
        </p:txBody>
      </p:sp>
    </p:spTree>
    <p:extLst>
      <p:ext uri="{BB962C8B-B14F-4D97-AF65-F5344CB8AC3E}">
        <p14:creationId xmlns:p14="http://schemas.microsoft.com/office/powerpoint/2010/main" val="15925004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en-US" dirty="0"/>
              <a:t>Existing data comes from operational databases.</a:t>
            </a:r>
          </a:p>
          <a:p>
            <a:r>
              <a:rPr lang="en-US" b="0" dirty="0"/>
              <a:t>The IoT data comes from two distinct data sources. Air quality alerts are stored in an Azure SQL database, from a Stream Analytics Jobs. This job will only output a new line in the Azure SQL Database when one of the sensor value goes above a threshold value. Hopefully, our SQL table will contain very few lines. </a:t>
            </a:r>
          </a:p>
          <a:p>
            <a:endParaRPr lang="en-US" b="0" dirty="0"/>
          </a:p>
          <a:p>
            <a:r>
              <a:rPr lang="en-US" b="0" dirty="0"/>
              <a:t>The graph at the bottom right is a bit different. It’s a graph of the sensor readings, with an interval of five minutes. Here, all the processing is actually done in Time Series Insights. We’re just exposing this data within Power BI.</a:t>
            </a:r>
          </a:p>
          <a:p>
            <a:endParaRPr lang="en-US" b="1" dirty="0"/>
          </a:p>
          <a:p>
            <a:r>
              <a:rPr lang="en-US" b="1" dirty="0"/>
              <a:t>Speaker Notes</a:t>
            </a:r>
          </a:p>
          <a:p>
            <a:endParaRPr lang="en-GB" dirty="0"/>
          </a:p>
          <a:p>
            <a:endParaRPr lang="en-US" dirty="0"/>
          </a:p>
          <a:p>
            <a:r>
              <a:rPr lang="en-US" b="1" dirty="0"/>
              <a:t>Screenshot</a:t>
            </a:r>
            <a:endParaRPr lang="en-US" b="0" dirty="0"/>
          </a:p>
          <a:p>
            <a:pPr marL="171450" indent="-171450">
              <a:buFontTx/>
              <a:buChar char="-"/>
            </a:pPr>
            <a:r>
              <a:rPr lang="en-US" b="0" dirty="0"/>
              <a:t>Realtime air quality data from school</a:t>
            </a:r>
          </a:p>
          <a:p>
            <a:pPr marL="171450" indent="-171450">
              <a:buFontTx/>
              <a:buChar char="-"/>
            </a:pPr>
            <a:r>
              <a:rPr lang="en-US" b="0" dirty="0"/>
              <a:t>Canteen menu for today</a:t>
            </a:r>
          </a:p>
          <a:p>
            <a:pPr marL="171450" indent="-171450">
              <a:buFontTx/>
              <a:buChar char="-"/>
            </a:pPr>
            <a:r>
              <a:rPr lang="en-US" b="0" dirty="0"/>
              <a:t>Weather forecast for today</a:t>
            </a:r>
          </a:p>
          <a:p>
            <a:pPr marL="171450" indent="-171450">
              <a:buFontTx/>
              <a:buChar char="-"/>
            </a:pPr>
            <a:r>
              <a:rPr lang="en-US" b="0" dirty="0"/>
              <a:t>Out of school activities</a:t>
            </a:r>
          </a:p>
          <a:p>
            <a:pPr marL="171450" indent="-171450">
              <a:buFontTx/>
              <a:buChar char="-"/>
            </a:pPr>
            <a:r>
              <a:rPr lang="en-US" b="0" dirty="0"/>
              <a:t>Non-attendance report</a:t>
            </a:r>
            <a:endParaRPr lang="en-US" b="1" dirty="0"/>
          </a:p>
        </p:txBody>
      </p:sp>
    </p:spTree>
    <p:extLst>
      <p:ext uri="{BB962C8B-B14F-4D97-AF65-F5344CB8AC3E}">
        <p14:creationId xmlns:p14="http://schemas.microsoft.com/office/powerpoint/2010/main" val="385372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r>
              <a:rPr lang="en-US" b="1" dirty="0"/>
              <a:t>DEMO CONTENTS: </a:t>
            </a:r>
          </a:p>
          <a:p>
            <a:pPr marL="171450" indent="-171450">
              <a:buFontTx/>
              <a:buChar char="-"/>
            </a:pPr>
            <a:r>
              <a:rPr lang="en-US" b="0" dirty="0"/>
              <a:t>Ingest Data to Data Lake with direct IoT Hub output</a:t>
            </a:r>
          </a:p>
          <a:p>
            <a:pPr marL="171450" indent="-171450">
              <a:buFontTx/>
              <a:buChar char="-"/>
            </a:pPr>
            <a:r>
              <a:rPr lang="en-US" b="0" dirty="0"/>
              <a:t>Ingest Data into the Datawarehouse (Synapse with a data flow or Azure Stream Analytics ?)</a:t>
            </a:r>
          </a:p>
          <a:p>
            <a:pPr marL="171450" indent="-171450">
              <a:buFontTx/>
              <a:buChar char="-"/>
            </a:pPr>
            <a:endParaRPr lang="en-US" b="0" dirty="0"/>
          </a:p>
          <a:p>
            <a:endParaRPr lang="en-GB" dirty="0"/>
          </a:p>
        </p:txBody>
      </p:sp>
    </p:spTree>
    <p:extLst>
      <p:ext uri="{BB962C8B-B14F-4D97-AF65-F5344CB8AC3E}">
        <p14:creationId xmlns:p14="http://schemas.microsoft.com/office/powerpoint/2010/main" val="13832077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fr-FR" b="0" dirty="0"/>
              <a:t>In </a:t>
            </a:r>
            <a:r>
              <a:rPr lang="fr-FR" b="0" dirty="0" err="1"/>
              <a:t>this</a:t>
            </a:r>
            <a:r>
              <a:rPr lang="fr-FR" b="0" dirty="0"/>
              <a:t> architecture, all </a:t>
            </a:r>
            <a:r>
              <a:rPr lang="fr-FR" b="0" dirty="0" err="1"/>
              <a:t>our</a:t>
            </a:r>
            <a:r>
              <a:rPr lang="fr-FR" b="0" dirty="0"/>
              <a:t> </a:t>
            </a:r>
            <a:r>
              <a:rPr lang="fr-FR" b="0" dirty="0" err="1"/>
              <a:t>reporting</a:t>
            </a:r>
            <a:r>
              <a:rPr lang="fr-FR" b="0" dirty="0"/>
              <a:t> </a:t>
            </a:r>
            <a:r>
              <a:rPr lang="fr-FR" b="0" dirty="0" err="1"/>
              <a:t>is</a:t>
            </a:r>
            <a:r>
              <a:rPr lang="fr-FR" b="0" dirty="0"/>
              <a:t> </a:t>
            </a:r>
            <a:r>
              <a:rPr lang="fr-FR" b="0" dirty="0" err="1"/>
              <a:t>based</a:t>
            </a:r>
            <a:r>
              <a:rPr lang="fr-FR" b="0" dirty="0"/>
              <a:t> on </a:t>
            </a:r>
            <a:r>
              <a:rPr lang="fr-FR" b="0" dirty="0" err="1"/>
              <a:t>structured</a:t>
            </a:r>
            <a:r>
              <a:rPr lang="fr-FR" b="0" dirty="0"/>
              <a:t> data, </a:t>
            </a:r>
            <a:r>
              <a:rPr lang="fr-FR" b="0" dirty="0" err="1"/>
              <a:t>ingested</a:t>
            </a:r>
            <a:r>
              <a:rPr lang="fr-FR" b="0" dirty="0"/>
              <a:t> all </a:t>
            </a:r>
            <a:r>
              <a:rPr lang="fr-FR" b="0" dirty="0" err="1"/>
              <a:t>day</a:t>
            </a:r>
            <a:r>
              <a:rPr lang="fr-FR" b="0" dirty="0"/>
              <a:t> via Azure Stream Analytics. </a:t>
            </a:r>
            <a:endParaRPr lang="en-GB" dirty="0"/>
          </a:p>
          <a:p>
            <a:endParaRPr lang="en-GB" dirty="0"/>
          </a:p>
        </p:txBody>
      </p:sp>
    </p:spTree>
    <p:extLst>
      <p:ext uri="{BB962C8B-B14F-4D97-AF65-F5344CB8AC3E}">
        <p14:creationId xmlns:p14="http://schemas.microsoft.com/office/powerpoint/2010/main" val="9162004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fr-FR" b="0" dirty="0"/>
              <a:t>In </a:t>
            </a:r>
            <a:r>
              <a:rPr lang="fr-FR" b="0" dirty="0" err="1"/>
              <a:t>some</a:t>
            </a:r>
            <a:r>
              <a:rPr lang="fr-FR" b="0" dirty="0"/>
              <a:t> architecture, </a:t>
            </a:r>
            <a:r>
              <a:rPr lang="fr-FR" b="0" dirty="0" err="1"/>
              <a:t>we</a:t>
            </a:r>
            <a:r>
              <a:rPr lang="fr-FR" b="0" dirty="0"/>
              <a:t> </a:t>
            </a:r>
            <a:r>
              <a:rPr lang="fr-FR" b="0" dirty="0" err="1"/>
              <a:t>also</a:t>
            </a:r>
            <a:r>
              <a:rPr lang="fr-FR" b="0" dirty="0"/>
              <a:t> </a:t>
            </a:r>
            <a:r>
              <a:rPr lang="fr-FR" b="0" dirty="0" err="1"/>
              <a:t>see</a:t>
            </a:r>
            <a:r>
              <a:rPr lang="fr-FR" b="0" dirty="0"/>
              <a:t> </a:t>
            </a:r>
            <a:r>
              <a:rPr lang="fr-FR" b="0" dirty="0" err="1"/>
              <a:t>this</a:t>
            </a:r>
            <a:r>
              <a:rPr lang="fr-FR" b="0" dirty="0"/>
              <a:t> </a:t>
            </a:r>
            <a:r>
              <a:rPr lang="fr-FR" b="0" dirty="0" err="1"/>
              <a:t>processing</a:t>
            </a:r>
            <a:r>
              <a:rPr lang="fr-FR" b="0" dirty="0"/>
              <a:t> happening in batch mode, once a </a:t>
            </a:r>
            <a:r>
              <a:rPr lang="fr-FR" b="0" dirty="0" err="1"/>
              <a:t>day</a:t>
            </a:r>
            <a:r>
              <a:rPr lang="fr-FR" b="0" dirty="0"/>
              <a:t>. You can </a:t>
            </a:r>
            <a:r>
              <a:rPr lang="fr-FR" b="0" dirty="0" err="1"/>
              <a:t>implement</a:t>
            </a:r>
            <a:r>
              <a:rPr lang="fr-FR" b="0" dirty="0"/>
              <a:t> </a:t>
            </a:r>
            <a:r>
              <a:rPr lang="fr-FR" b="0" dirty="0" err="1"/>
              <a:t>this</a:t>
            </a:r>
            <a:r>
              <a:rPr lang="fr-FR" b="0" dirty="0"/>
              <a:t> ETL process </a:t>
            </a:r>
            <a:r>
              <a:rPr lang="fr-FR" b="0" dirty="0" err="1"/>
              <a:t>with</a:t>
            </a:r>
            <a:r>
              <a:rPr lang="fr-FR" b="0" dirty="0"/>
              <a:t> </a:t>
            </a:r>
            <a:r>
              <a:rPr lang="fr-FR" b="0" dirty="0" err="1"/>
              <a:t>tools</a:t>
            </a:r>
            <a:r>
              <a:rPr lang="fr-FR" b="0" dirty="0"/>
              <a:t> like Azure Data </a:t>
            </a:r>
            <a:r>
              <a:rPr lang="fr-FR" b="0" dirty="0" err="1"/>
              <a:t>Factory</a:t>
            </a:r>
            <a:r>
              <a:rPr lang="fr-FR" b="0" dirty="0"/>
              <a:t> or the Data Flow </a:t>
            </a:r>
            <a:r>
              <a:rPr lang="fr-FR" b="0" dirty="0" err="1"/>
              <a:t>feature</a:t>
            </a:r>
            <a:r>
              <a:rPr lang="fr-FR" b="0" dirty="0"/>
              <a:t> of Synapse Analytics. </a:t>
            </a:r>
          </a:p>
          <a:p>
            <a:endParaRPr lang="fr-FR" b="0" dirty="0"/>
          </a:p>
          <a:p>
            <a:r>
              <a:rPr lang="fr-FR" b="0" dirty="0"/>
              <a:t>Data </a:t>
            </a:r>
            <a:r>
              <a:rPr lang="fr-FR" b="0" dirty="0" err="1"/>
              <a:t>stored</a:t>
            </a:r>
            <a:r>
              <a:rPr lang="fr-FR" b="0" dirty="0"/>
              <a:t> </a:t>
            </a:r>
            <a:r>
              <a:rPr lang="fr-FR" b="0" dirty="0" err="1"/>
              <a:t>within</a:t>
            </a:r>
            <a:r>
              <a:rPr lang="fr-FR" b="0" dirty="0"/>
              <a:t> the data </a:t>
            </a:r>
            <a:r>
              <a:rPr lang="fr-FR" b="0" dirty="0" err="1"/>
              <a:t>lake</a:t>
            </a:r>
            <a:r>
              <a:rPr lang="fr-FR" b="0" dirty="0"/>
              <a:t> can </a:t>
            </a:r>
            <a:r>
              <a:rPr lang="fr-FR" b="0" dirty="0" err="1"/>
              <a:t>be</a:t>
            </a:r>
            <a:r>
              <a:rPr lang="fr-FR" b="0" dirty="0"/>
              <a:t> </a:t>
            </a:r>
            <a:r>
              <a:rPr lang="fr-FR" b="0" dirty="0" err="1"/>
              <a:t>organized</a:t>
            </a:r>
            <a:r>
              <a:rPr lang="fr-FR" b="0" dirty="0"/>
              <a:t>. In Big Data Scenarios, </a:t>
            </a:r>
            <a:r>
              <a:rPr lang="fr-FR" b="0" dirty="0" err="1"/>
              <a:t>you</a:t>
            </a:r>
            <a:r>
              <a:rPr lang="fr-FR" b="0" dirty="0"/>
              <a:t> can </a:t>
            </a:r>
            <a:r>
              <a:rPr lang="fr-FR" b="0" dirty="0" err="1"/>
              <a:t>also</a:t>
            </a:r>
            <a:r>
              <a:rPr lang="fr-FR" b="0" dirty="0"/>
              <a:t> use </a:t>
            </a:r>
            <a:r>
              <a:rPr lang="fr-FR" b="0" dirty="0" err="1"/>
              <a:t>these</a:t>
            </a:r>
            <a:r>
              <a:rPr lang="fr-FR" b="0" dirty="0"/>
              <a:t> architecture to </a:t>
            </a:r>
            <a:r>
              <a:rPr lang="fr-FR" b="0" dirty="0" err="1"/>
              <a:t>refine</a:t>
            </a:r>
            <a:r>
              <a:rPr lang="fr-FR" b="0" dirty="0"/>
              <a:t> </a:t>
            </a:r>
            <a:r>
              <a:rPr lang="fr-FR" b="0" dirty="0" err="1"/>
              <a:t>raw</a:t>
            </a:r>
            <a:r>
              <a:rPr lang="fr-FR" b="0" dirty="0"/>
              <a:t> data </a:t>
            </a:r>
            <a:r>
              <a:rPr lang="fr-FR" b="0" dirty="0" err="1"/>
              <a:t>into</a:t>
            </a:r>
            <a:r>
              <a:rPr lang="fr-FR" b="0" dirty="0"/>
              <a:t> a more structure and </a:t>
            </a:r>
            <a:r>
              <a:rPr lang="fr-FR" b="0" dirty="0" err="1"/>
              <a:t>enriched</a:t>
            </a:r>
            <a:r>
              <a:rPr lang="fr-FR" b="0" dirty="0"/>
              <a:t> </a:t>
            </a:r>
            <a:r>
              <a:rPr lang="fr-FR" b="0" dirty="0" err="1"/>
              <a:t>form</a:t>
            </a:r>
            <a:r>
              <a:rPr lang="fr-FR" b="0" dirty="0"/>
              <a:t> </a:t>
            </a:r>
            <a:r>
              <a:rPr lang="fr-FR" b="0" dirty="0" err="1"/>
              <a:t>also</a:t>
            </a:r>
            <a:r>
              <a:rPr lang="fr-FR" b="0" dirty="0"/>
              <a:t> </a:t>
            </a:r>
            <a:r>
              <a:rPr lang="fr-FR" b="0" dirty="0" err="1"/>
              <a:t>stored</a:t>
            </a:r>
            <a:r>
              <a:rPr lang="fr-FR" b="0" dirty="0"/>
              <a:t> in the data </a:t>
            </a:r>
            <a:r>
              <a:rPr lang="fr-FR" b="0" dirty="0" err="1"/>
              <a:t>lake</a:t>
            </a:r>
            <a:r>
              <a:rPr lang="fr-FR" b="0" dirty="0"/>
              <a:t>.</a:t>
            </a:r>
            <a:endParaRPr lang="en-GB" dirty="0"/>
          </a:p>
        </p:txBody>
      </p:sp>
    </p:spTree>
    <p:extLst>
      <p:ext uri="{BB962C8B-B14F-4D97-AF65-F5344CB8AC3E}">
        <p14:creationId xmlns:p14="http://schemas.microsoft.com/office/powerpoint/2010/main" val="466199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gradFill>
                  <a:gsLst>
                    <a:gs pos="0">
                      <a:schemeClr val="accent5"/>
                    </a:gs>
                    <a:gs pos="100000">
                      <a:schemeClr val="accent4"/>
                    </a:gs>
                  </a:gsLst>
                  <a:lin ang="2700000" scaled="1"/>
                </a:gradFill>
              </a:rPr>
              <a:t>Transform your business with Io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To start this series, we’ll explain how the Internet of Things (IoT) addresses the problems of efficiency, productivity, safety, and security. We’ll describe Azure IoT components and explain how you combine them to create value for enterprises, enabling digital feedback loops for solutions that extend beyond telemetry with analytics and edge solutions that provide real-time statu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Create an Azure dashboard and resource group.</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Create an IoT hub using the Azure portal.</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Examine features of Azure IoT Hub.</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Create a device provisioning service and link it to your IoT hub.</a:t>
            </a: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endParaRPr lang="en-US" b="1" dirty="0"/>
          </a:p>
          <a:p>
            <a:r>
              <a:rPr lang="en-US" b="1" dirty="0"/>
              <a:t>Connect devices to the clou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In this session, you’ll learn how to set up the development environment used throughout this series. We’ll cover how to connect an IoT device that includes temperature and humidity sensors to Azure. In the labs, you’ll configure a simulated device to connect to Azure IoT Hub. Then you’ll run the simulated device to send telemetry messages and verify that device telemetry is being received.</a:t>
            </a:r>
          </a:p>
          <a:p>
            <a:endParaRPr lang="en-US" dirty="0"/>
          </a:p>
          <a:p>
            <a:r>
              <a:rPr lang="en-US" b="1" dirty="0"/>
              <a:t>Provision devices at Sca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This portion of the workshop walks through a hypothetical asset-monitoring solution that requires IoT devices with sensors for tracking location, temperature, and pressure to be placed in product transport boxes. When a new box enters the system, it is equipped with the new IoT device. The device needs to be </a:t>
            </a:r>
            <a:r>
              <a:rPr lang="en-US" sz="1800" dirty="0" err="1">
                <a:effectLst/>
                <a:latin typeface="Calibri" panose="020F0502020204030204" pitchFamily="34" charset="0"/>
                <a:ea typeface="Calibri" panose="020F0502020204030204" pitchFamily="34" charset="0"/>
              </a:rPr>
              <a:t>autoprovisioned</a:t>
            </a:r>
            <a:r>
              <a:rPr lang="en-US" sz="1800" dirty="0">
                <a:effectLst/>
                <a:latin typeface="Calibri" panose="020F0502020204030204" pitchFamily="34" charset="0"/>
                <a:ea typeface="Calibri" panose="020F0502020204030204" pitchFamily="34" charset="0"/>
              </a:rPr>
              <a:t> to the IoT hub using Azure’s device provisioning service. When the box arrives, the sensor is removed from the box and needs to be “decommissioned” through the device provisioning service. You’ll learn how you can use the device provisioning service to enroll many devices automatically and securely using X.509 certificate authentication.</a:t>
            </a:r>
          </a:p>
          <a:p>
            <a:endParaRPr lang="en-US" dirty="0"/>
          </a:p>
          <a:p>
            <a:r>
              <a:rPr lang="en-US" b="1" dirty="0"/>
              <a:t>Understand IoT message processing analytics and business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Preventive maintenance is a key IoT scenario—detect that something is wrong before there is any damage. In this module, you’ll write code to send continuous telemetry to an IoT hub that will use Azure Stream Analytics and a built-in machine learning model to warn of anomalies. Using Power BI to visualize the data stream, you’ll create an event subscription within Azure IoT Hub to set up Azure Event Grid integration that will trigger a logic app to send an alert. We’ll also cover working with time series data using Azure Time Series Insights.</a:t>
            </a:r>
          </a:p>
          <a:p>
            <a:endParaRPr lang="en-US" dirty="0"/>
          </a:p>
          <a:p>
            <a:r>
              <a:rPr lang="en-US" b="1" dirty="0"/>
              <a:t>Build the intelligent ed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With the collection of large amounts of data and the need for urgent responses, you’ll want to bring the intelligence to the edge for processing data and only send the important data to the cloud. We’ll take a deep dive on using an Azure IoT Edge device as a gateway and you’ll learn the different scenarios where an IoT Edge device is on an enterprise network (needs proxy settings) or needs extended offline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a:r>
              <a:rPr lang="en-US" sz="1800" dirty="0">
                <a:effectLst/>
                <a:latin typeface="Calibri" panose="020F0502020204030204" pitchFamily="34" charset="0"/>
                <a:ea typeface="Calibri" panose="020F0502020204030204" pitchFamily="34" charset="0"/>
              </a:rPr>
              <a:t> Build solutions with IoT Central</a:t>
            </a:r>
          </a:p>
          <a:p>
            <a:pPr marL="0" marR="0"/>
            <a:r>
              <a:rPr lang="en-US" sz="1800" dirty="0">
                <a:effectLst/>
                <a:latin typeface="Calibri" panose="020F0502020204030204" pitchFamily="34" charset="0"/>
                <a:ea typeface="Calibri" panose="020F0502020204030204" pitchFamily="34" charset="0"/>
              </a:rPr>
              <a:t>Designed to enable the easy monitoring and management of a fleet of devices, Azure IoT Central encompasses a range of underlying technologies that work together well but can be complicated to implement when many technologies are needed. These technologies include Azure IoT Hub, the Azure device provisioning service, Azure Maps, and others. We’ll also take a look at IoT Plug and Play to interact with a device's capabilities even without knowledge of the underlying device imple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6F27A1F0-49ED-468D-8AED-D4716C3B901C}" type="slidenum">
              <a:rPr lang="en-US" smtClean="0"/>
              <a:t>2</a:t>
            </a:fld>
            <a:endParaRPr lang="en-US"/>
          </a:p>
        </p:txBody>
      </p:sp>
    </p:spTree>
    <p:extLst>
      <p:ext uri="{BB962C8B-B14F-4D97-AF65-F5344CB8AC3E}">
        <p14:creationId xmlns:p14="http://schemas.microsoft.com/office/powerpoint/2010/main" val="23280713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You can use Azure Synapse Analytics to process </a:t>
            </a:r>
            <a:r>
              <a:rPr lang="fr-FR" dirty="0" err="1"/>
              <a:t>raw</a:t>
            </a:r>
            <a:r>
              <a:rPr lang="fr-FR" dirty="0"/>
              <a:t> data from a Data Lake </a:t>
            </a:r>
            <a:r>
              <a:rPr lang="fr-FR" dirty="0" err="1"/>
              <a:t>easily</a:t>
            </a:r>
            <a:r>
              <a:rPr lang="fr-FR" dirty="0"/>
              <a:t>. But </a:t>
            </a:r>
            <a:r>
              <a:rPr lang="fr-FR" dirty="0" err="1"/>
              <a:t>it</a:t>
            </a:r>
            <a:r>
              <a:rPr lang="fr-FR" dirty="0"/>
              <a:t> can </a:t>
            </a:r>
            <a:r>
              <a:rPr lang="fr-FR" dirty="0" err="1"/>
              <a:t>also</a:t>
            </a:r>
            <a:r>
              <a:rPr lang="fr-FR" dirty="0"/>
              <a:t> </a:t>
            </a:r>
            <a:r>
              <a:rPr lang="fr-FR" dirty="0" err="1"/>
              <a:t>be</a:t>
            </a:r>
            <a:r>
              <a:rPr lang="fr-FR" dirty="0"/>
              <a:t> </a:t>
            </a:r>
            <a:r>
              <a:rPr lang="fr-FR" dirty="0" err="1"/>
              <a:t>used</a:t>
            </a:r>
            <a:r>
              <a:rPr lang="fr-FR" dirty="0"/>
              <a:t> to store data. In </a:t>
            </a:r>
            <a:r>
              <a:rPr lang="fr-FR" dirty="0" err="1"/>
              <a:t>fact</a:t>
            </a:r>
            <a:r>
              <a:rPr lang="fr-FR" dirty="0"/>
              <a:t>, all the demos </a:t>
            </a:r>
            <a:r>
              <a:rPr lang="fr-FR" dirty="0" err="1"/>
              <a:t>you’ve</a:t>
            </a:r>
            <a:r>
              <a:rPr lang="fr-FR" dirty="0"/>
              <a:t> </a:t>
            </a:r>
            <a:r>
              <a:rPr lang="fr-FR" dirty="0" err="1"/>
              <a:t>seen</a:t>
            </a:r>
            <a:r>
              <a:rPr lang="fr-FR" dirty="0"/>
              <a:t> </a:t>
            </a:r>
            <a:r>
              <a:rPr lang="fr-FR" dirty="0" err="1"/>
              <a:t>so</a:t>
            </a:r>
            <a:r>
              <a:rPr lang="fr-FR" dirty="0"/>
              <a:t> far </a:t>
            </a:r>
            <a:r>
              <a:rPr lang="fr-FR" dirty="0" err="1"/>
              <a:t>don’t</a:t>
            </a:r>
            <a:r>
              <a:rPr lang="fr-FR" dirty="0"/>
              <a:t> use an Azure SQL Datawarehouse, but are </a:t>
            </a:r>
            <a:r>
              <a:rPr lang="fr-FR" dirty="0" err="1"/>
              <a:t>using</a:t>
            </a:r>
            <a:r>
              <a:rPr lang="fr-FR" dirty="0"/>
              <a:t> Synapse Analytics. </a:t>
            </a:r>
            <a:r>
              <a:rPr lang="fr-FR" dirty="0" err="1"/>
              <a:t>Using</a:t>
            </a:r>
            <a:r>
              <a:rPr lang="fr-FR" dirty="0"/>
              <a:t> </a:t>
            </a:r>
            <a:r>
              <a:rPr lang="fr-FR" dirty="0" err="1"/>
              <a:t>it</a:t>
            </a:r>
            <a:r>
              <a:rPr lang="fr-FR" dirty="0"/>
              <a:t> </a:t>
            </a:r>
            <a:r>
              <a:rPr lang="fr-FR" dirty="0" err="1"/>
              <a:t>within</a:t>
            </a:r>
            <a:r>
              <a:rPr lang="fr-FR" dirty="0"/>
              <a:t> </a:t>
            </a:r>
            <a:r>
              <a:rPr lang="fr-FR" dirty="0" err="1"/>
              <a:t>your</a:t>
            </a:r>
            <a:r>
              <a:rPr lang="fr-FR" dirty="0"/>
              <a:t> architecture can </a:t>
            </a:r>
            <a:r>
              <a:rPr lang="fr-FR" dirty="0" err="1"/>
              <a:t>allows</a:t>
            </a:r>
            <a:r>
              <a:rPr lang="fr-FR" dirty="0"/>
              <a:t> </a:t>
            </a:r>
            <a:r>
              <a:rPr lang="fr-FR" dirty="0" err="1"/>
              <a:t>you</a:t>
            </a:r>
            <a:r>
              <a:rPr lang="fr-FR" dirty="0"/>
              <a:t> to </a:t>
            </a:r>
            <a:r>
              <a:rPr lang="fr-FR" dirty="0" err="1"/>
              <a:t>reuse</a:t>
            </a:r>
            <a:r>
              <a:rPr lang="fr-FR" dirty="0"/>
              <a:t> </a:t>
            </a:r>
            <a:r>
              <a:rPr lang="fr-FR" dirty="0" err="1"/>
              <a:t>your</a:t>
            </a:r>
            <a:r>
              <a:rPr lang="fr-FR" dirty="0"/>
              <a:t> </a:t>
            </a:r>
            <a:r>
              <a:rPr lang="fr-FR" dirty="0" err="1"/>
              <a:t>existing</a:t>
            </a:r>
            <a:r>
              <a:rPr lang="fr-FR" dirty="0"/>
              <a:t> datawarehouse </a:t>
            </a:r>
            <a:r>
              <a:rPr lang="fr-FR" dirty="0" err="1"/>
              <a:t>skillsets</a:t>
            </a:r>
            <a:r>
              <a:rPr lang="fr-FR" dirty="0"/>
              <a:t> and </a:t>
            </a:r>
            <a:r>
              <a:rPr lang="fr-FR" dirty="0" err="1"/>
              <a:t>apply</a:t>
            </a:r>
            <a:r>
              <a:rPr lang="fr-FR" dirty="0"/>
              <a:t> </a:t>
            </a:r>
            <a:r>
              <a:rPr lang="fr-FR" dirty="0" err="1"/>
              <a:t>them</a:t>
            </a:r>
            <a:r>
              <a:rPr lang="fr-FR" dirty="0"/>
              <a:t> to a </a:t>
            </a:r>
            <a:r>
              <a:rPr lang="fr-FR" dirty="0" err="1"/>
              <a:t>whole</a:t>
            </a:r>
            <a:r>
              <a:rPr lang="fr-FR" dirty="0"/>
              <a:t> lot new </a:t>
            </a:r>
            <a:r>
              <a:rPr lang="fr-FR" dirty="0" err="1"/>
              <a:t>level</a:t>
            </a:r>
            <a:r>
              <a:rPr lang="fr-FR" dirty="0"/>
              <a:t>. </a:t>
            </a:r>
            <a:endParaRPr lang="en-GB" dirty="0"/>
          </a:p>
        </p:txBody>
      </p:sp>
    </p:spTree>
    <p:extLst>
      <p:ext uri="{BB962C8B-B14F-4D97-AF65-F5344CB8AC3E}">
        <p14:creationId xmlns:p14="http://schemas.microsoft.com/office/powerpoint/2010/main" val="15155496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peaker Transcript</a:t>
            </a:r>
          </a:p>
          <a:p>
            <a:r>
              <a:rPr lang="en-US"/>
              <a:t>Data engineers are mostly asked to work on historical data. With Power BI and Azure, they can also easily work on real time analytics.</a:t>
            </a:r>
          </a:p>
          <a:p>
            <a:r>
              <a:rPr lang="en-US" b="0"/>
              <a:t>By using Stream Analytics, you can process, aggregate and filter data coming from IoT Hub in real time and outputting this data to several destinations. For example, you can use the </a:t>
            </a:r>
            <a:r>
              <a:rPr lang="en-US" b="0" i="1"/>
              <a:t>streaming data tile</a:t>
            </a:r>
            <a:r>
              <a:rPr lang="en-US" b="0" i="0"/>
              <a:t> withing an Azure Dashboard to display this data in </a:t>
            </a:r>
            <a:r>
              <a:rPr lang="en-US" b="0" i="0" err="1"/>
              <a:t>realtime</a:t>
            </a:r>
            <a:r>
              <a:rPr lang="en-US" b="0" i="0"/>
              <a:t>. No code, no background service, you just have to write a SQL query!</a:t>
            </a:r>
            <a:endParaRPr lang="en-US" b="0"/>
          </a:p>
          <a:p>
            <a:endParaRPr lang="en-US" b="1"/>
          </a:p>
          <a:p>
            <a:r>
              <a:rPr lang="en-US" b="1"/>
              <a:t>Speaker Notes</a:t>
            </a:r>
          </a:p>
          <a:p>
            <a:endParaRPr lang="en-GB"/>
          </a:p>
          <a:p>
            <a:endParaRPr lang="en-US"/>
          </a:p>
          <a:p>
            <a:r>
              <a:rPr lang="en-US" b="1"/>
              <a:t>Screenshot</a:t>
            </a:r>
            <a:endParaRPr lang="en-US" b="0"/>
          </a:p>
          <a:p>
            <a:pPr marL="171450" indent="-171450">
              <a:buFontTx/>
              <a:buChar char="-"/>
            </a:pPr>
            <a:r>
              <a:rPr lang="en-US" b="0"/>
              <a:t>Realtime air quality data from school</a:t>
            </a:r>
          </a:p>
          <a:p>
            <a:pPr marL="171450" indent="-171450">
              <a:buFontTx/>
              <a:buChar char="-"/>
            </a:pPr>
            <a:r>
              <a:rPr lang="en-US" b="0"/>
              <a:t>Canteen menu for today</a:t>
            </a:r>
          </a:p>
          <a:p>
            <a:pPr marL="171450" indent="-171450">
              <a:buFontTx/>
              <a:buChar char="-"/>
            </a:pPr>
            <a:r>
              <a:rPr lang="en-US" b="0"/>
              <a:t>Weather forecast for today</a:t>
            </a:r>
          </a:p>
          <a:p>
            <a:pPr marL="171450" indent="-171450">
              <a:buFontTx/>
              <a:buChar char="-"/>
            </a:pPr>
            <a:r>
              <a:rPr lang="en-US" b="0"/>
              <a:t>Out of school activities</a:t>
            </a:r>
          </a:p>
          <a:p>
            <a:pPr marL="171450" indent="-171450">
              <a:buFontTx/>
              <a:buChar char="-"/>
            </a:pPr>
            <a:r>
              <a:rPr lang="en-US" b="0"/>
              <a:t>Non-attendance report</a:t>
            </a:r>
            <a:endParaRPr lang="en-US" b="1"/>
          </a:p>
        </p:txBody>
      </p:sp>
    </p:spTree>
    <p:extLst>
      <p:ext uri="{BB962C8B-B14F-4D97-AF65-F5344CB8AC3E}">
        <p14:creationId xmlns:p14="http://schemas.microsoft.com/office/powerpoint/2010/main" val="26641769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en-US" b="0" dirty="0"/>
              <a:t>Azure Stream Analytics can process your IoT Data in </a:t>
            </a:r>
            <a:r>
              <a:rPr lang="en-US" b="0" dirty="0" err="1"/>
              <a:t>realtime</a:t>
            </a:r>
            <a:r>
              <a:rPr lang="en-US" b="0" dirty="0"/>
              <a:t>, both for your analytics store but also for </a:t>
            </a:r>
            <a:r>
              <a:rPr lang="en-US" b="0" dirty="0" err="1"/>
              <a:t>realtime</a:t>
            </a:r>
            <a:r>
              <a:rPr lang="en-US" b="0" dirty="0"/>
              <a:t> dashboard needs.</a:t>
            </a:r>
          </a:p>
          <a:p>
            <a:endParaRPr lang="en-GB" dirty="0"/>
          </a:p>
        </p:txBody>
      </p:sp>
    </p:spTree>
    <p:extLst>
      <p:ext uri="{BB962C8B-B14F-4D97-AF65-F5344CB8AC3E}">
        <p14:creationId xmlns:p14="http://schemas.microsoft.com/office/powerpoint/2010/main" val="12693009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a:t>Speaker transcript</a:t>
            </a:r>
            <a:endParaRPr lang="en-US" sz="1800" b="0" dirty="0"/>
          </a:p>
          <a:p>
            <a:r>
              <a:rPr lang="en-US" sz="1800" b="0" dirty="0"/>
              <a:t>We just saw that integrating IoT data into your Data Analytics landscape is possible. Now, let’s see some concrete examples on hot to get insights and actions from your IoT Data.</a:t>
            </a:r>
            <a:endParaRPr lang="en-US" sz="1800" b="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1838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en-US" b="0" dirty="0"/>
              <a:t>In this demo, we’ll see how to start real time actions with Azure Stream Analytics and Logic App</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08691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peaker Transcript</a:t>
            </a:r>
          </a:p>
          <a:p>
            <a:r>
              <a:rPr lang="en-US"/>
              <a:t>But why limiting yourself to crunching and displaying data? When you know how to use Stream Analytics, you’re a step away from executing your or code, or better, a workflow. Here, the same Azure Stream Analytics Job is also launching the execution of an Azure Logic App – a no-code, serverless workflow service in Azure – allowing me to execute actions in a wide range of applications, like sending a message in a specific channel in Teams.</a:t>
            </a:r>
            <a:endParaRPr lang="en-US" b="1"/>
          </a:p>
          <a:p>
            <a:endParaRPr lang="en-US" b="1"/>
          </a:p>
          <a:p>
            <a:r>
              <a:rPr lang="en-US" b="1"/>
              <a:t>Speaker Notes</a:t>
            </a:r>
          </a:p>
          <a:p>
            <a:endParaRPr lang="en-GB"/>
          </a:p>
          <a:p>
            <a:endParaRPr lang="en-GB"/>
          </a:p>
        </p:txBody>
      </p:sp>
    </p:spTree>
    <p:extLst>
      <p:ext uri="{BB962C8B-B14F-4D97-AF65-F5344CB8AC3E}">
        <p14:creationId xmlns:p14="http://schemas.microsoft.com/office/powerpoint/2010/main" val="26351523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en-US" b="0" dirty="0"/>
              <a:t>We now have.</a:t>
            </a:r>
          </a:p>
          <a:p>
            <a:endParaRPr lang="en-GB" dirty="0"/>
          </a:p>
        </p:txBody>
      </p:sp>
    </p:spTree>
    <p:extLst>
      <p:ext uri="{BB962C8B-B14F-4D97-AF65-F5344CB8AC3E}">
        <p14:creationId xmlns:p14="http://schemas.microsoft.com/office/powerpoint/2010/main" val="30009276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en-US" b="0" dirty="0" err="1"/>
              <a:t>Todo</a:t>
            </a:r>
            <a:endParaRPr lang="en-US" b="0" dirty="0"/>
          </a:p>
          <a:p>
            <a:endParaRPr lang="en-GB" dirty="0"/>
          </a:p>
        </p:txBody>
      </p:sp>
    </p:spTree>
    <p:extLst>
      <p:ext uri="{BB962C8B-B14F-4D97-AF65-F5344CB8AC3E}">
        <p14:creationId xmlns:p14="http://schemas.microsoft.com/office/powerpoint/2010/main" val="40356723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3452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chemeClr val="accent5"/>
                    </a:gs>
                    <a:gs pos="100000">
                      <a:schemeClr val="accent4"/>
                    </a:gs>
                  </a:gsLst>
                  <a:lin ang="2700000" scaled="1"/>
                </a:gradFill>
              </a:rPr>
              <a:t>Session 4: Understand IoT message processing, analytics, and business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mn-lt"/>
              </a:rPr>
              <a:t>Azure Time Series Insights (TSI) </a:t>
            </a:r>
            <a:r>
              <a:rPr lang="en-US" dirty="0">
                <a:latin typeface="+mn-lt"/>
              </a:rPr>
              <a:t>is a </a:t>
            </a:r>
            <a:r>
              <a:rPr lang="en-US" sz="1200" dirty="0">
                <a:gradFill>
                  <a:gsLst>
                    <a:gs pos="0">
                      <a:srgbClr val="0078D3"/>
                    </a:gs>
                    <a:gs pos="100000">
                      <a:srgbClr val="0078D3"/>
                    </a:gs>
                  </a:gsLst>
                  <a:lin ang="5400000" scaled="1"/>
                </a:gradFill>
                <a:latin typeface="+mn-lt"/>
              </a:rPr>
              <a:t>serverless, fully-managed Platform as a Service (PaaS) solution built for IoT.  Features include the follow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50" dirty="0">
              <a:gradFill>
                <a:gsLst>
                  <a:gs pos="0">
                    <a:srgbClr val="0078D3"/>
                  </a:gs>
                  <a:gs pos="100000">
                    <a:srgbClr val="0078D3"/>
                  </a:gs>
                </a:gsLst>
                <a:lin ang="5400000" scaled="1"/>
              </a:gradFill>
              <a:latin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gradFill>
                  <a:gsLst>
                    <a:gs pos="83000">
                      <a:schemeClr val="tx1"/>
                    </a:gs>
                    <a:gs pos="100000">
                      <a:schemeClr val="tx1"/>
                    </a:gs>
                  </a:gsLst>
                  <a:lin ang="5400000" scaled="1"/>
                </a:gradFill>
                <a:latin typeface="+mn-lt"/>
                <a:cs typeface="Segoe UI Semibold" panose="020B0702040204020203" pitchFamily="34" charset="0"/>
              </a:rPr>
              <a:t>Highly contextualized, time-series-optimized, IoT-scale data that can be Ingested, processed, stored, and </a:t>
            </a:r>
            <a:r>
              <a:rPr lang="en-US" sz="1200" kern="0" dirty="0" err="1">
                <a:gradFill>
                  <a:gsLst>
                    <a:gs pos="83000">
                      <a:schemeClr val="tx1"/>
                    </a:gs>
                    <a:gs pos="100000">
                      <a:schemeClr val="tx1"/>
                    </a:gs>
                  </a:gsLst>
                  <a:lin ang="5400000" scaled="1"/>
                </a:gradFill>
                <a:latin typeface="+mn-lt"/>
                <a:cs typeface="Segoe UI Semibold" panose="020B0702040204020203" pitchFamily="34" charset="0"/>
              </a:rPr>
              <a:t>queryed</a:t>
            </a:r>
            <a:endParaRPr lang="en-US" sz="1200" kern="0" dirty="0">
              <a:gradFill>
                <a:gsLst>
                  <a:gs pos="83000">
                    <a:schemeClr val="tx1"/>
                  </a:gs>
                  <a:gs pos="100000">
                    <a:schemeClr val="tx1"/>
                  </a:gs>
                </a:gsLst>
                <a:lin ang="5400000" scaled="1"/>
              </a:gradFill>
              <a:latin typeface="+mn-lt"/>
              <a:cs typeface="Segoe UI Semibold" panose="020B07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gradFill>
                  <a:gsLst>
                    <a:gs pos="83000">
                      <a:schemeClr val="tx1"/>
                    </a:gs>
                    <a:gs pos="100000">
                      <a:schemeClr val="tx1"/>
                    </a:gs>
                  </a:gsLst>
                  <a:lin ang="5400000" scaled="1"/>
                </a:gradFill>
                <a:latin typeface="+mn-lt"/>
                <a:cs typeface="Segoe UI Semibold" panose="020B0702040204020203" pitchFamily="34" charset="0"/>
              </a:rPr>
              <a:t>Built-in rich User Experience for ad-hoc queries and explo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gradFill>
                  <a:gsLst>
                    <a:gs pos="83000">
                      <a:srgbClr val="000000"/>
                    </a:gs>
                    <a:gs pos="100000">
                      <a:srgbClr val="000000"/>
                    </a:gs>
                  </a:gsLst>
                  <a:lin ang="5400000" scaled="1"/>
                </a:gradFill>
                <a:latin typeface="+mn-lt"/>
                <a:cs typeface="Segoe UI Semibold" panose="020B0702040204020203" pitchFamily="34" charset="0"/>
              </a:rPr>
              <a:t>Rich analytics APIs for ad-hoc exploration and operational intellig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gradFill>
                  <a:gsLst>
                    <a:gs pos="83000">
                      <a:srgbClr val="000000"/>
                    </a:gs>
                    <a:gs pos="100000">
                      <a:srgbClr val="000000"/>
                    </a:gs>
                  </a:gsLst>
                  <a:lin ang="5400000" scaled="1"/>
                </a:gradFill>
                <a:latin typeface="+mn-lt"/>
                <a:cs typeface="Segoe UI Semibold" panose="020B0702040204020203" pitchFamily="34" charset="0"/>
              </a:rPr>
              <a:t>A JavaScript control library for building custom analytics apps on the TSI platfo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0" dirty="0">
              <a:gradFill>
                <a:gsLst>
                  <a:gs pos="83000">
                    <a:srgbClr val="000000"/>
                  </a:gs>
                  <a:gs pos="100000">
                    <a:srgbClr val="000000"/>
                  </a:gs>
                </a:gsLst>
                <a:lin ang="5400000" scaled="1"/>
              </a:gradFill>
              <a:latin typeface="+mn-lt"/>
              <a:cs typeface="Segoe UI Semibold" panose="020B07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gradFill>
                  <a:gsLst>
                    <a:gs pos="83000">
                      <a:srgbClr val="000000"/>
                    </a:gs>
                    <a:gs pos="100000">
                      <a:srgbClr val="000000"/>
                    </a:gs>
                  </a:gsLst>
                  <a:lin ang="5400000" scaled="1"/>
                </a:gradFill>
                <a:latin typeface="+mn-lt"/>
                <a:cs typeface="Segoe UI Semibold" panose="020B0702040204020203" pitchFamily="34" charset="0"/>
              </a:rPr>
              <a:t>Remember that option 1 path with building with our platform service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3031F-ECEA-4C19-BA03-C2A74F4738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082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69020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Time Series Insights is the only product providing an end-to-end solution to collect, store, model and visualize timeseries and historical data with no upfront data preparation.</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llect</a:t>
            </a:r>
            <a:r>
              <a:rPr lang="en-US" sz="1200" kern="1200" dirty="0">
                <a:solidFill>
                  <a:schemeClr val="tx1"/>
                </a:solidFill>
                <a:effectLst/>
                <a:latin typeface="+mn-lt"/>
                <a:ea typeface="+mn-ea"/>
                <a:cs typeface="+mn-cs"/>
              </a:rPr>
              <a:t>: Your assets—such as sensors, equipment, and buildings—are constantly streaming new information. Easily ingest all your IoT data into Time Series Insights—you don’t have to write a single line of code, saving you valuable time and resources. And as your business grows, you can scale on-demand so you’re prepared for all that the future hold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Store</a:t>
            </a:r>
            <a:r>
              <a:rPr lang="en-US" sz="1200" kern="1200" dirty="0">
                <a:solidFill>
                  <a:schemeClr val="tx1"/>
                </a:solidFill>
                <a:effectLst/>
                <a:latin typeface="+mn-lt"/>
                <a:ea typeface="+mn-ea"/>
                <a:cs typeface="+mn-cs"/>
              </a:rPr>
              <a:t>: As your IoT engagement grows, so does the amount of data you need to store. Multilayered storage lets you amass data across warm and cold storages while enabling instant access to streaming and historical IoT data.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Model</a:t>
            </a:r>
            <a:r>
              <a:rPr lang="en-US" sz="1200" kern="1200" dirty="0">
                <a:solidFill>
                  <a:schemeClr val="tx1"/>
                </a:solidFill>
                <a:effectLst/>
                <a:latin typeface="+mn-lt"/>
                <a:ea typeface="+mn-ea"/>
                <a:cs typeface="+mn-cs"/>
              </a:rPr>
              <a:t>: In order to make sense of it all, your data needs context. Azure Time Series Insights provides robust modelling capabilities to form a clearer picture of your operations. By establishing hierarchies and relationships between data sets, you can do things like understand variables in your production line or find the cause behind a defective product.</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Analyze</a:t>
            </a:r>
            <a:r>
              <a:rPr lang="en-US" sz="1200" kern="1200" dirty="0">
                <a:solidFill>
                  <a:schemeClr val="tx1"/>
                </a:solidFill>
                <a:effectLst/>
                <a:latin typeface="+mn-lt"/>
                <a:ea typeface="+mn-ea"/>
                <a:cs typeface="+mn-cs"/>
              </a:rPr>
              <a:t>: Tell your data story with the right visualizations. The Azure Time Series Insights explorer provides a turnkey experience including rich graphic visualizations and tools to conduct deep analysis into your IoT data. You can explore and monitor, perform operational analysis, and even apply models for machine learning inference and predictions.</a:t>
            </a:r>
          </a:p>
          <a:p>
            <a:endParaRPr lang="en-US" dirty="0"/>
          </a:p>
          <a:p>
            <a:endParaRPr lang="en-US" dirty="0"/>
          </a:p>
          <a:p>
            <a:r>
              <a:rPr lang="en-US" b="1" dirty="0"/>
              <a:t>Transition: Let’s take a close look at how it all works: (clic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A98B09-248D-46AC-A938-69636AF4D1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9733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LLECT</a:t>
            </a:r>
          </a:p>
          <a:p>
            <a:endParaRPr lang="en-US" dirty="0"/>
          </a:p>
          <a:p>
            <a:r>
              <a:rPr lang="en-US" dirty="0"/>
              <a:t>Whether you have a couple of sensors or hundreds of thousands of them, they are constantly generating timeseries data – commonly called telemetry. Collecting all this data is the first step to unlocking its potential. </a:t>
            </a:r>
          </a:p>
          <a:p>
            <a:r>
              <a:rPr lang="en-US" dirty="0"/>
              <a:t>Depending on the types of data you are collecting and how you plan on using it, Time Series Insights leverages 4 different ingestion methods. Bring your historical data from your on-premises storage or historian and upload it directly to Time Series Insights. If you have unmodeled timeseries data, utilize Azure Event Hub for ingestion. Azure IoT Hub is best for device telemetry, and for your logical twin telemetry, Azure Digital Twins is the way to go. </a:t>
            </a:r>
          </a:p>
          <a:p>
            <a:endParaRPr lang="en-US" dirty="0"/>
          </a:p>
          <a:p>
            <a:r>
              <a:rPr lang="en-US" dirty="0"/>
              <a:t>No matter how you collect your data, Time Series Insights makes it seamless to ingest without having to write any upfront code, saving you valuable time and resources.</a:t>
            </a:r>
          </a:p>
          <a:p>
            <a:endParaRPr lang="en-US" dirty="0"/>
          </a:p>
          <a:p>
            <a:endParaRPr lang="en-US" dirty="0"/>
          </a:p>
          <a:p>
            <a:r>
              <a:rPr lang="en-US" b="1" dirty="0"/>
              <a:t>Transition: Next, your data needs processing. (clic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A98B09-248D-46AC-A938-69636AF4D1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79314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s your data is being collected, it is normalized through the Stream Processing engine before being sent to storage.  </a:t>
            </a:r>
            <a:r>
              <a:rPr lang="en-US" sz="1200" b="0" i="0" u="none" strike="noStrike" kern="1200" dirty="0">
                <a:solidFill>
                  <a:schemeClr val="tx1"/>
                </a:solidFill>
                <a:effectLst/>
                <a:latin typeface="+mn-lt"/>
                <a:ea typeface="+mn-ea"/>
                <a:cs typeface="+mn-cs"/>
              </a:rPr>
              <a:t>Along with the Stream Processing Engine, Time Series Insights also provides a powerful calculation engine to add conditional logic, derived timeseries, or the ability to recall last known value as part of the normalization process. This data is then returned to the Stream Processing Engine to be placed into either warm or cold storage.</a:t>
            </a:r>
          </a:p>
          <a:p>
            <a:endParaRPr lang="en-US" dirty="0"/>
          </a:p>
          <a:p>
            <a:r>
              <a:rPr lang="en-US" b="1" dirty="0"/>
              <a:t>Transition: So where do keep all this data? (clic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A98B09-248D-46AC-A938-69636AF4D1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53916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TORE</a:t>
            </a:r>
          </a:p>
          <a:p>
            <a:endParaRPr lang="en-US" b="1" dirty="0"/>
          </a:p>
          <a:p>
            <a:r>
              <a:rPr lang="en-US" sz="1200" kern="1200" dirty="0">
                <a:solidFill>
                  <a:schemeClr val="tx1"/>
                </a:solidFill>
                <a:effectLst/>
                <a:latin typeface="+mn-lt"/>
                <a:ea typeface="+mn-ea"/>
                <a:cs typeface="+mn-cs"/>
              </a:rPr>
              <a:t>Of course, now that you have all this data collected, you need somewhere to store it. Time Series Insights’ multilayered storage lets you amass data across warm and cold storages while enabling instant access to streaming and historical IoT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s your IoT operations grow, Time Series Insights gives you the flexibility to scale your storage needs on-demand.</a:t>
            </a:r>
            <a:r>
              <a:rPr lang="en-US" sz="1200" b="1" dirty="0"/>
              <a:t> </a:t>
            </a:r>
            <a:r>
              <a:rPr lang="en-US" sz="1200" b="0" dirty="0"/>
              <a:t>It’s easy to bring your own Azure Blob or ADLS Gen 2 storage or create new storage when you set up Time Series Insights. Either way,  the data is yours and can be accessed by other analytics solutions.</a:t>
            </a:r>
          </a:p>
          <a:p>
            <a:endParaRPr lang="en-US" b="1" dirty="0"/>
          </a:p>
          <a:p>
            <a:endParaRPr lang="en-US" b="1" dirty="0"/>
          </a:p>
          <a:p>
            <a:r>
              <a:rPr lang="en-US" b="1" dirty="0"/>
              <a:t>Transition: Your data has been collected and stored. How to you make sense of it? (clic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A98B09-248D-46AC-A938-69636AF4D1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2504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ODEL </a:t>
            </a:r>
          </a:p>
          <a:p>
            <a:endParaRPr lang="en-US" b="0" dirty="0"/>
          </a:p>
          <a:p>
            <a:r>
              <a:rPr lang="en-US" sz="1200" b="0" i="0" kern="1200" dirty="0">
                <a:solidFill>
                  <a:schemeClr val="tx1"/>
                </a:solidFill>
                <a:effectLst/>
                <a:latin typeface="+mn-lt"/>
                <a:ea typeface="+mn-ea"/>
                <a:cs typeface="+mn-cs"/>
              </a:rPr>
              <a:t>Traditionally, the data that's collected from your IoT devices lacks contextual information, which makes it difficult to find and analyze sensors quickly. The main motivation for Time Series Model is to simplify finding and analyzing IoT data. It achieves this objective by enabling the curation, maintenance, and enrichment of time series data to help prepare consumer-ready datasets for analytics. </a:t>
            </a:r>
          </a:p>
          <a:p>
            <a:r>
              <a:rPr lang="en-US" sz="1200" b="0" i="0" kern="1200" dirty="0">
                <a:solidFill>
                  <a:schemeClr val="tx1"/>
                </a:solidFill>
                <a:effectLst/>
                <a:latin typeface="+mn-lt"/>
                <a:ea typeface="+mn-ea"/>
                <a:cs typeface="+mn-cs"/>
              </a:rPr>
              <a:t>The modeling itself happens at several stages in the process. It is layered over the Stream Processing Engine, calculation engine and storage options, allowing you to contextualize your data by types, relationships and hierarchies. Over time, the model continually optimizes this data for higher performance queries. </a:t>
            </a:r>
            <a:endParaRPr lang="en-US" b="1" dirty="0"/>
          </a:p>
          <a:p>
            <a:endParaRPr lang="en-US" dirty="0"/>
          </a:p>
          <a:p>
            <a:endParaRPr lang="en-US" dirty="0"/>
          </a:p>
          <a:p>
            <a:r>
              <a:rPr lang="en-US" b="1" dirty="0"/>
              <a:t>Transition: Now let’s take a look at how you visualize all this data. (click)</a:t>
            </a:r>
            <a:br>
              <a:rPr lang="en-US" dirty="0"/>
            </a:b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A98B09-248D-46AC-A938-69636AF4D1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1980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a:p>
            <a:r>
              <a:rPr lang="en-US" b="1" dirty="0"/>
              <a:t>ANALYZE</a:t>
            </a:r>
          </a:p>
          <a:p>
            <a:endParaRPr lang="en-US" dirty="0"/>
          </a:p>
          <a:p>
            <a:r>
              <a:rPr lang="en-US" dirty="0"/>
              <a:t>Then, tell your data’s story with rich visualizations via a turnkey experience via the Time Series Insights Explorer. Or, use Time Series Insights’ open APIs and toolkits to connect 3rd party applications for visualizations across devices. Time Series Insights even connects natively to Power BI for a complete picture of your IoT infrastructure. </a:t>
            </a:r>
          </a:p>
          <a:p>
            <a:r>
              <a:rPr lang="en-US" dirty="0"/>
              <a:t>These interfaces connect to your data through the Time Series Query API which allows you to perform interactive queries to retrieve data from warm storage, cold storage or both. The Time Series Model adds further contextualization when the API call is returned.</a:t>
            </a:r>
          </a:p>
          <a:p>
            <a:endParaRPr lang="en-US" dirty="0"/>
          </a:p>
          <a:p>
            <a:endParaRPr lang="en-US" dirty="0"/>
          </a:p>
          <a:p>
            <a:r>
              <a:rPr lang="en-US" b="1" dirty="0"/>
              <a:t>Transition: But, there’s more to gain from Time Series Insights. (click)</a:t>
            </a:r>
            <a:br>
              <a:rPr lang="en-US" dirty="0"/>
            </a:b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A98B09-248D-46AC-A938-69636AF4D1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91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ce Time Series Insights is up and running, new data is synced continuously via the TSM Update API, providing you near real-time visualizations of your streaming data. You can also send logical twin models and device twin models directly to the TSM Update API for seamless integration into the Time Series Model.</a:t>
            </a:r>
          </a:p>
          <a:p>
            <a:endParaRPr lang="en-US" dirty="0"/>
          </a:p>
          <a:p>
            <a:endParaRPr lang="en-US" dirty="0"/>
          </a:p>
          <a:p>
            <a:r>
              <a:rPr lang="en-US" b="1" dirty="0"/>
              <a:t>Transition: Does Time Series Insights support AI and machine learning? (click)</a:t>
            </a:r>
          </a:p>
          <a:p>
            <a:br>
              <a:rPr lang="en-US" dirty="0"/>
            </a:b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A98B09-248D-46AC-A938-69636AF4D1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2169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dirty="0">
                <a:latin typeface="Segoe UI" panose="020B0502040204020203" pitchFamily="34" charset="0"/>
                <a:cs typeface="Segoe UI" panose="020B0502040204020203" pitchFamily="34" charset="0"/>
              </a:rPr>
              <a:t>We showed you one common use case for Time Series Insights- It’s all about uncovering Why something happened. What was different this time that produced another result.</a:t>
            </a:r>
          </a:p>
          <a:p>
            <a:pPr marL="0" indent="0">
              <a:buFont typeface="Arial" panose="020B0604020202020204" pitchFamily="34" charset="0"/>
              <a:buNone/>
            </a:pPr>
            <a:endParaRPr lang="en-US" sz="1200" dirty="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200" dirty="0">
                <a:latin typeface="Segoe UI" panose="020B0502040204020203" pitchFamily="34" charset="0"/>
                <a:cs typeface="Segoe UI" panose="020B0502040204020203" pitchFamily="34" charset="0"/>
              </a:rPr>
              <a:t>TSI is primed for these use cases because: </a:t>
            </a:r>
          </a:p>
          <a:p>
            <a:pPr marL="342900" indent="-342900">
              <a:buFont typeface="Arial" panose="020B0604020202020204" pitchFamily="34" charset="0"/>
              <a:buChar char="•"/>
            </a:pPr>
            <a:endParaRPr lang="en-US" sz="1200" dirty="0">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1200" dirty="0">
                <a:latin typeface="Segoe UI" panose="020B0502040204020203" pitchFamily="34" charset="0"/>
                <a:cs typeface="Segoe UI" panose="020B0502040204020203" pitchFamily="34" charset="0"/>
              </a:rPr>
              <a:t>No upfront data preparation needed</a:t>
            </a:r>
          </a:p>
          <a:p>
            <a:pPr marL="342900" indent="-342900">
              <a:buFont typeface="Arial" panose="020B0604020202020204" pitchFamily="34" charset="0"/>
              <a:buChar char="•"/>
            </a:pPr>
            <a:r>
              <a:rPr lang="en-US" sz="1200" dirty="0">
                <a:latin typeface="Segoe UI" panose="020B0502040204020203" pitchFamily="34" charset="0"/>
                <a:cs typeface="Segoe UI" panose="020B0502040204020203" pitchFamily="34" charset="0"/>
              </a:rPr>
              <a:t>Connect to billions of events in Azure IoT Hub or Azure Event Hub, and visualize &amp; analyze billions of events to spot anomalies and discover hidden trends in your data</a:t>
            </a:r>
          </a:p>
          <a:p>
            <a:pPr marL="342900" indent="-342900">
              <a:buFont typeface="Arial" panose="020B0604020202020204" pitchFamily="34" charset="0"/>
              <a:buChar char="•"/>
            </a:pPr>
            <a:r>
              <a:rPr lang="en-US" sz="1200" dirty="0">
                <a:latin typeface="Segoe UI" panose="020B0502040204020203" pitchFamily="34" charset="0"/>
                <a:cs typeface="Segoe UI" panose="020B0502040204020203" pitchFamily="34" charset="0"/>
              </a:rPr>
              <a:t>Simple and easy to use exploration experience, while at the same time providing granular text-based querying for advanced users who are familiar with SQL</a:t>
            </a:r>
          </a:p>
          <a:p>
            <a:pPr marL="342900" indent="-342900">
              <a:buFont typeface="Arial" panose="020B0604020202020204" pitchFamily="34" charset="0"/>
              <a:buChar char="•"/>
            </a:pPr>
            <a:r>
              <a:rPr lang="en-US" sz="1200" dirty="0">
                <a:latin typeface="Segoe UI" panose="020B0502040204020203" pitchFamily="34" charset="0"/>
                <a:cs typeface="Segoe UI" panose="020B0502040204020203" pitchFamily="34" charset="0"/>
              </a:rPr>
              <a:t>Perform DevOps analysis to get to the root cause of a bug in an IoT solution or identify areas to investigate for data science initiatives</a:t>
            </a:r>
          </a:p>
          <a:p>
            <a:endParaRPr lang="en-US" dirty="0"/>
          </a:p>
          <a:p>
            <a:r>
              <a:rPr lang="en-US" dirty="0"/>
              <a:t>INSERT CUSTOMER STORY/ EXAMP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8331B6-E273-4368-9182-1C0EA1AA6A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9499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Product Demo using the Business Scenario: </a:t>
            </a:r>
            <a:r>
              <a:rPr lang="en-US" sz="2800" u="sng" dirty="0">
                <a:solidFill>
                  <a:srgbClr val="0563C1"/>
                </a:solidFill>
                <a:effectLst/>
                <a:latin typeface="Calibri" panose="020F0502020204030204" pitchFamily="34" charset="0"/>
                <a:ea typeface="Calibri" panose="020F0502020204030204" pitchFamily="34" charset="0"/>
                <a:hlinkClick r:id="rId3"/>
              </a:rPr>
              <a:t>https://insights.timeseries.azure.com/demo</a:t>
            </a:r>
            <a:endParaRPr lang="en-US" sz="18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3452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345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171717"/>
                </a:solidFill>
                <a:effectLst/>
                <a:latin typeface="Segoe UI" panose="020B0502040204020203" pitchFamily="34" charset="0"/>
              </a:rPr>
              <a:t>The </a:t>
            </a:r>
            <a:r>
              <a:rPr lang="en-US" b="1" i="0" dirty="0">
                <a:solidFill>
                  <a:srgbClr val="171717"/>
                </a:solidFill>
                <a:effectLst/>
                <a:latin typeface="Segoe UI" panose="020B0502040204020203" pitchFamily="34" charset="0"/>
              </a:rPr>
              <a:t>hot path</a:t>
            </a:r>
            <a:r>
              <a:rPr lang="en-US" b="0" i="0" dirty="0">
                <a:solidFill>
                  <a:srgbClr val="171717"/>
                </a:solidFill>
                <a:effectLst/>
                <a:latin typeface="Segoe UI" panose="020B0502040204020203" pitchFamily="34" charset="0"/>
              </a:rPr>
              <a:t> analyzes data in near-real-time, as it arrives. In the hot path, telemetry must be processed with very low latency. The hot path is typically implemented using a stream processing engine. The output may trigger an alert, or be written to a structured format that can be queried using analytical tools.</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t>
            </a:r>
            <a:r>
              <a:rPr lang="en-US" b="1" i="0" dirty="0">
                <a:solidFill>
                  <a:srgbClr val="171717"/>
                </a:solidFill>
                <a:effectLst/>
                <a:latin typeface="Segoe UI" panose="020B0502040204020203" pitchFamily="34" charset="0"/>
              </a:rPr>
              <a:t>cold path</a:t>
            </a:r>
            <a:r>
              <a:rPr lang="en-US" b="0" i="0" dirty="0">
                <a:solidFill>
                  <a:srgbClr val="171717"/>
                </a:solidFill>
                <a:effectLst/>
                <a:latin typeface="Segoe UI" panose="020B0502040204020203" pitchFamily="34" charset="0"/>
              </a:rPr>
              <a:t> performs batch processing at longer intervals (hourly or daily). The cold path typically operates over large volumes of data, but the results don't need to be as timely as the hot path. In the cold path, raw telemetry is captured and then fed into a batch process.</a:t>
            </a:r>
          </a:p>
          <a:p>
            <a:pPr algn="l">
              <a:buFont typeface="Arial" panose="020B0604020202020204" pitchFamily="34" charset="0"/>
              <a:buChar char="•"/>
            </a:pPr>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Stream processing</a:t>
            </a:r>
            <a:r>
              <a:rPr lang="en-US" b="0" i="0" dirty="0">
                <a:solidFill>
                  <a:srgbClr val="171717"/>
                </a:solidFill>
                <a:effectLst/>
                <a:latin typeface="Segoe UI" panose="020B0502040204020203" pitchFamily="34" charset="0"/>
              </a:rPr>
              <a:t>. Stream processing analyzes large streams of data records and evaluates rules for those streams. For stream processing, we recommend </a:t>
            </a:r>
            <a:r>
              <a:rPr lang="en-US" b="0" i="0" u="none" strike="noStrike" dirty="0">
                <a:solidFill>
                  <a:srgbClr val="171717"/>
                </a:solidFill>
                <a:effectLst/>
                <a:latin typeface="Segoe UI" panose="020B0502040204020203" pitchFamily="34" charset="0"/>
                <a:hlinkClick r:id="rId3"/>
              </a:rPr>
              <a:t>Azure Stream Analytics</a:t>
            </a:r>
            <a:r>
              <a:rPr lang="en-US" b="0" i="0" dirty="0">
                <a:solidFill>
                  <a:srgbClr val="171717"/>
                </a:solidFill>
                <a:effectLst/>
                <a:latin typeface="Segoe UI" panose="020B0502040204020203" pitchFamily="34" charset="0"/>
              </a:rPr>
              <a:t>. Stream Analytics can execute complex analysis at scale, using time windowing functions, stream aggregations, and external data source joins. Another option is Apache Spark on </a:t>
            </a:r>
            <a:r>
              <a:rPr lang="en-US" b="0" i="0" u="none" strike="noStrike" dirty="0">
                <a:solidFill>
                  <a:srgbClr val="171717"/>
                </a:solidFill>
                <a:effectLst/>
                <a:latin typeface="Segoe UI" panose="020B0502040204020203" pitchFamily="34" charset="0"/>
                <a:hlinkClick r:id="rId4"/>
              </a:rPr>
              <a:t>Azure Databricks</a:t>
            </a:r>
            <a:r>
              <a:rPr lang="en-US" b="0" i="0" dirty="0">
                <a:solidFill>
                  <a:srgbClr val="171717"/>
                </a:solidFill>
                <a:effectLst/>
                <a:latin typeface="Segoe UI" panose="020B0502040204020203" pitchFamily="34" charset="0"/>
              </a:rPr>
              <a:t>.</a:t>
            </a:r>
          </a:p>
          <a:p>
            <a:pPr algn="l"/>
            <a:r>
              <a:rPr lang="en-US" b="1" i="0" dirty="0">
                <a:solidFill>
                  <a:srgbClr val="171717"/>
                </a:solidFill>
                <a:effectLst/>
                <a:latin typeface="Segoe UI" panose="020B0502040204020203" pitchFamily="34" charset="0"/>
              </a:rPr>
              <a:t>Machine learning</a:t>
            </a:r>
            <a:r>
              <a:rPr lang="en-US" b="0" i="0" dirty="0">
                <a:solidFill>
                  <a:srgbClr val="171717"/>
                </a:solidFill>
                <a:effectLst/>
                <a:latin typeface="Segoe UI" panose="020B0502040204020203" pitchFamily="34" charset="0"/>
              </a:rPr>
              <a:t> allows predictive algorithms to be executed over historical telemetry data, enabling scenarios such as predictive maintenance. For machine learning, we recommend </a:t>
            </a:r>
            <a:r>
              <a:rPr lang="en-US" b="0" i="0" u="none" strike="noStrike" dirty="0">
                <a:solidFill>
                  <a:srgbClr val="171717"/>
                </a:solidFill>
                <a:effectLst/>
                <a:latin typeface="Segoe UI" panose="020B0502040204020203" pitchFamily="34" charset="0"/>
                <a:hlinkClick r:id="rId5"/>
              </a:rPr>
              <a:t>Azure Machine Learning</a:t>
            </a:r>
            <a:r>
              <a:rPr lang="en-US" b="0" i="0" dirty="0">
                <a:solidFill>
                  <a:srgbClr val="171717"/>
                </a:solidFill>
                <a:effectLst/>
                <a:latin typeface="Segoe UI" panose="020B0502040204020203" pitchFamily="34" charset="0"/>
              </a:rPr>
              <a:t>.</a:t>
            </a:r>
          </a:p>
          <a:p>
            <a:pPr algn="l"/>
            <a:r>
              <a:rPr lang="en-US" b="1" i="0" dirty="0">
                <a:solidFill>
                  <a:srgbClr val="171717"/>
                </a:solidFill>
                <a:effectLst/>
                <a:latin typeface="Segoe UI" panose="020B0502040204020203" pitchFamily="34" charset="0"/>
              </a:rPr>
              <a:t>Warm path storage</a:t>
            </a:r>
            <a:r>
              <a:rPr lang="en-US" b="0" i="0" dirty="0">
                <a:solidFill>
                  <a:srgbClr val="171717"/>
                </a:solidFill>
                <a:effectLst/>
                <a:latin typeface="Segoe UI" panose="020B0502040204020203" pitchFamily="34" charset="0"/>
              </a:rPr>
              <a:t> holds data that must be available immediately from device for reporting and visualization. For warm path storage, we recommend </a:t>
            </a:r>
            <a:r>
              <a:rPr lang="en-US" b="0" i="0" u="none" strike="noStrike" dirty="0">
                <a:solidFill>
                  <a:srgbClr val="171717"/>
                </a:solidFill>
                <a:effectLst/>
                <a:latin typeface="Segoe UI" panose="020B0502040204020203" pitchFamily="34" charset="0"/>
                <a:hlinkClick r:id="rId6"/>
              </a:rPr>
              <a:t>Cosmos DB</a:t>
            </a:r>
            <a:r>
              <a:rPr lang="en-US" b="0" i="0" dirty="0">
                <a:solidFill>
                  <a:srgbClr val="171717"/>
                </a:solidFill>
                <a:effectLst/>
                <a:latin typeface="Segoe UI" panose="020B0502040204020203" pitchFamily="34" charset="0"/>
              </a:rPr>
              <a:t>. Cosmos DB is a globally distributed, multi-model database.</a:t>
            </a:r>
          </a:p>
          <a:p>
            <a:pPr algn="l"/>
            <a:r>
              <a:rPr lang="en-US" b="1" i="0" dirty="0">
                <a:solidFill>
                  <a:srgbClr val="171717"/>
                </a:solidFill>
                <a:effectLst/>
                <a:latin typeface="Segoe UI" panose="020B0502040204020203" pitchFamily="34" charset="0"/>
              </a:rPr>
              <a:t>Cold path storage</a:t>
            </a:r>
            <a:r>
              <a:rPr lang="en-US" b="0" i="0" dirty="0">
                <a:solidFill>
                  <a:srgbClr val="171717"/>
                </a:solidFill>
                <a:effectLst/>
                <a:latin typeface="Segoe UI" panose="020B0502040204020203" pitchFamily="34" charset="0"/>
              </a:rPr>
              <a:t> holds data that is kept longer-term and is used for batch processing. For cold path storage, we recommend </a:t>
            </a:r>
            <a:r>
              <a:rPr lang="en-US" b="0" i="0" u="none" strike="noStrike" dirty="0">
                <a:solidFill>
                  <a:srgbClr val="171717"/>
                </a:solidFill>
                <a:effectLst/>
                <a:latin typeface="Segoe UI" panose="020B0502040204020203" pitchFamily="34" charset="0"/>
                <a:hlinkClick r:id="rId7"/>
              </a:rPr>
              <a:t>Azure Blob Storage</a:t>
            </a:r>
            <a:r>
              <a:rPr lang="en-US" b="0" i="0" dirty="0">
                <a:solidFill>
                  <a:srgbClr val="171717"/>
                </a:solidFill>
                <a:effectLst/>
                <a:latin typeface="Segoe UI" panose="020B0502040204020203" pitchFamily="34" charset="0"/>
              </a:rPr>
              <a:t>. Data can be archived in Blob storage indefinitely at low cost, and is easily accessible for batch processing.</a:t>
            </a:r>
          </a:p>
          <a:p>
            <a:pPr algn="l"/>
            <a:r>
              <a:rPr lang="en-US" b="1" i="0" dirty="0">
                <a:solidFill>
                  <a:srgbClr val="171717"/>
                </a:solidFill>
                <a:effectLst/>
                <a:latin typeface="Segoe UI" panose="020B0502040204020203" pitchFamily="34" charset="0"/>
              </a:rPr>
              <a:t>Data transformation</a:t>
            </a:r>
            <a:r>
              <a:rPr lang="en-US" b="0" i="0" dirty="0">
                <a:solidFill>
                  <a:srgbClr val="171717"/>
                </a:solidFill>
                <a:effectLst/>
                <a:latin typeface="Segoe UI" panose="020B0502040204020203" pitchFamily="34" charset="0"/>
              </a:rPr>
              <a:t> manipulates or aggregates the telemetry stream. Examples include protocol transformation, such as converting binary data to JSON, or combining data points. If the data must be transformed before reaching IoT Hub, we recommend using a </a:t>
            </a:r>
            <a:r>
              <a:rPr lang="en-US" b="0" i="0" u="none" strike="noStrike" dirty="0">
                <a:solidFill>
                  <a:srgbClr val="171717"/>
                </a:solidFill>
                <a:effectLst/>
                <a:latin typeface="Segoe UI" panose="020B0502040204020203" pitchFamily="34" charset="0"/>
                <a:hlinkClick r:id="rId8"/>
              </a:rPr>
              <a:t>protocol gateway</a:t>
            </a:r>
            <a:r>
              <a:rPr lang="en-US" b="0" i="0" dirty="0">
                <a:solidFill>
                  <a:srgbClr val="171717"/>
                </a:solidFill>
                <a:effectLst/>
                <a:latin typeface="Segoe UI" panose="020B0502040204020203" pitchFamily="34" charset="0"/>
              </a:rPr>
              <a:t> (not shown). Otherwise, data can be transformed after it reaches IoT Hub. In that case, we recommend using </a:t>
            </a:r>
            <a:r>
              <a:rPr lang="en-US" b="0" i="0" u="none" strike="noStrike" dirty="0">
                <a:solidFill>
                  <a:srgbClr val="171717"/>
                </a:solidFill>
                <a:effectLst/>
                <a:latin typeface="Segoe UI" panose="020B0502040204020203" pitchFamily="34" charset="0"/>
                <a:hlinkClick r:id="rId9"/>
              </a:rPr>
              <a:t>Azure Functions</a:t>
            </a:r>
            <a:r>
              <a:rPr lang="en-US" b="0" i="0" dirty="0">
                <a:solidFill>
                  <a:srgbClr val="171717"/>
                </a:solidFill>
                <a:effectLst/>
                <a:latin typeface="Segoe UI" panose="020B0502040204020203" pitchFamily="34" charset="0"/>
              </a:rPr>
              <a:t>, which has built-in integration with IoT Hub, Cosmos DB, and Blob Storage.</a:t>
            </a:r>
          </a:p>
          <a:p>
            <a:pPr algn="l"/>
            <a:r>
              <a:rPr lang="en-US" b="1" i="0" dirty="0">
                <a:solidFill>
                  <a:srgbClr val="171717"/>
                </a:solidFill>
                <a:effectLst/>
                <a:latin typeface="Segoe UI" panose="020B0502040204020203" pitchFamily="34" charset="0"/>
              </a:rPr>
              <a:t>Business process integration</a:t>
            </a:r>
            <a:r>
              <a:rPr lang="en-US" b="0" i="0" dirty="0">
                <a:solidFill>
                  <a:srgbClr val="171717"/>
                </a:solidFill>
                <a:effectLst/>
                <a:latin typeface="Segoe UI" panose="020B0502040204020203" pitchFamily="34" charset="0"/>
              </a:rPr>
              <a:t> performs actions based on insights from the device data. This could include storing informational messages, raising alarms, sending email or SMS messages, or integrating with CRM. We recommend using </a:t>
            </a:r>
            <a:r>
              <a:rPr lang="en-US" b="0" i="0" u="none" strike="noStrike" dirty="0">
                <a:solidFill>
                  <a:srgbClr val="171717"/>
                </a:solidFill>
                <a:effectLst/>
                <a:latin typeface="Segoe UI" panose="020B0502040204020203" pitchFamily="34" charset="0"/>
                <a:hlinkClick r:id="rId10"/>
              </a:rPr>
              <a:t>Azure Logic Apps</a:t>
            </a:r>
            <a:r>
              <a:rPr lang="en-US" b="0" i="0" dirty="0">
                <a:solidFill>
                  <a:srgbClr val="171717"/>
                </a:solidFill>
                <a:effectLst/>
                <a:latin typeface="Segoe UI" panose="020B0502040204020203" pitchFamily="34" charset="0"/>
              </a:rPr>
              <a:t> for business process integration.</a:t>
            </a:r>
          </a:p>
          <a:p>
            <a:pPr algn="l">
              <a:buFont typeface="Arial" panose="020B0604020202020204" pitchFamily="34" charset="0"/>
              <a:buChar char="•"/>
            </a:pPr>
            <a:endParaRPr lang="en-US" b="0" i="0" dirty="0">
              <a:solidFill>
                <a:srgbClr val="171717"/>
              </a:solidFill>
              <a:effectLst/>
              <a:latin typeface="Segoe UI" panose="020B0502040204020203" pitchFamily="34" charset="0"/>
            </a:endParaRPr>
          </a:p>
          <a:p>
            <a:pPr marL="0" indent="0">
              <a:buFont typeface="+mj-lt"/>
              <a:buNone/>
            </a:pPr>
            <a:endParaRPr lang="en-US" b="1" i="0" dirty="0">
              <a:solidFill>
                <a:srgbClr val="171717"/>
              </a:solidFill>
              <a:effectLst/>
              <a:latin typeface="Segoe UI" panose="020B0502040204020203" pitchFamily="34" charset="0"/>
            </a:endParaRPr>
          </a:p>
          <a:p>
            <a:pPr marL="0" indent="0">
              <a:buFont typeface="+mj-lt"/>
              <a:buNone/>
            </a:pPr>
            <a:endParaRPr lang="en-US" b="1" i="0" dirty="0">
              <a:solidFill>
                <a:srgbClr val="171717"/>
              </a:solidFill>
              <a:effectLst/>
              <a:latin typeface="Segoe UI" panose="020B0502040204020203" pitchFamily="34" charset="0"/>
            </a:endParaRPr>
          </a:p>
          <a:p>
            <a:pPr marL="0" indent="0">
              <a:buFont typeface="+mj-lt"/>
              <a:buNone/>
            </a:pPr>
            <a:r>
              <a:rPr lang="en-US" b="1" i="0" dirty="0">
                <a:solidFill>
                  <a:srgbClr val="171717"/>
                </a:solidFill>
                <a:effectLst/>
                <a:latin typeface="Segoe UI" panose="020B0502040204020203" pitchFamily="34" charset="0"/>
              </a:rPr>
              <a:t>Device provisioning.</a:t>
            </a:r>
            <a:r>
              <a:rPr lang="en-US" b="0" i="0" dirty="0">
                <a:solidFill>
                  <a:srgbClr val="171717"/>
                </a:solidFill>
                <a:effectLst/>
                <a:latin typeface="Segoe UI" panose="020B0502040204020203" pitchFamily="34" charset="0"/>
              </a:rPr>
              <a:t> For registering and connecting large sets of devices, we recommend using the </a:t>
            </a:r>
            <a:r>
              <a:rPr lang="en-US" b="0" i="0" u="none" strike="noStrike" dirty="0">
                <a:effectLst/>
                <a:latin typeface="Segoe UI" panose="020B0502040204020203" pitchFamily="34" charset="0"/>
                <a:hlinkClick r:id="rId11"/>
              </a:rPr>
              <a:t>IoT Hub Device Provisioning Service</a:t>
            </a:r>
            <a:r>
              <a:rPr lang="en-US" b="0" i="0" dirty="0">
                <a:solidFill>
                  <a:srgbClr val="171717"/>
                </a:solidFill>
                <a:effectLst/>
                <a:latin typeface="Segoe UI" panose="020B0502040204020203" pitchFamily="34" charset="0"/>
              </a:rPr>
              <a:t> (DPS). DPS lets you assign and register devices to specific Azure IoT Hub endpoints at scale.</a:t>
            </a:r>
          </a:p>
          <a:p>
            <a:pPr marL="0" indent="0">
              <a:buFont typeface="+mj-lt"/>
              <a:buNone/>
            </a:pPr>
            <a:endParaRPr lang="en-US" b="0" i="0" dirty="0">
              <a:solidFill>
                <a:srgbClr val="171717"/>
              </a:solidFill>
              <a:effectLst/>
              <a:latin typeface="Segoe UI" panose="020B0502040204020203" pitchFamily="34" charset="0"/>
            </a:endParaRPr>
          </a:p>
          <a:p>
            <a:pPr marL="0" indent="0">
              <a:buFont typeface="+mj-lt"/>
              <a:buNone/>
            </a:pPr>
            <a:r>
              <a:rPr lang="en-AU" dirty="0"/>
              <a:t>Quick recap from the </a:t>
            </a:r>
            <a:r>
              <a:rPr lang="en-US" dirty="0">
                <a:solidFill>
                  <a:schemeClr val="dk1"/>
                </a:solidFill>
              </a:rPr>
              <a:t>Deciphering Data Introduction session</a:t>
            </a:r>
            <a:endParaRPr lang="en-AU" dirty="0"/>
          </a:p>
          <a:p>
            <a:pPr marL="228600" indent="-228600">
              <a:buFont typeface="+mj-lt"/>
              <a:buAutoNum type="arabicPeriod"/>
            </a:pPr>
            <a:r>
              <a:rPr lang="en-AU" dirty="0"/>
              <a:t>Things :</a:t>
            </a:r>
          </a:p>
          <a:p>
            <a:pPr marL="228600" lvl="6" indent="-228600">
              <a:buFont typeface="Arial" panose="020B0604020202020204" pitchFamily="34" charset="0"/>
              <a:buChar char="•"/>
            </a:pPr>
            <a:r>
              <a:rPr lang="en-AU" dirty="0"/>
              <a:t>Directly connected, via a gateway, or intelligent edge devices</a:t>
            </a:r>
          </a:p>
          <a:p>
            <a:pPr marL="228600" lvl="4" indent="-228600">
              <a:buFont typeface="Arial" panose="020B0604020202020204" pitchFamily="34" charset="0"/>
              <a:buChar char="•"/>
            </a:pPr>
            <a:r>
              <a:rPr lang="en-AU" dirty="0"/>
              <a:t>If you are a device developer you need to be thinking about message types, data types, serialisation, and metadata as these simply data processing in the cloud.</a:t>
            </a:r>
          </a:p>
          <a:p>
            <a:pPr marL="228600" lvl="4" indent="-228600">
              <a:buFont typeface="+mj-lt"/>
              <a:buAutoNum type="arabicPeriod"/>
            </a:pPr>
            <a:r>
              <a:rPr lang="en-AU" dirty="0"/>
              <a:t>Insights</a:t>
            </a:r>
          </a:p>
          <a:p>
            <a:pPr marL="228600" lvl="5" indent="-228600">
              <a:buFont typeface="Arial" panose="020B0604020202020204" pitchFamily="34" charset="0"/>
              <a:buChar char="•"/>
            </a:pPr>
            <a:r>
              <a:rPr lang="en-AU" dirty="0"/>
              <a:t>Stream processing, data transformation, and Storing</a:t>
            </a:r>
          </a:p>
          <a:p>
            <a:pPr marL="228600" lvl="5" indent="-228600">
              <a:buFont typeface="Arial" panose="020B0604020202020204" pitchFamily="34" charset="0"/>
              <a:buChar char="•"/>
            </a:pPr>
            <a:r>
              <a:rPr lang="en-AU" dirty="0"/>
              <a:t>Remember to consider the volume and value of data as this will guide you as to where you are storing data</a:t>
            </a:r>
          </a:p>
          <a:p>
            <a:pPr marL="228600" lvl="5" indent="-228600">
              <a:buFont typeface="Arial" panose="020B0604020202020204" pitchFamily="34" charset="0"/>
              <a:buChar char="•"/>
            </a:pPr>
            <a:r>
              <a:rPr lang="en-AU" dirty="0"/>
              <a:t>Actions</a:t>
            </a:r>
          </a:p>
          <a:p>
            <a:pPr marL="228600" marR="0" lvl="5" indent="-22860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Integration with business systems</a:t>
            </a:r>
          </a:p>
          <a:p>
            <a:pPr marL="228600" lvl="5" indent="-228600">
              <a:buFont typeface="+mj-lt"/>
              <a:buAutoNum type="arabicPeriod"/>
            </a:pPr>
            <a:r>
              <a:rPr lang="en-AU" dirty="0"/>
              <a:t>Make better business decision based on data</a:t>
            </a:r>
          </a:p>
          <a:p>
            <a:pPr marL="228600" lvl="5" indent="-228600">
              <a:buFont typeface="Arial" panose="020B0604020202020204" pitchFamily="34" charset="0"/>
              <a:buChar char="•"/>
            </a:pPr>
            <a:r>
              <a:rPr lang="en-AU" dirty="0"/>
              <a:t>Opportunities to automate</a:t>
            </a:r>
          </a:p>
          <a:p>
            <a:pPr marL="228600" lvl="5" indent="-228600">
              <a:buFont typeface="Arial" panose="020B0604020202020204" pitchFamily="34" charset="0"/>
              <a:buChar char="•"/>
            </a:pPr>
            <a:r>
              <a:rPr lang="en-AU" dirty="0"/>
              <a:t>Batch analytics and training machine learning</a:t>
            </a:r>
          </a:p>
          <a:p>
            <a:pPr marL="228600" lvl="5" indent="-228600">
              <a:buFont typeface="Arial" panose="020B0604020202020204" pitchFamily="34" charset="0"/>
              <a:buChar char="•"/>
            </a:pPr>
            <a:endParaRPr lang="en-AU" dirty="0"/>
          </a:p>
        </p:txBody>
      </p:sp>
    </p:spTree>
    <p:extLst>
      <p:ext uri="{BB962C8B-B14F-4D97-AF65-F5344CB8AC3E}">
        <p14:creationId xmlns:p14="http://schemas.microsoft.com/office/powerpoint/2010/main" val="32407862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dditionally, MS Learn offers </a:t>
            </a:r>
            <a:r>
              <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8 Learning Paths </a:t>
            </a: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designed to help with certification exam prep as well as deeper concepts targeted at different roles including IoT developer, data engineer, solution architect, and administrat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Aka.ms/30dayscs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91741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Aka.ms/30dayscs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5040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28402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6603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434" rtl="0" eaLnBrk="1" fontAlgn="auto" latinLnBrk="0" hangingPunct="1">
              <a:lnSpc>
                <a:spcPct val="100000"/>
              </a:lnSpc>
              <a:spcBef>
                <a:spcPct val="0"/>
              </a:spcBef>
              <a:spcAft>
                <a:spcPts val="600"/>
              </a:spcAft>
              <a:buClrTx/>
              <a:buSzTx/>
              <a:buFontTx/>
              <a:buNone/>
              <a:tabLst/>
              <a:defRPr/>
            </a:pPr>
            <a:r>
              <a:rPr lang="en-US" sz="1200" b="1" dirty="0">
                <a:gradFill>
                  <a:gsLst>
                    <a:gs pos="0">
                      <a:srgbClr val="0078D3"/>
                    </a:gs>
                    <a:gs pos="100000">
                      <a:srgbClr val="0078D3"/>
                    </a:gs>
                  </a:gsLst>
                  <a:lin ang="5400000" scaled="0"/>
                </a:gradFill>
                <a:latin typeface="+mn-lt"/>
                <a:cs typeface="Segoe UI" pitchFamily="34" charset="0"/>
              </a:rPr>
              <a:t>Azure IoT Central </a:t>
            </a:r>
            <a:r>
              <a:rPr lang="en-US" sz="1200" b="0" i="0" kern="1200" dirty="0">
                <a:solidFill>
                  <a:srgbClr val="181210"/>
                </a:solidFill>
                <a:effectLst/>
                <a:latin typeface="+mn-lt"/>
                <a:ea typeface="+mn-ea"/>
                <a:cs typeface="+mn-cs"/>
              </a:rPr>
              <a:t>is the easiest and most cost-effective way to connect and manage devices at scale. It</a:t>
            </a:r>
            <a:r>
              <a:rPr lang="en-US" sz="1200" b="0" i="0" kern="1200" noProof="0" dirty="0">
                <a:solidFill>
                  <a:srgbClr val="181210"/>
                </a:solidFill>
                <a:effectLst/>
                <a:latin typeface="+mn-lt"/>
                <a:ea typeface="+mn-ea"/>
                <a:cs typeface="+mn-cs"/>
              </a:rPr>
              <a:t> connects your IoT devices to the cloud faster than any other platform. You can find new devices matched to your solution in the Azure Certified for IoT device catalog. Also, we understand how hard it is to keep devices connected and healthy. Azure IoT Central lets you reconfigure and update devices with centralized device management. In addition, the connectors and extensibility APIs bridge the gap between your business applications and IoT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50" dirty="0">
              <a:gradFill>
                <a:gsLst>
                  <a:gs pos="0">
                    <a:srgbClr val="0078D3"/>
                  </a:gs>
                  <a:gs pos="100000">
                    <a:srgbClr val="0078D3"/>
                  </a:gs>
                </a:gsLst>
                <a:lin ang="5400000" scaled="1"/>
              </a:gradFill>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dirty="0">
                <a:gradFill>
                  <a:gsLst>
                    <a:gs pos="0">
                      <a:srgbClr val="0078D3"/>
                    </a:gs>
                    <a:gs pos="100000">
                      <a:srgbClr val="0078D3"/>
                    </a:gs>
                  </a:gsLst>
                  <a:lin ang="5400000" scaled="0"/>
                </a:gradFill>
                <a:latin typeface="+mn-lt"/>
                <a:cs typeface="Segoe UI" pitchFamily="34" charset="0"/>
              </a:rPr>
              <a:t>Azure IoT Hub is a Platform as a Service. </a:t>
            </a:r>
            <a:r>
              <a:rPr lang="en-US" sz="1200" b="0" dirty="0">
                <a:gradFill>
                  <a:gsLst>
                    <a:gs pos="0">
                      <a:srgbClr val="0078D3"/>
                    </a:gs>
                    <a:gs pos="100000">
                      <a:srgbClr val="0078D3"/>
                    </a:gs>
                  </a:gsLst>
                  <a:lin ang="5400000" scaled="0"/>
                </a:gradFill>
                <a:latin typeface="+mn-lt"/>
                <a:cs typeface="Segoe UI" pitchFamily="34" charset="0"/>
              </a:rPr>
              <a:t>With it you can do the follow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Establish bi-directional communication with billions of IoT de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Enhance security with per device authent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Provision devices at scale with IoT Hub Device Provisioning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Manage devices at scale with device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Use </a:t>
            </a:r>
            <a:r>
              <a:rPr lang="en-US" dirty="0">
                <a:gradFill>
                  <a:gsLst>
                    <a:gs pos="0">
                      <a:srgbClr val="000000"/>
                    </a:gs>
                    <a:gs pos="100000">
                      <a:srgbClr val="000000"/>
                    </a:gs>
                  </a:gsLst>
                  <a:lin ang="5400000" scaled="0"/>
                </a:gradFill>
                <a:latin typeface="+mn-lt"/>
              </a:rPr>
              <a:t>multi-language and open source SD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81210"/>
                </a:solidFill>
                <a:effectLst/>
                <a:latin typeface="+mn-lt"/>
              </a:rPr>
              <a:t>A Digital Twin (DT) </a:t>
            </a:r>
            <a:r>
              <a:rPr lang="en-US" b="0" i="0" dirty="0">
                <a:solidFill>
                  <a:srgbClr val="181210"/>
                </a:solidFill>
                <a:effectLst/>
                <a:latin typeface="+mn-lt"/>
              </a:rPr>
              <a:t>is a dynamic digital representation of a physical piece of equipment, or thing, and its associated environment.  Every DT has a dynamic data model containing only a few, or even thousands, of data attributes of the physical thing or system it represents.  Attributes are associated with sensors that are measuring temperature, pressure, and other variables and associated physics in order to represent real-world operating conditions as well as static values like the installation date or OEM. </a:t>
            </a:r>
            <a:r>
              <a:rPr lang="en-US" sz="1200" kern="1200" dirty="0">
                <a:solidFill>
                  <a:schemeClr val="tx1"/>
                </a:solidFill>
                <a:effectLst/>
                <a:latin typeface="+mn-lt"/>
                <a:ea typeface="+mn-ea"/>
                <a:cs typeface="+mn-cs"/>
              </a:rPr>
              <a:t>Azure Digital Twins is the development platform for IoT solutions that model the real world. </a:t>
            </a:r>
            <a:endParaRPr lang="en-US" b="0" i="0" dirty="0">
              <a:solidFill>
                <a:srgbClr val="181210"/>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000000"/>
                    </a:gs>
                    <a:gs pos="100000">
                      <a:srgbClr val="000000"/>
                    </a:gs>
                  </a:gsLst>
                  <a:lin ang="5400000" scaled="0"/>
                </a:gradFill>
                <a:latin typeface="+mn-lt"/>
              </a:rPr>
              <a: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51413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434" rtl="0" eaLnBrk="1" fontAlgn="auto" latinLnBrk="0" hangingPunct="1">
              <a:lnSpc>
                <a:spcPct val="100000"/>
              </a:lnSpc>
              <a:spcBef>
                <a:spcPct val="0"/>
              </a:spcBef>
              <a:spcAft>
                <a:spcPts val="600"/>
              </a:spcAft>
              <a:buClrTx/>
              <a:buSzTx/>
              <a:buFontTx/>
              <a:buNone/>
              <a:tabLst/>
              <a:defRPr/>
            </a:pPr>
            <a:r>
              <a:rPr lang="en-US" sz="1200" dirty="0">
                <a:gradFill>
                  <a:gsLst>
                    <a:gs pos="0">
                      <a:srgbClr val="000000"/>
                    </a:gs>
                    <a:gs pos="100000">
                      <a:srgbClr val="000000"/>
                    </a:gs>
                  </a:gsLst>
                  <a:lin ang="5400000" scaled="0"/>
                </a:gradFill>
                <a:latin typeface="+mn-lt"/>
              </a:rPr>
              <a:t>Per device authentication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20079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380803-D4A0-42A3-AE7C-1081912BBDCD}" type="slidenum">
              <a:rPr lang="en-US" smtClean="0"/>
              <a:t>46</a:t>
            </a:fld>
            <a:endParaRPr lang="en-US"/>
          </a:p>
        </p:txBody>
      </p:sp>
    </p:spTree>
    <p:extLst>
      <p:ext uri="{BB962C8B-B14F-4D97-AF65-F5344CB8AC3E}">
        <p14:creationId xmlns:p14="http://schemas.microsoft.com/office/powerpoint/2010/main" val="8953950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9/2021 4:1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5366996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dirty="0">
                <a:solidFill>
                  <a:srgbClr val="171717"/>
                </a:solidFill>
                <a:effectLst/>
                <a:latin typeface="Segoe UI" panose="020B0502040204020203" pitchFamily="34" charset="0"/>
              </a:rPr>
              <a:t>Secure attestation</a:t>
            </a:r>
            <a:r>
              <a:rPr lang="en-US" b="0" i="0" dirty="0">
                <a:solidFill>
                  <a:srgbClr val="171717"/>
                </a:solidFill>
                <a:effectLst/>
                <a:latin typeface="Segoe UI" panose="020B0502040204020203" pitchFamily="34" charset="0"/>
              </a:rPr>
              <a:t> support for both X.509 and TPM-based identities.</a:t>
            </a:r>
          </a:p>
          <a:p>
            <a:pPr algn="l">
              <a:buFont typeface="Arial" panose="020B0604020202020204" pitchFamily="34" charset="0"/>
              <a:buChar char="•"/>
            </a:pPr>
            <a:r>
              <a:rPr lang="en-US" b="1" i="0" dirty="0">
                <a:solidFill>
                  <a:srgbClr val="171717"/>
                </a:solidFill>
                <a:effectLst/>
                <a:latin typeface="Segoe UI" panose="020B0502040204020203" pitchFamily="34" charset="0"/>
              </a:rPr>
              <a:t>Enrollment list</a:t>
            </a:r>
            <a:r>
              <a:rPr lang="en-US" b="0" i="0" dirty="0">
                <a:solidFill>
                  <a:srgbClr val="171717"/>
                </a:solidFill>
                <a:effectLst/>
                <a:latin typeface="Segoe UI" panose="020B0502040204020203" pitchFamily="34" charset="0"/>
              </a:rPr>
              <a:t> containing the complete record of devices/groups of devices that may at some point register. The enrollment list contains information about the desired configuration of the device once it registers, and it can be updated at any time.</a:t>
            </a:r>
          </a:p>
          <a:p>
            <a:pPr algn="l">
              <a:buFont typeface="Arial" panose="020B0604020202020204" pitchFamily="34" charset="0"/>
              <a:buChar char="•"/>
            </a:pPr>
            <a:r>
              <a:rPr lang="en-US" b="1" i="0" dirty="0">
                <a:solidFill>
                  <a:srgbClr val="171717"/>
                </a:solidFill>
                <a:effectLst/>
                <a:latin typeface="Segoe UI" panose="020B0502040204020203" pitchFamily="34" charset="0"/>
              </a:rPr>
              <a:t>Multiple allocation policies</a:t>
            </a:r>
            <a:r>
              <a:rPr lang="en-US" b="0" i="0" dirty="0">
                <a:solidFill>
                  <a:srgbClr val="171717"/>
                </a:solidFill>
                <a:effectLst/>
                <a:latin typeface="Segoe UI" panose="020B0502040204020203" pitchFamily="34" charset="0"/>
              </a:rPr>
              <a:t> to control how DPS assigns devices to IoT hubs in support of your scenarios: Lowest latency, evenly weighted distribution (default), and static configuration via the enrollment list. Latency is determined using the same method as </a:t>
            </a:r>
            <a:r>
              <a:rPr lang="en-US" b="0" i="0" u="none" strike="noStrike" dirty="0">
                <a:solidFill>
                  <a:srgbClr val="171717"/>
                </a:solidFill>
                <a:effectLst/>
                <a:latin typeface="Segoe UI" panose="020B0502040204020203" pitchFamily="34" charset="0"/>
                <a:hlinkClick r:id="rId3"/>
              </a:rPr>
              <a:t>Traffic Manager</a:t>
            </a:r>
            <a:r>
              <a:rPr lang="en-US" b="0" i="0" dirty="0">
                <a:solidFill>
                  <a:srgbClr val="171717"/>
                </a:solidFill>
                <a:effectLst/>
                <a:latin typeface="Segoe UI" panose="020B0502040204020203" pitchFamily="34" charset="0"/>
              </a:rPr>
              <a:t>.</a:t>
            </a:r>
          </a:p>
          <a:p>
            <a:pPr algn="l">
              <a:buFont typeface="Arial" panose="020B0604020202020204" pitchFamily="34" charset="0"/>
              <a:buChar char="•"/>
            </a:pPr>
            <a:r>
              <a:rPr lang="en-US" b="1" i="0" dirty="0">
                <a:solidFill>
                  <a:srgbClr val="171717"/>
                </a:solidFill>
                <a:effectLst/>
                <a:latin typeface="Segoe UI" panose="020B0502040204020203" pitchFamily="34" charset="0"/>
              </a:rPr>
              <a:t>Monitoring and diagnostics logging</a:t>
            </a:r>
            <a:r>
              <a:rPr lang="en-US" b="0" i="0" dirty="0">
                <a:solidFill>
                  <a:srgbClr val="171717"/>
                </a:solidFill>
                <a:effectLst/>
                <a:latin typeface="Segoe UI" panose="020B0502040204020203" pitchFamily="34" charset="0"/>
              </a:rPr>
              <a:t> to make sure everything is working properly.</a:t>
            </a:r>
          </a:p>
          <a:p>
            <a:pPr algn="l">
              <a:buFont typeface="Arial" panose="020B0604020202020204" pitchFamily="34" charset="0"/>
              <a:buChar char="•"/>
            </a:pPr>
            <a:r>
              <a:rPr lang="en-US" b="1" i="0" dirty="0">
                <a:solidFill>
                  <a:srgbClr val="171717"/>
                </a:solidFill>
                <a:effectLst/>
                <a:latin typeface="Segoe UI" panose="020B0502040204020203" pitchFamily="34" charset="0"/>
              </a:rPr>
              <a:t>Multi-hub support</a:t>
            </a:r>
            <a:r>
              <a:rPr lang="en-US" b="0" i="0" dirty="0">
                <a:solidFill>
                  <a:srgbClr val="171717"/>
                </a:solidFill>
                <a:effectLst/>
                <a:latin typeface="Segoe UI" panose="020B0502040204020203" pitchFamily="34" charset="0"/>
              </a:rPr>
              <a:t> allows DPS to assign devices to more than one IoT hub. DPS can talk to hubs across multiple Azure subscriptions.</a:t>
            </a:r>
          </a:p>
          <a:p>
            <a:pPr algn="l">
              <a:buFont typeface="Arial" panose="020B0604020202020204" pitchFamily="34" charset="0"/>
              <a:buChar char="•"/>
            </a:pPr>
            <a:r>
              <a:rPr lang="en-US" b="1" i="0" dirty="0">
                <a:solidFill>
                  <a:srgbClr val="171717"/>
                </a:solidFill>
                <a:effectLst/>
                <a:latin typeface="Segoe UI" panose="020B0502040204020203" pitchFamily="34" charset="0"/>
              </a:rPr>
              <a:t>Cross-region support</a:t>
            </a:r>
            <a:r>
              <a:rPr lang="en-US" b="0" i="0" dirty="0">
                <a:solidFill>
                  <a:srgbClr val="171717"/>
                </a:solidFill>
                <a:effectLst/>
                <a:latin typeface="Segoe UI" panose="020B0502040204020203" pitchFamily="34" charset="0"/>
              </a:rPr>
              <a:t> allows DPS to assign devices to IoT hubs in other regions.</a:t>
            </a:r>
          </a:p>
          <a:p>
            <a:pPr algn="l">
              <a:buFont typeface="Arial" panose="020B0604020202020204" pitchFamily="34" charset="0"/>
              <a:buChar char="•"/>
            </a:pPr>
            <a:r>
              <a:rPr lang="en-US" b="1" i="0" dirty="0">
                <a:solidFill>
                  <a:srgbClr val="171717"/>
                </a:solidFill>
                <a:effectLst/>
                <a:latin typeface="Segoe UI" panose="020B0502040204020203" pitchFamily="34" charset="0"/>
              </a:rPr>
              <a:t>Encryption for data at rest</a:t>
            </a:r>
            <a:r>
              <a:rPr lang="en-US" b="0" i="0" dirty="0">
                <a:solidFill>
                  <a:srgbClr val="171717"/>
                </a:solidFill>
                <a:effectLst/>
                <a:latin typeface="Segoe UI" panose="020B0502040204020203" pitchFamily="34" charset="0"/>
              </a:rPr>
              <a:t> allows data in DPS to be encrypted and decrypted transparently using 256-bit AES encryption, one of the strongest block ciphers available, and is FIPS 140-2 compliant.</a:t>
            </a:r>
          </a:p>
          <a:p>
            <a:endParaRPr lang="en-US" dirty="0"/>
          </a:p>
          <a:p>
            <a:pPr marL="685800" marR="0">
              <a:spcBef>
                <a:spcPts val="0"/>
              </a:spcBef>
              <a:spcAft>
                <a:spcPts val="0"/>
              </a:spcAft>
            </a:pPr>
            <a:r>
              <a:rPr lang="en-US" sz="1800" b="1" dirty="0">
                <a:effectLst/>
                <a:latin typeface="Calibri" panose="020F0502020204030204" pitchFamily="34" charset="0"/>
              </a:rPr>
              <a:t>Lowest latency:</a:t>
            </a:r>
            <a:r>
              <a:rPr lang="en-US" sz="1800" dirty="0">
                <a:effectLst/>
                <a:latin typeface="Calibri" panose="020F0502020204030204" pitchFamily="34" charset="0"/>
              </a:rPr>
              <a:t> This policy assigns devices to the linked IoT Hub which will result in the lowest latency communications between device and IoT Hub.</a:t>
            </a:r>
          </a:p>
          <a:p>
            <a:pPr marL="685800" marR="0">
              <a:spcBef>
                <a:spcPts val="0"/>
              </a:spcBef>
              <a:spcAft>
                <a:spcPts val="0"/>
              </a:spcAft>
            </a:pPr>
            <a:r>
              <a:rPr lang="en-US" sz="1800" b="1" dirty="0">
                <a:effectLst/>
                <a:latin typeface="Calibri" panose="020F0502020204030204" pitchFamily="34" charset="0"/>
              </a:rPr>
              <a:t>Evenly weighted distribution:</a:t>
            </a:r>
            <a:r>
              <a:rPr lang="en-US" sz="1800" dirty="0">
                <a:effectLst/>
                <a:latin typeface="Calibri" panose="020F0502020204030204" pitchFamily="34" charset="0"/>
              </a:rPr>
              <a:t> This policy evenly distributes devices across the linked IoT Hubs. If you are provisioning devices to only one IoT Hub, we recommend this setting. The default setting.</a:t>
            </a:r>
          </a:p>
          <a:p>
            <a:pPr marL="685800" marR="0">
              <a:spcBef>
                <a:spcPts val="0"/>
              </a:spcBef>
              <a:spcAft>
                <a:spcPts val="0"/>
              </a:spcAft>
            </a:pPr>
            <a:r>
              <a:rPr lang="en-US" sz="1800" b="1" dirty="0">
                <a:effectLst/>
                <a:latin typeface="Calibri" panose="020F0502020204030204" pitchFamily="34" charset="0"/>
              </a:rPr>
              <a:t>Static configuration:</a:t>
            </a:r>
            <a:r>
              <a:rPr lang="en-US" sz="1800" dirty="0">
                <a:effectLst/>
                <a:latin typeface="Calibri" panose="020F0502020204030204" pitchFamily="34" charset="0"/>
              </a:rPr>
              <a:t> This policy requires a desired IoT Hub be listed in the enrollment entry for a device to be provisioned.</a:t>
            </a:r>
          </a:p>
          <a:p>
            <a:endParaRPr lang="en-US" dirty="0"/>
          </a:p>
          <a:p>
            <a:endParaRPr lang="en-US" dirty="0"/>
          </a:p>
          <a:p>
            <a:r>
              <a:rPr lang="en-US" dirty="0"/>
              <a:t>Cross platform:</a:t>
            </a:r>
          </a:p>
          <a:p>
            <a:endParaRPr lang="en-US" dirty="0"/>
          </a:p>
          <a:p>
            <a:pPr algn="l"/>
            <a:r>
              <a:rPr lang="en-US" b="0" i="0" dirty="0">
                <a:solidFill>
                  <a:srgbClr val="171717"/>
                </a:solidFill>
                <a:effectLst/>
                <a:latin typeface="Segoe UI" panose="020B0502040204020203" pitchFamily="34" charset="0"/>
              </a:rPr>
              <a:t>Just like all Azure IoT services, DPS works cross-platform with a variety of operating systems. Azure offers open-source SDKs in a variety of </a:t>
            </a:r>
            <a:r>
              <a:rPr lang="en-US" b="0" i="0" u="none" strike="noStrike" dirty="0">
                <a:solidFill>
                  <a:srgbClr val="171717"/>
                </a:solidFill>
                <a:effectLst/>
                <a:latin typeface="Segoe UI" panose="020B0502040204020203" pitchFamily="34" charset="0"/>
                <a:hlinkClick r:id="rId4"/>
              </a:rPr>
              <a:t>languages</a:t>
            </a:r>
            <a:r>
              <a:rPr lang="en-US" b="0" i="0" dirty="0">
                <a:solidFill>
                  <a:srgbClr val="171717"/>
                </a:solidFill>
                <a:effectLst/>
                <a:latin typeface="Segoe UI" panose="020B0502040204020203" pitchFamily="34" charset="0"/>
              </a:rPr>
              <a:t> to facilitate connecting devices and managing the service. DPS supports the following protocols for connecting devices:</a:t>
            </a:r>
          </a:p>
          <a:p>
            <a:pPr algn="l">
              <a:buFont typeface="Arial" panose="020B0604020202020204" pitchFamily="34" charset="0"/>
              <a:buChar char="•"/>
            </a:pPr>
            <a:r>
              <a:rPr lang="en-US" b="0" i="0" dirty="0">
                <a:solidFill>
                  <a:srgbClr val="171717"/>
                </a:solidFill>
                <a:effectLst/>
                <a:latin typeface="Segoe UI" panose="020B0502040204020203" pitchFamily="34" charset="0"/>
              </a:rPr>
              <a:t>HTTPS</a:t>
            </a:r>
          </a:p>
          <a:p>
            <a:pPr algn="l">
              <a:buFont typeface="Arial" panose="020B0604020202020204" pitchFamily="34" charset="0"/>
              <a:buChar char="•"/>
            </a:pPr>
            <a:r>
              <a:rPr lang="en-US" b="0" i="0" dirty="0">
                <a:solidFill>
                  <a:srgbClr val="171717"/>
                </a:solidFill>
                <a:effectLst/>
                <a:latin typeface="Segoe UI" panose="020B0502040204020203" pitchFamily="34" charset="0"/>
              </a:rPr>
              <a:t>AMQP</a:t>
            </a:r>
          </a:p>
          <a:p>
            <a:pPr algn="l">
              <a:buFont typeface="Arial" panose="020B0604020202020204" pitchFamily="34" charset="0"/>
              <a:buChar char="•"/>
            </a:pPr>
            <a:r>
              <a:rPr lang="en-US" b="0" i="0" dirty="0">
                <a:solidFill>
                  <a:srgbClr val="171717"/>
                </a:solidFill>
                <a:effectLst/>
                <a:latin typeface="Segoe UI" panose="020B0502040204020203" pitchFamily="34" charset="0"/>
              </a:rPr>
              <a:t>AMQP over web sockets</a:t>
            </a:r>
          </a:p>
          <a:p>
            <a:pPr algn="l">
              <a:buFont typeface="Arial" panose="020B0604020202020204" pitchFamily="34" charset="0"/>
              <a:buChar char="•"/>
            </a:pPr>
            <a:r>
              <a:rPr lang="en-US" b="0" i="0" dirty="0">
                <a:solidFill>
                  <a:srgbClr val="171717"/>
                </a:solidFill>
                <a:effectLst/>
                <a:latin typeface="Segoe UI" panose="020B0502040204020203" pitchFamily="34" charset="0"/>
              </a:rPr>
              <a:t>MQTT</a:t>
            </a:r>
          </a:p>
          <a:p>
            <a:pPr algn="l">
              <a:buFont typeface="Arial" panose="020B0604020202020204" pitchFamily="34" charset="0"/>
              <a:buChar char="•"/>
            </a:pPr>
            <a:r>
              <a:rPr lang="en-US" b="0" i="0" dirty="0">
                <a:solidFill>
                  <a:srgbClr val="171717"/>
                </a:solidFill>
                <a:effectLst/>
                <a:latin typeface="Segoe UI" panose="020B0502040204020203" pitchFamily="34" charset="0"/>
              </a:rPr>
              <a:t>MQTT over web sockets</a:t>
            </a:r>
          </a:p>
          <a:p>
            <a:pPr algn="l"/>
            <a:r>
              <a:rPr lang="en-US" b="0" i="0" dirty="0">
                <a:solidFill>
                  <a:srgbClr val="171717"/>
                </a:solidFill>
                <a:effectLst/>
                <a:latin typeface="Segoe UI" panose="020B0502040204020203" pitchFamily="34" charset="0"/>
              </a:rPr>
              <a:t>DPS only supports HTTPS connections for service operations.</a:t>
            </a:r>
          </a:p>
          <a:p>
            <a:endParaRPr lang="en-US" dirty="0"/>
          </a:p>
        </p:txBody>
      </p:sp>
      <p:sp>
        <p:nvSpPr>
          <p:cNvPr id="4" name="Slide Number Placeholder 3"/>
          <p:cNvSpPr>
            <a:spLocks noGrp="1"/>
          </p:cNvSpPr>
          <p:nvPr>
            <p:ph type="sldNum" sz="quarter" idx="5"/>
          </p:nvPr>
        </p:nvSpPr>
        <p:spPr/>
        <p:txBody>
          <a:bodyPr/>
          <a:lstStyle/>
          <a:p>
            <a:fld id="{6F27A1F0-49ED-468D-8AED-D4716C3B901C}" type="slidenum">
              <a:rPr lang="en-US" smtClean="0"/>
              <a:t>49</a:t>
            </a:fld>
            <a:endParaRPr lang="en-US"/>
          </a:p>
        </p:txBody>
      </p:sp>
    </p:spTree>
    <p:extLst>
      <p:ext uri="{BB962C8B-B14F-4D97-AF65-F5344CB8AC3E}">
        <p14:creationId xmlns:p14="http://schemas.microsoft.com/office/powerpoint/2010/main" val="7074439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more scenarios the DPS supports than what’s listed on this slide, but this list should give you a taste for the variety of scenarios the DPS can be used for.</a:t>
            </a:r>
          </a:p>
          <a:p>
            <a:endParaRPr lang="en-US" dirty="0"/>
          </a:p>
          <a:p>
            <a:r>
              <a:rPr lang="en-US" dirty="0"/>
              <a:t>First bootstrapping devices to IoT Hub in a single IoT solution is definitely a scenario the DPS can be used for.</a:t>
            </a:r>
          </a:p>
          <a:p>
            <a:endParaRPr lang="en-US" dirty="0"/>
          </a:p>
          <a:p>
            <a:r>
              <a:rPr lang="en-US" dirty="0"/>
              <a:t>Load balancing is one of the simplest multi-hub scenarios to think about. Devices are allocated to different hubs to make management easier.</a:t>
            </a:r>
          </a:p>
          <a:p>
            <a:endParaRPr lang="en-US" dirty="0"/>
          </a:p>
          <a:p>
            <a:r>
              <a:rPr lang="en-US" dirty="0"/>
              <a:t>Ownership based: multitenancy solutions. If you sell widgets to multiple customers, you want to have data isolation. Want to make sure the devices are connected to the hub for the customer who purchased them.</a:t>
            </a:r>
          </a:p>
          <a:p>
            <a:endParaRPr lang="en-US" dirty="0"/>
          </a:p>
          <a:p>
            <a:r>
              <a:rPr lang="en-US" dirty="0"/>
              <a:t>Geolocation based: AKA </a:t>
            </a:r>
            <a:r>
              <a:rPr lang="en-US" dirty="0" err="1"/>
              <a:t>geosharding</a:t>
            </a:r>
            <a:r>
              <a:rPr lang="en-US" dirty="0"/>
              <a:t>. Want the device to connect to the IoT solution geographically closest to it. </a:t>
            </a:r>
          </a:p>
          <a:p>
            <a:endParaRPr lang="en-US" dirty="0"/>
          </a:p>
          <a:p>
            <a:r>
              <a:rPr lang="en-US" dirty="0"/>
              <a:t>Re-provisioning: one of the most important scenarios, and one that happens later in the device’s lifecycle. Re-provisioning could occur because the device was sold to another user, for example in the case of the lease. The device might have moved because it’s a vehicle and now needs to connect to a different region. Or, and this gets back to the security aspect, maybe the device is installed in a sensitive location and policy dictates that the device needs to re-attest (re-</a:t>
            </a:r>
            <a:r>
              <a:rPr lang="en-US" dirty="0" err="1"/>
              <a:t>delare</a:t>
            </a:r>
            <a:r>
              <a:rPr lang="en-US" dirty="0"/>
              <a:t>) its identity every 90 days, or 30 days, or even daily.</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76FD910-E3AC-4095-8A0E-B90F93851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9/2021 4: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3388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Stream processing</a:t>
            </a:r>
            <a:r>
              <a:rPr lang="en-US" b="0" i="0" dirty="0">
                <a:solidFill>
                  <a:srgbClr val="171717"/>
                </a:solidFill>
                <a:effectLst/>
                <a:latin typeface="Segoe UI" panose="020B0502040204020203" pitchFamily="34" charset="0"/>
              </a:rPr>
              <a:t>. Stream processing analyzes large streams of data records and evaluates rules for those streams. For stream processing, we recommend </a:t>
            </a:r>
            <a:r>
              <a:rPr lang="en-US" b="0" i="0" u="none" strike="noStrike" dirty="0">
                <a:solidFill>
                  <a:srgbClr val="171717"/>
                </a:solidFill>
                <a:effectLst/>
                <a:latin typeface="Segoe UI" panose="020B0502040204020203" pitchFamily="34" charset="0"/>
                <a:hlinkClick r:id="rId3"/>
              </a:rPr>
              <a:t>Azure Stream Analytics</a:t>
            </a:r>
            <a:r>
              <a:rPr lang="en-US" b="0" i="0" dirty="0">
                <a:solidFill>
                  <a:srgbClr val="171717"/>
                </a:solidFill>
                <a:effectLst/>
                <a:latin typeface="Segoe UI" panose="020B0502040204020203" pitchFamily="34" charset="0"/>
              </a:rPr>
              <a:t>. Stream Analytics can execute complex analysis at scale, using time windowing functions, stream aggregations, and external data source joins. Another option is Apache Spark on </a:t>
            </a:r>
            <a:r>
              <a:rPr lang="en-US" b="0" i="0" u="none" strike="noStrike" dirty="0">
                <a:solidFill>
                  <a:srgbClr val="171717"/>
                </a:solidFill>
                <a:effectLst/>
                <a:latin typeface="Segoe UI" panose="020B0502040204020203" pitchFamily="34" charset="0"/>
                <a:hlinkClick r:id="rId4"/>
              </a:rPr>
              <a:t>Azure Databricks</a:t>
            </a:r>
            <a:r>
              <a:rPr lang="en-US" b="0" i="0" dirty="0">
                <a:solidFill>
                  <a:srgbClr val="171717"/>
                </a:solidFill>
                <a:effectLst/>
                <a:latin typeface="Segoe UI" panose="020B0502040204020203" pitchFamily="34" charset="0"/>
              </a:rPr>
              <a:t>.</a:t>
            </a:r>
          </a:p>
          <a:p>
            <a:pPr algn="l"/>
            <a:r>
              <a:rPr lang="en-US" b="1" i="0" dirty="0">
                <a:solidFill>
                  <a:srgbClr val="171717"/>
                </a:solidFill>
                <a:effectLst/>
                <a:latin typeface="Segoe UI" panose="020B0502040204020203" pitchFamily="34" charset="0"/>
              </a:rPr>
              <a:t>Machine learning</a:t>
            </a:r>
            <a:r>
              <a:rPr lang="en-US" b="0" i="0" dirty="0">
                <a:solidFill>
                  <a:srgbClr val="171717"/>
                </a:solidFill>
                <a:effectLst/>
                <a:latin typeface="Segoe UI" panose="020B0502040204020203" pitchFamily="34" charset="0"/>
              </a:rPr>
              <a:t> allows predictive algorithms to be executed over historical telemetry data, enabling scenarios such as predictive maintenance. For machine learning, we recommend </a:t>
            </a:r>
            <a:r>
              <a:rPr lang="en-US" b="0" i="0" u="none" strike="noStrike" dirty="0">
                <a:solidFill>
                  <a:srgbClr val="171717"/>
                </a:solidFill>
                <a:effectLst/>
                <a:latin typeface="Segoe UI" panose="020B0502040204020203" pitchFamily="34" charset="0"/>
                <a:hlinkClick r:id="rId5"/>
              </a:rPr>
              <a:t>Azure Machine Learning</a:t>
            </a:r>
            <a:r>
              <a:rPr lang="en-US" b="0" i="0" dirty="0">
                <a:solidFill>
                  <a:srgbClr val="171717"/>
                </a:solidFill>
                <a:effectLst/>
                <a:latin typeface="Segoe UI" panose="020B0502040204020203" pitchFamily="34" charset="0"/>
              </a:rPr>
              <a:t>.</a:t>
            </a:r>
          </a:p>
          <a:p>
            <a:pPr algn="l"/>
            <a:r>
              <a:rPr lang="en-US" b="1" i="0" dirty="0">
                <a:solidFill>
                  <a:srgbClr val="171717"/>
                </a:solidFill>
                <a:effectLst/>
                <a:latin typeface="Segoe UI" panose="020B0502040204020203" pitchFamily="34" charset="0"/>
              </a:rPr>
              <a:t>Warm path storage</a:t>
            </a:r>
            <a:r>
              <a:rPr lang="en-US" b="0" i="0" dirty="0">
                <a:solidFill>
                  <a:srgbClr val="171717"/>
                </a:solidFill>
                <a:effectLst/>
                <a:latin typeface="Segoe UI" panose="020B0502040204020203" pitchFamily="34" charset="0"/>
              </a:rPr>
              <a:t> holds data that must be available immediately from device for reporting and visualization. For warm path storage, we recommend </a:t>
            </a:r>
            <a:r>
              <a:rPr lang="en-US" b="0" i="0" u="none" strike="noStrike" dirty="0">
                <a:solidFill>
                  <a:srgbClr val="171717"/>
                </a:solidFill>
                <a:effectLst/>
                <a:latin typeface="Segoe UI" panose="020B0502040204020203" pitchFamily="34" charset="0"/>
                <a:hlinkClick r:id="rId6"/>
              </a:rPr>
              <a:t>Cosmos DB</a:t>
            </a:r>
            <a:r>
              <a:rPr lang="en-US" b="0" i="0" dirty="0">
                <a:solidFill>
                  <a:srgbClr val="171717"/>
                </a:solidFill>
                <a:effectLst/>
                <a:latin typeface="Segoe UI" panose="020B0502040204020203" pitchFamily="34" charset="0"/>
              </a:rPr>
              <a:t>. Cosmos DB is a globally distributed, multi-model database.</a:t>
            </a:r>
          </a:p>
          <a:p>
            <a:pPr algn="l"/>
            <a:r>
              <a:rPr lang="en-US" b="1" i="0" dirty="0">
                <a:solidFill>
                  <a:srgbClr val="171717"/>
                </a:solidFill>
                <a:effectLst/>
                <a:latin typeface="Segoe UI" panose="020B0502040204020203" pitchFamily="34" charset="0"/>
              </a:rPr>
              <a:t>Cold path storage</a:t>
            </a:r>
            <a:r>
              <a:rPr lang="en-US" b="0" i="0" dirty="0">
                <a:solidFill>
                  <a:srgbClr val="171717"/>
                </a:solidFill>
                <a:effectLst/>
                <a:latin typeface="Segoe UI" panose="020B0502040204020203" pitchFamily="34" charset="0"/>
              </a:rPr>
              <a:t> holds data that is kept longer-term and is used for batch processing. For cold path storage, we recommend </a:t>
            </a:r>
            <a:r>
              <a:rPr lang="en-US" b="0" i="0" u="none" strike="noStrike" dirty="0">
                <a:solidFill>
                  <a:srgbClr val="171717"/>
                </a:solidFill>
                <a:effectLst/>
                <a:latin typeface="Segoe UI" panose="020B0502040204020203" pitchFamily="34" charset="0"/>
                <a:hlinkClick r:id="rId7"/>
              </a:rPr>
              <a:t>Azure Blob Storage</a:t>
            </a:r>
            <a:r>
              <a:rPr lang="en-US" b="0" i="0" dirty="0">
                <a:solidFill>
                  <a:srgbClr val="171717"/>
                </a:solidFill>
                <a:effectLst/>
                <a:latin typeface="Segoe UI" panose="020B0502040204020203" pitchFamily="34" charset="0"/>
              </a:rPr>
              <a:t>. Data can be archived in Blob storage indefinitely at low cost, and is easily accessible for batch processing.</a:t>
            </a:r>
          </a:p>
          <a:p>
            <a:pPr algn="l"/>
            <a:r>
              <a:rPr lang="en-US" b="1" i="0" dirty="0">
                <a:solidFill>
                  <a:srgbClr val="171717"/>
                </a:solidFill>
                <a:effectLst/>
                <a:latin typeface="Segoe UI" panose="020B0502040204020203" pitchFamily="34" charset="0"/>
              </a:rPr>
              <a:t>Data transformation</a:t>
            </a:r>
            <a:r>
              <a:rPr lang="en-US" b="0" i="0" dirty="0">
                <a:solidFill>
                  <a:srgbClr val="171717"/>
                </a:solidFill>
                <a:effectLst/>
                <a:latin typeface="Segoe UI" panose="020B0502040204020203" pitchFamily="34" charset="0"/>
              </a:rPr>
              <a:t> manipulates or aggregates the telemetry stream. Examples include protocol transformation, such as converting binary data to JSON, or combining data points. If the data must be transformed before reaching IoT Hub, we recommend using a </a:t>
            </a:r>
            <a:r>
              <a:rPr lang="en-US" b="0" i="0" u="none" strike="noStrike" dirty="0">
                <a:solidFill>
                  <a:srgbClr val="171717"/>
                </a:solidFill>
                <a:effectLst/>
                <a:latin typeface="Segoe UI" panose="020B0502040204020203" pitchFamily="34" charset="0"/>
                <a:hlinkClick r:id="rId8"/>
              </a:rPr>
              <a:t>protocol gateway</a:t>
            </a:r>
            <a:r>
              <a:rPr lang="en-US" b="0" i="0" dirty="0">
                <a:solidFill>
                  <a:srgbClr val="171717"/>
                </a:solidFill>
                <a:effectLst/>
                <a:latin typeface="Segoe UI" panose="020B0502040204020203" pitchFamily="34" charset="0"/>
              </a:rPr>
              <a:t> (not shown). Otherwise, data can be transformed after it reaches IoT Hub. In that case, we recommend using </a:t>
            </a:r>
            <a:r>
              <a:rPr lang="en-US" b="0" i="0" u="none" strike="noStrike" dirty="0">
                <a:solidFill>
                  <a:srgbClr val="171717"/>
                </a:solidFill>
                <a:effectLst/>
                <a:latin typeface="Segoe UI" panose="020B0502040204020203" pitchFamily="34" charset="0"/>
                <a:hlinkClick r:id="rId9"/>
              </a:rPr>
              <a:t>Azure Functions</a:t>
            </a:r>
            <a:r>
              <a:rPr lang="en-US" b="0" i="0" dirty="0">
                <a:solidFill>
                  <a:srgbClr val="171717"/>
                </a:solidFill>
                <a:effectLst/>
                <a:latin typeface="Segoe UI" panose="020B0502040204020203" pitchFamily="34" charset="0"/>
              </a:rPr>
              <a:t>, which has built-in integration with IoT Hub, Cosmos DB, and Blob Storage.</a:t>
            </a:r>
          </a:p>
          <a:p>
            <a:pPr algn="l"/>
            <a:r>
              <a:rPr lang="en-US" b="1" i="0" dirty="0">
                <a:solidFill>
                  <a:srgbClr val="171717"/>
                </a:solidFill>
                <a:effectLst/>
                <a:latin typeface="Segoe UI" panose="020B0502040204020203" pitchFamily="34" charset="0"/>
              </a:rPr>
              <a:t>Business process integration</a:t>
            </a:r>
            <a:r>
              <a:rPr lang="en-US" b="0" i="0" dirty="0">
                <a:solidFill>
                  <a:srgbClr val="171717"/>
                </a:solidFill>
                <a:effectLst/>
                <a:latin typeface="Segoe UI" panose="020B0502040204020203" pitchFamily="34" charset="0"/>
              </a:rPr>
              <a:t> performs actions based on insights from the device data. This could include storing informational messages, raising alarms, sending email or SMS messages, or integrating with CRM. We recommend using </a:t>
            </a:r>
            <a:r>
              <a:rPr lang="en-US" b="0" i="0" u="none" strike="noStrike" dirty="0">
                <a:solidFill>
                  <a:srgbClr val="171717"/>
                </a:solidFill>
                <a:effectLst/>
                <a:latin typeface="Segoe UI" panose="020B0502040204020203" pitchFamily="34" charset="0"/>
                <a:hlinkClick r:id="rId10"/>
              </a:rPr>
              <a:t>Azure Logic Apps</a:t>
            </a:r>
            <a:r>
              <a:rPr lang="en-US" b="0" i="0" dirty="0">
                <a:solidFill>
                  <a:srgbClr val="171717"/>
                </a:solidFill>
                <a:effectLst/>
                <a:latin typeface="Segoe UI" panose="020B0502040204020203" pitchFamily="34" charset="0"/>
              </a:rPr>
              <a:t> for business process integration.</a:t>
            </a:r>
          </a:p>
          <a:p>
            <a:endParaRPr lang="en-US" dirty="0"/>
          </a:p>
        </p:txBody>
      </p:sp>
      <p:sp>
        <p:nvSpPr>
          <p:cNvPr id="4" name="Slide Number Placeholder 3"/>
          <p:cNvSpPr>
            <a:spLocks noGrp="1"/>
          </p:cNvSpPr>
          <p:nvPr>
            <p:ph type="sldNum" sz="quarter" idx="5"/>
          </p:nvPr>
        </p:nvSpPr>
        <p:spPr/>
        <p:txBody>
          <a:bodyPr/>
          <a:lstStyle/>
          <a:p>
            <a:fld id="{6F27A1F0-49ED-468D-8AED-D4716C3B901C}" type="slidenum">
              <a:rPr lang="en-US" smtClean="0"/>
              <a:t>5</a:t>
            </a:fld>
            <a:endParaRPr lang="en-US"/>
          </a:p>
        </p:txBody>
      </p:sp>
    </p:spTree>
    <p:extLst>
      <p:ext uri="{BB962C8B-B14F-4D97-AF65-F5344CB8AC3E}">
        <p14:creationId xmlns:p14="http://schemas.microsoft.com/office/powerpoint/2010/main" val="20563637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normAutofit fontScale="55000" lnSpcReduction="20000"/>
          </a:bodyPr>
          <a:lstStyle/>
          <a:p>
            <a:r>
              <a:rPr lang="en-US" dirty="0"/>
              <a:t>Let’s jump into how to Provision millions of devices using DPS. </a:t>
            </a:r>
          </a:p>
          <a:p>
            <a:endParaRPr lang="en-US" dirty="0"/>
          </a:p>
          <a:p>
            <a:r>
              <a:rPr lang="en-US" dirty="0"/>
              <a:t>What does “provisioning.” mean? In general, provisioning devices is a two part process. The first part is called a provisioning set up which requires a human operator to pre-register the device in the IoT solution so the IoT solution knows that the device exists. In addition, the human operator can also add some initial configuration for the devices. The human operator also need to program the device to its target IoT solution. </a:t>
            </a:r>
          </a:p>
          <a:p>
            <a:endParaRPr lang="en-US" dirty="0"/>
          </a:p>
          <a:p>
            <a:r>
              <a:rPr lang="en-US" dirty="0"/>
              <a:t>The second part when the device turns on (For example when a device is connected to </a:t>
            </a:r>
            <a:r>
              <a:rPr lang="en-US" dirty="0" err="1"/>
              <a:t>wifi</a:t>
            </a:r>
            <a:r>
              <a:rPr lang="en-US" dirty="0"/>
              <a:t>) and establishes a connection to the IoT solution where the device need to prove it is indeed the device the human operator has registered previously. Once the device is authenticated, it can go through some runtime assignments as well as gather some set up process. </a:t>
            </a:r>
          </a:p>
          <a:p>
            <a:r>
              <a:rPr lang="en-US" dirty="0"/>
              <a:t>Only when both of these steps are complete, then the device has been fully </a:t>
            </a:r>
            <a:r>
              <a:rPr lang="en-US" i="1" dirty="0"/>
              <a:t>provisioned</a:t>
            </a:r>
            <a:r>
              <a:rPr lang="en-US" dirty="0"/>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Manufacturing step</a:t>
            </a:r>
          </a:p>
          <a:p>
            <a:pPr algn="l"/>
            <a:r>
              <a:rPr lang="en-US" b="0" i="0" dirty="0">
                <a:solidFill>
                  <a:srgbClr val="171717"/>
                </a:solidFill>
                <a:effectLst/>
                <a:latin typeface="Segoe UI" panose="020B0502040204020203" pitchFamily="34" charset="0"/>
              </a:rPr>
              <a:t>This step is all about what happens on the manufacturing line. The roles involved in this step include silicon designer, silicon manufacturer, integrator and/or the end manufacturer of the device. This step is concerned with creating the hardware itself.</a:t>
            </a:r>
          </a:p>
          <a:p>
            <a:pPr algn="l"/>
            <a:r>
              <a:rPr lang="en-US" b="0" i="0" dirty="0">
                <a:solidFill>
                  <a:srgbClr val="171717"/>
                </a:solidFill>
                <a:effectLst/>
                <a:latin typeface="Segoe UI" panose="020B0502040204020203" pitchFamily="34" charset="0"/>
              </a:rPr>
              <a:t>DPS does not introduce a new step in the manufacturing process; rather, it ties into the existing step that installs the initial software and (ideally) the HSM on the device. Instead of creating a device ID in this step, the device is programmed with the provisioning service information, enabling it to call the provisioning service to get its connection info/IoT solution assignment when it is switched on.</a:t>
            </a:r>
          </a:p>
          <a:p>
            <a:pPr algn="l"/>
            <a:r>
              <a:rPr lang="en-US" b="0" i="0" dirty="0">
                <a:solidFill>
                  <a:srgbClr val="171717"/>
                </a:solidFill>
                <a:effectLst/>
                <a:latin typeface="Segoe UI" panose="020B0502040204020203" pitchFamily="34" charset="0"/>
              </a:rPr>
              <a:t>Also in this step, the manufacturer supplies the device deployer/operator with identifying key information. Supplying that information could be as simple as confirming that all devices have an X.509 certificate generated from a signing certificate provided by the device deployer/operator, or as complicated as extracting the public portion of a TPM endorsement key from each TPM device. These services are offered by many silicon manufacturers today.</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Cloud setup step</a:t>
            </a:r>
          </a:p>
          <a:p>
            <a:pPr algn="l"/>
            <a:r>
              <a:rPr lang="en-US" b="0" i="0" dirty="0">
                <a:solidFill>
                  <a:srgbClr val="171717"/>
                </a:solidFill>
                <a:effectLst/>
                <a:latin typeface="Segoe UI" panose="020B0502040204020203" pitchFamily="34" charset="0"/>
              </a:rPr>
              <a:t>This step is about configuring the cloud for proper automatic provisioning. Generally there are two types of users involved in the cloud setup step: someone who knows how devices need to be initially set up (a device operator), and someone else who knows how devices are to be split among the IoT hubs (a solution operator).</a:t>
            </a:r>
          </a:p>
          <a:p>
            <a:pPr algn="l"/>
            <a:r>
              <a:rPr lang="en-US" b="0" i="0" dirty="0">
                <a:solidFill>
                  <a:srgbClr val="171717"/>
                </a:solidFill>
                <a:effectLst/>
                <a:latin typeface="Segoe UI" panose="020B0502040204020203" pitchFamily="34" charset="0"/>
              </a:rPr>
              <a:t>There is a one-time initial setup of the provisioning that must occur, which is usually handled by the solution operator. Once the provisioning service is configured, it does not have to be modified unless the use case changes.</a:t>
            </a:r>
          </a:p>
          <a:p>
            <a:pPr algn="l"/>
            <a:r>
              <a:rPr lang="en-US" b="0" i="0" dirty="0">
                <a:solidFill>
                  <a:srgbClr val="171717"/>
                </a:solidFill>
                <a:effectLst/>
                <a:latin typeface="Segoe UI" panose="020B0502040204020203" pitchFamily="34" charset="0"/>
              </a:rPr>
              <a:t>After the service has been configured for automatic provisioning, it must be prepared to enroll devices. This step is done by the device operator, who knows the desired configuration of the device(s) and is in charge of making sure the provisioning service can properly attest to the device's identity when it comes looking for its IoT hub. The device operator takes the identifying key information from the manufacturer and adds it to the enrollment list. There can be subsequent updates to the enrollment list as new entries are added or existing entries are updated with the latest information about the devices.</a:t>
            </a:r>
          </a:p>
          <a:p>
            <a:pPr algn="l"/>
            <a:endParaRPr lang="en-US" b="0" i="0" dirty="0">
              <a:solidFill>
                <a:srgbClr val="171717"/>
              </a:solidFill>
              <a:effectLst/>
              <a:latin typeface="Segoe UI" panose="020B0502040204020203" pitchFamily="34" charset="0"/>
            </a:endParaRPr>
          </a:p>
          <a:p>
            <a:endParaRPr lang="en-US" dirty="0"/>
          </a:p>
          <a:p>
            <a:endParaRPr lang="en-US" dirty="0"/>
          </a:p>
        </p:txBody>
      </p:sp>
      <p:sp>
        <p:nvSpPr>
          <p:cNvPr id="5" name="Footer Placeholder 4"/>
          <p:cNvSpPr>
            <a:spLocks noGrp="1"/>
          </p:cNvSpPr>
          <p:nvPr>
            <p:ph type="ftr" sz="quarter" idx="4"/>
          </p:nvPr>
        </p:nvSpPr>
        <p:spPr>
          <a:xfrm>
            <a:off x="0" y="9055144"/>
            <a:ext cx="3162854" cy="478327"/>
          </a:xfrm>
          <a:prstGeom prst="rect">
            <a:avLst/>
          </a:prstGeom>
        </p:spPr>
        <p:txBody>
          <a:bodyPr lIns="94371" tIns="47185" rIns="94371" bIns="47185"/>
          <a:lstStyle/>
          <a:p>
            <a:pPr marL="571500" marR="0" lvl="0" indent="0" algn="l" defTabSz="964492"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64492"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1444" name="Date Placeholder 5"/>
          <p:cNvSpPr>
            <a:spLocks noGrp="1"/>
          </p:cNvSpPr>
          <p:nvPr>
            <p:ph type="dt" sz="quarter" idx="1"/>
          </p:nvPr>
        </p:nvSpPr>
        <p:spPr bwMode="auto">
          <a:xfrm>
            <a:off x="4044475" y="2"/>
            <a:ext cx="3094096" cy="46885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371" tIns="47185" rIns="94371" bIns="47185"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66763" indent="-294908">
              <a:defRPr>
                <a:solidFill>
                  <a:schemeClr val="tx1"/>
                </a:solidFill>
                <a:latin typeface="Segoe UI" charset="0"/>
                <a:ea typeface="ＭＳ Ｐゴシック" charset="0"/>
              </a:defRPr>
            </a:lvl2pPr>
            <a:lvl3pPr marL="1179636" indent="-235927">
              <a:defRPr>
                <a:solidFill>
                  <a:schemeClr val="tx1"/>
                </a:solidFill>
                <a:latin typeface="Segoe UI" charset="0"/>
                <a:ea typeface="ＭＳ Ｐゴシック" charset="0"/>
              </a:defRPr>
            </a:lvl3pPr>
            <a:lvl4pPr marL="1651490" indent="-235927">
              <a:defRPr>
                <a:solidFill>
                  <a:schemeClr val="tx1"/>
                </a:solidFill>
                <a:latin typeface="Segoe UI" charset="0"/>
                <a:ea typeface="ＭＳ Ｐゴシック" charset="0"/>
              </a:defRPr>
            </a:lvl4pPr>
            <a:lvl5pPr marL="2123345" indent="-235927">
              <a:defRPr>
                <a:solidFill>
                  <a:schemeClr val="tx1"/>
                </a:solidFill>
                <a:latin typeface="Segoe UI" charset="0"/>
                <a:ea typeface="ＭＳ Ｐゴシック" charset="0"/>
              </a:defRPr>
            </a:lvl5pPr>
            <a:lvl6pPr marL="2595198" indent="-235927" defTabSz="961731" fontAlgn="base">
              <a:spcBef>
                <a:spcPct val="0"/>
              </a:spcBef>
              <a:spcAft>
                <a:spcPct val="0"/>
              </a:spcAft>
              <a:defRPr>
                <a:solidFill>
                  <a:schemeClr val="tx1"/>
                </a:solidFill>
                <a:latin typeface="Segoe UI" charset="0"/>
                <a:ea typeface="ＭＳ Ｐゴシック" charset="0"/>
              </a:defRPr>
            </a:lvl6pPr>
            <a:lvl7pPr marL="3067053" indent="-235927" defTabSz="961731" fontAlgn="base">
              <a:spcBef>
                <a:spcPct val="0"/>
              </a:spcBef>
              <a:spcAft>
                <a:spcPct val="0"/>
              </a:spcAft>
              <a:defRPr>
                <a:solidFill>
                  <a:schemeClr val="tx1"/>
                </a:solidFill>
                <a:latin typeface="Segoe UI" charset="0"/>
                <a:ea typeface="ＭＳ Ｐゴシック" charset="0"/>
              </a:defRPr>
            </a:lvl7pPr>
            <a:lvl8pPr marL="3538907" indent="-235927" defTabSz="961731" fontAlgn="base">
              <a:spcBef>
                <a:spcPct val="0"/>
              </a:spcBef>
              <a:spcAft>
                <a:spcPct val="0"/>
              </a:spcAft>
              <a:defRPr>
                <a:solidFill>
                  <a:schemeClr val="tx1"/>
                </a:solidFill>
                <a:latin typeface="Segoe UI" charset="0"/>
                <a:ea typeface="ＭＳ Ｐゴシック" charset="0"/>
              </a:defRPr>
            </a:lvl8pPr>
            <a:lvl9pPr marL="4010762" indent="-235927" defTabSz="961731" fontAlgn="base">
              <a:spcBef>
                <a:spcPct val="0"/>
              </a:spcBef>
              <a:spcAft>
                <a:spcPct val="0"/>
              </a:spcAft>
              <a:defRPr>
                <a:solidFill>
                  <a:schemeClr val="tx1"/>
                </a:solidFill>
                <a:latin typeface="Segoe UI" charset="0"/>
                <a:ea typeface="ＭＳ Ｐゴシック" charset="0"/>
              </a:defRPr>
            </a:lvl9pPr>
          </a:lstStyle>
          <a:p>
            <a:pPr marL="0" marR="0" lvl="0" indent="0" algn="r" defTabSz="961731" rtl="0" eaLnBrk="1" fontAlgn="base" latinLnBrk="0" hangingPunct="1">
              <a:lnSpc>
                <a:spcPct val="100000"/>
              </a:lnSpc>
              <a:spcBef>
                <a:spcPct val="0"/>
              </a:spcBef>
              <a:spcAft>
                <a:spcPct val="0"/>
              </a:spcAft>
              <a:buClrTx/>
              <a:buSzTx/>
              <a:buFontTx/>
              <a:buNone/>
              <a:tabLst/>
              <a:defRPr/>
            </a:pPr>
            <a:fld id="{77B339E5-2C5A-964E-A324-80E05A226C75}" type="datetime1">
              <a:rPr kumimoji="0" lang="en-US" sz="2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61731" rtl="0" eaLnBrk="1" fontAlgn="base" latinLnBrk="0" hangingPunct="1">
                <a:lnSpc>
                  <a:spcPct val="100000"/>
                </a:lnSpc>
                <a:spcBef>
                  <a:spcPct val="0"/>
                </a:spcBef>
                <a:spcAft>
                  <a:spcPct val="0"/>
                </a:spcAft>
                <a:buClrTx/>
                <a:buSzTx/>
                <a:buFontTx/>
                <a:buNone/>
                <a:tabLst/>
                <a:defRPr/>
              </a:pPr>
              <a:t>3/29/2021</a:t>
            </a:fld>
            <a:endParaRPr kumimoji="0" lang="en-US" sz="2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61445"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66763" indent="-294908">
              <a:defRPr>
                <a:solidFill>
                  <a:schemeClr val="tx1"/>
                </a:solidFill>
                <a:latin typeface="Segoe UI" charset="0"/>
                <a:ea typeface="ＭＳ Ｐゴシック" charset="0"/>
              </a:defRPr>
            </a:lvl2pPr>
            <a:lvl3pPr marL="1179636" indent="-235927">
              <a:defRPr>
                <a:solidFill>
                  <a:schemeClr val="tx1"/>
                </a:solidFill>
                <a:latin typeface="Segoe UI" charset="0"/>
                <a:ea typeface="ＭＳ Ｐゴシック" charset="0"/>
              </a:defRPr>
            </a:lvl3pPr>
            <a:lvl4pPr marL="1651490" indent="-235927">
              <a:defRPr>
                <a:solidFill>
                  <a:schemeClr val="tx1"/>
                </a:solidFill>
                <a:latin typeface="Segoe UI" charset="0"/>
                <a:ea typeface="ＭＳ Ｐゴシック" charset="0"/>
              </a:defRPr>
            </a:lvl4pPr>
            <a:lvl5pPr marL="2123345" indent="-235927">
              <a:defRPr>
                <a:solidFill>
                  <a:schemeClr val="tx1"/>
                </a:solidFill>
                <a:latin typeface="Segoe UI" charset="0"/>
                <a:ea typeface="ＭＳ Ｐゴシック" charset="0"/>
              </a:defRPr>
            </a:lvl5pPr>
            <a:lvl6pPr marL="2595198" indent="-235927" defTabSz="961731" fontAlgn="base">
              <a:spcBef>
                <a:spcPct val="0"/>
              </a:spcBef>
              <a:spcAft>
                <a:spcPct val="0"/>
              </a:spcAft>
              <a:defRPr>
                <a:solidFill>
                  <a:schemeClr val="tx1"/>
                </a:solidFill>
                <a:latin typeface="Segoe UI" charset="0"/>
                <a:ea typeface="ＭＳ Ｐゴシック" charset="0"/>
              </a:defRPr>
            </a:lvl6pPr>
            <a:lvl7pPr marL="3067053" indent="-235927" defTabSz="961731" fontAlgn="base">
              <a:spcBef>
                <a:spcPct val="0"/>
              </a:spcBef>
              <a:spcAft>
                <a:spcPct val="0"/>
              </a:spcAft>
              <a:defRPr>
                <a:solidFill>
                  <a:schemeClr val="tx1"/>
                </a:solidFill>
                <a:latin typeface="Segoe UI" charset="0"/>
                <a:ea typeface="ＭＳ Ｐゴシック" charset="0"/>
              </a:defRPr>
            </a:lvl7pPr>
            <a:lvl8pPr marL="3538907" indent="-235927" defTabSz="961731" fontAlgn="base">
              <a:spcBef>
                <a:spcPct val="0"/>
              </a:spcBef>
              <a:spcAft>
                <a:spcPct val="0"/>
              </a:spcAft>
              <a:defRPr>
                <a:solidFill>
                  <a:schemeClr val="tx1"/>
                </a:solidFill>
                <a:latin typeface="Segoe UI" charset="0"/>
                <a:ea typeface="ＭＳ Ｐゴシック" charset="0"/>
              </a:defRPr>
            </a:lvl8pPr>
            <a:lvl9pPr marL="4010762" indent="-235927" defTabSz="961731" fontAlgn="base">
              <a:spcBef>
                <a:spcPct val="0"/>
              </a:spcBef>
              <a:spcAft>
                <a:spcPct val="0"/>
              </a:spcAft>
              <a:defRPr>
                <a:solidFill>
                  <a:schemeClr val="tx1"/>
                </a:solidFill>
                <a:latin typeface="Segoe UI" charset="0"/>
                <a:ea typeface="ＭＳ Ｐゴシック" charset="0"/>
              </a:defRPr>
            </a:lvl9pPr>
          </a:lstStyle>
          <a:p>
            <a:pPr marL="0" marR="0" lvl="0" indent="0" algn="r" defTabSz="961731" rtl="0" eaLnBrk="1" fontAlgn="base" latinLnBrk="0" hangingPunct="1">
              <a:lnSpc>
                <a:spcPct val="100000"/>
              </a:lnSpc>
              <a:spcBef>
                <a:spcPct val="0"/>
              </a:spcBef>
              <a:spcAft>
                <a:spcPct val="0"/>
              </a:spcAft>
              <a:buClrTx/>
              <a:buSzTx/>
              <a:buFontTx/>
              <a:buNone/>
              <a:tabLst/>
              <a:defRPr/>
            </a:pPr>
            <a:fld id="{1A6394F6-822C-1448-96C9-DC8FB41C7165}"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61731" rtl="0" eaLnBrk="1" fontAlgn="base"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24397308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rocess in the example is relatively simple and you can easily automate it all through scripts. However what if you expand the scope a little b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hat if you have multiple IoT Devices that you want to assign to an IoT Solution? You would need to assign each individual devices the IoT Hub Connection String. This is also relatively easy when you have one IoT Hub as you can add this information into the device at the time of manufactur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dirty="0"/>
              <a:t>Expanding a little more, you want to add new IoT Devices to a new IoT Hub, it’s getting harder because you need to keep track of multiple devices and IoT hubs and where they are assigned.</a:t>
            </a:r>
          </a:p>
          <a:p>
            <a:endParaRPr lang="en-US" dirty="0"/>
          </a:p>
          <a:p>
            <a:r>
              <a:rPr lang="en-US" dirty="0"/>
              <a:t>Finally, what if you want to assign an existing device to a new IoT Hub, this is especially difficult because the human operator would have to program the device because each IoT Hub has a unique endpoint. This last example is also not always feasible because IoT devices may be already be deployed and installed and reconfiguration is very difficul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summarize, provisioning can be a very tedious and manual process as you add new devices or expand your </a:t>
            </a:r>
            <a:r>
              <a:rPr lang="en-US" dirty="0" err="1"/>
              <a:t>iot</a:t>
            </a:r>
            <a:r>
              <a:rPr lang="en-US" dirty="0"/>
              <a:t> backend. And initial device assignment may need to change once the device has successfully provisioned.  </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sz="1200" dirty="0"/>
          </a:p>
          <a:p>
            <a:endParaRPr lang="en-US" sz="1200"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76FD910-E3AC-4095-8A0E-B90F93851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9/2021 4: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53332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mitigate some of the challenges mentioned, IoT Hub Device Provisioning Service that can simplify the provisioning setup and also allow for late assignment of IoT Devices to IoT hubs </a:t>
            </a:r>
          </a:p>
          <a:p>
            <a:endParaRPr lang="en-US" dirty="0"/>
          </a:p>
          <a:p>
            <a:endParaRPr lang="en-US" dirty="0"/>
          </a:p>
          <a:p>
            <a:endParaRPr lang="en-US" dirty="0"/>
          </a:p>
          <a:p>
            <a:r>
              <a:rPr lang="en-US" dirty="0"/>
              <a:t>after the device is connected</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2FE5E3C-C611-40B0-BCFF-B1C4AC6055C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898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dirty="0"/>
              <a:t>Let’s go over how provisioning works with a device provisions via IoT Hub Device Provisioning Service . Only one IoT hub will shown for clarity, but the process works with up to 10 hubs linked to a single DPS</a:t>
            </a:r>
          </a:p>
          <a:p>
            <a:endParaRPr lang="en-US" sz="700" dirty="0"/>
          </a:p>
          <a:p>
            <a:r>
              <a:rPr lang="en-US" sz="700" dirty="0"/>
              <a:t>[each numbered point is a literal click stop]</a:t>
            </a:r>
          </a:p>
          <a:p>
            <a:endParaRPr lang="en-US" sz="700" dirty="0"/>
          </a:p>
          <a:p>
            <a:pPr marL="228600" indent="-228600">
              <a:buFont typeface="+mj-lt"/>
              <a:buAutoNum type="arabicPeriod"/>
            </a:pPr>
            <a:r>
              <a:rPr lang="en-US" sz="700" dirty="0"/>
              <a:t>After the device is manufactured, the device enrollment information is added to the DPS. This is the only manual step in the process as part of the provisioning set-up</a:t>
            </a:r>
          </a:p>
          <a:p>
            <a:pPr marL="228600" indent="-228600">
              <a:buFont typeface="+mj-lt"/>
              <a:buAutoNum type="arabicPeriod"/>
            </a:pPr>
            <a:r>
              <a:rPr lang="en-US" sz="700" dirty="0"/>
              <a:t>At some point afterwards, which could be a day or it could be several months, the device goes online and connects to DPS to find its IoT solution home.</a:t>
            </a:r>
          </a:p>
          <a:p>
            <a:pPr marL="228600" indent="-228600">
              <a:buFont typeface="+mj-lt"/>
              <a:buAutoNum type="arabicPeriod"/>
            </a:pPr>
            <a:r>
              <a:rPr lang="en-US" sz="700" dirty="0"/>
              <a:t>DPS and the device go through an authentication handshake using the device identity info. DPS verifies the device’s identity</a:t>
            </a:r>
          </a:p>
          <a:p>
            <a:pPr marL="228600" indent="-228600">
              <a:buFont typeface="+mj-lt"/>
              <a:buAutoNum type="arabicPeriod"/>
            </a:pPr>
            <a:r>
              <a:rPr lang="en-US" sz="700" dirty="0"/>
              <a:t>DPS registers the device to IoT hub and populates the initial desired device state</a:t>
            </a:r>
          </a:p>
          <a:p>
            <a:pPr marL="228600" indent="-228600">
              <a:buFont typeface="+mj-lt"/>
              <a:buAutoNum type="arabicPeriod"/>
            </a:pPr>
            <a:r>
              <a:rPr lang="en-US" sz="700" dirty="0"/>
              <a:t>IoT hub returns IH connection info for the device</a:t>
            </a:r>
          </a:p>
          <a:p>
            <a:pPr marL="228600" indent="-228600">
              <a:buFont typeface="+mj-lt"/>
              <a:buAutoNum type="arabicPeriod"/>
            </a:pPr>
            <a:r>
              <a:rPr lang="en-US" sz="700" dirty="0"/>
              <a:t>DPS gives the device its IoT Hub connection info</a:t>
            </a:r>
          </a:p>
          <a:p>
            <a:pPr marL="228600" indent="-228600">
              <a:buFont typeface="+mj-lt"/>
              <a:buAutoNum type="arabicPeriod"/>
            </a:pPr>
            <a:r>
              <a:rPr lang="en-US" sz="700" dirty="0"/>
              <a:t>The device now establishes a connection with IoT hub…</a:t>
            </a:r>
          </a:p>
          <a:p>
            <a:pPr marL="228600" indent="-228600">
              <a:buFont typeface="+mj-lt"/>
              <a:buAutoNum type="arabicPeriod"/>
            </a:pPr>
            <a:r>
              <a:rPr lang="en-US" sz="700" dirty="0"/>
              <a:t>…and retrieves its initial config from IoT hub and makes any changes/updates, as needed</a:t>
            </a:r>
          </a:p>
          <a:p>
            <a:pPr marL="228600" indent="-228600">
              <a:buFont typeface="+mj-lt"/>
              <a:buAutoNum type="arabicPeriod"/>
            </a:pPr>
            <a:r>
              <a:rPr lang="en-US" sz="700" dirty="0"/>
              <a:t>The device starts sending telemetry to IoT hub</a:t>
            </a:r>
          </a:p>
          <a:p>
            <a:pPr marL="228600" indent="-228600">
              <a:buFont typeface="+mj-lt"/>
              <a:buAutoNum type="arabicPeriod"/>
            </a:pPr>
            <a:r>
              <a:rPr lang="en-US" sz="700" dirty="0"/>
              <a:t>The telemetry is consumed by the backend business logic</a:t>
            </a:r>
          </a:p>
          <a:p>
            <a:pPr marL="228600" indent="-228600">
              <a:buFont typeface="+mj-lt"/>
              <a:buAutoNum type="arabicPeriod"/>
            </a:pPr>
            <a:r>
              <a:rPr lang="en-US" sz="700" dirty="0"/>
              <a:t>The business logic produces insights which are transformed into commands to the device to operate more efficiently</a:t>
            </a:r>
          </a:p>
          <a:p>
            <a:pPr marL="228600" indent="-228600">
              <a:buFont typeface="+mj-lt"/>
              <a:buAutoNum type="arabicPeriod"/>
            </a:pPr>
            <a:r>
              <a:rPr lang="en-US" sz="700" dirty="0"/>
              <a:t>The telemetry/insights loop continues for the rest of the device’s useful life</a:t>
            </a:r>
          </a:p>
          <a:p>
            <a:pPr marL="228600" indent="-228600">
              <a:buFont typeface="+mj-lt"/>
              <a:buAutoNum type="arabicPeriod"/>
            </a:pPr>
            <a:endParaRPr lang="en-US" sz="700"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2FE5E3C-C611-40B0-BCFF-B1C4AC6055C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75990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dirty="0">
                <a:solidFill>
                  <a:schemeClr val="tx1"/>
                </a:solidFill>
                <a:effectLst/>
                <a:latin typeface="+mn-lt"/>
                <a:ea typeface="+mn-ea"/>
                <a:cs typeface="+mn-cs"/>
              </a:rPr>
              <a:t>Millions of device can connect to the global endpoint of the Azure IoT Hub Device Provision Service and be assigned to the correct IoT Hub. But If the devices need to change to another IoT Hub, an example could be when devices are sold to another user and now the devices need to connect to another region. IoT Hub device provisioning service can do all of this with one simple </a:t>
            </a:r>
            <a:r>
              <a:rPr lang="en-US" sz="1200" b="0" i="0" u="none" strike="noStrike" kern="1200" dirty="0" err="1">
                <a:solidFill>
                  <a:schemeClr val="tx1"/>
                </a:solidFill>
                <a:effectLst/>
                <a:latin typeface="+mn-lt"/>
                <a:ea typeface="+mn-ea"/>
                <a:cs typeface="+mn-cs"/>
              </a:rPr>
              <a:t>Iot</a:t>
            </a:r>
            <a:r>
              <a:rPr lang="en-US" sz="1200" b="0" i="0" u="none" strike="noStrike" kern="1200" dirty="0">
                <a:solidFill>
                  <a:schemeClr val="tx1"/>
                </a:solidFill>
                <a:effectLst/>
                <a:latin typeface="+mn-lt"/>
                <a:ea typeface="+mn-ea"/>
                <a:cs typeface="+mn-cs"/>
              </a:rPr>
              <a:t> Hub </a:t>
            </a:r>
            <a:r>
              <a:rPr lang="en-US" sz="1200" b="0" i="0" u="none" strike="noStrike" kern="1200" dirty="0" err="1">
                <a:solidFill>
                  <a:schemeClr val="tx1"/>
                </a:solidFill>
                <a:effectLst/>
                <a:latin typeface="+mn-lt"/>
                <a:ea typeface="+mn-ea"/>
                <a:cs typeface="+mn-cs"/>
              </a:rPr>
              <a:t>assignement</a:t>
            </a:r>
            <a:r>
              <a:rPr lang="en-US" sz="1200" b="0" i="0" u="none" strike="noStrike" kern="1200" dirty="0">
                <a:solidFill>
                  <a:schemeClr val="tx1"/>
                </a:solidFill>
                <a:effectLst/>
                <a:latin typeface="+mn-lt"/>
                <a:ea typeface="+mn-ea"/>
                <a:cs typeface="+mn-cs"/>
              </a:rPr>
              <a:t> change and allow the devices to sent out a new provision request to fetch the new IoT hub information. This is just a quick demonstration on how re-provisioning works. Devices can reconnect to IoT Hub Device Provisioning Service with a new provisioning request to get reassigned to a new IoT Hub without changing any device code</a:t>
            </a: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01DFF2A-5B43-413F-A24E-CE9F40FDD7D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25039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jump into the dev tools and the lab, let’s discuss tier</a:t>
            </a:r>
          </a:p>
          <a:p>
            <a:endParaRPr lang="en-US" dirty="0"/>
          </a:p>
          <a:p>
            <a:r>
              <a:rPr lang="en-US" b="0" i="0" dirty="0">
                <a:solidFill>
                  <a:srgbClr val="2E2E33"/>
                </a:solidFill>
                <a:effectLst/>
                <a:latin typeface="Segoe UI" panose="020B0502040204020203" pitchFamily="34" charset="0"/>
              </a:rPr>
              <a:t>IoT Hub Device Provisioning Service is billed by the number of operations. Operations include device registrations and re-registrations; operations also include service-side changes such as adding enrollment list entries, updating enrollment list entries and get/query operations. Every six months of inactivity on a given enrollment entry will incur a "keep-alive" operation.</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99306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443" rtl="0" eaLnBrk="1" fontAlgn="auto" latinLnBrk="0" hangingPunct="1">
              <a:lnSpc>
                <a:spcPct val="100000"/>
              </a:lnSpc>
              <a:spcBef>
                <a:spcPts val="0"/>
              </a:spcBef>
              <a:spcAft>
                <a:spcPts val="0"/>
              </a:spcAft>
              <a:buClrTx/>
              <a:buSzTx/>
              <a:buFontTx/>
              <a:buNone/>
              <a:tabLst/>
              <a:defRPr/>
            </a:pPr>
            <a:fld id="{B0DDCC18-5A0B-504D-8CCE-4D3433E3AD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443"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38244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5800" lvl="1" indent="-457200">
              <a:lnSpc>
                <a:spcPct val="150000"/>
              </a:lnSpc>
              <a:buFont typeface="Arial" panose="020B0604020202020204" pitchFamily="34" charset="0"/>
              <a:buChar char="•"/>
            </a:pPr>
            <a:r>
              <a:rPr lang="en-US" sz="1200" dirty="0">
                <a:solidFill>
                  <a:srgbClr val="50E6FF"/>
                </a:solidFill>
                <a:latin typeface="+mj-lt"/>
              </a:rPr>
              <a:t>Create DPS resource &amp; group enrollment. Provision device with x.509 certificate attestation </a:t>
            </a:r>
          </a:p>
          <a:p>
            <a:pPr marL="685800" lvl="1" indent="-457200">
              <a:lnSpc>
                <a:spcPct val="150000"/>
              </a:lnSpc>
              <a:buFont typeface="Arial" panose="020B0604020202020204" pitchFamily="34" charset="0"/>
              <a:buChar char="•"/>
            </a:pPr>
            <a:r>
              <a:rPr lang="en-US" sz="1200" b="0" i="0" u="none" strike="noStrike" dirty="0">
                <a:solidFill>
                  <a:srgbClr val="50E6FF"/>
                </a:solidFill>
                <a:effectLst/>
                <a:latin typeface="+mj-lt"/>
              </a:rPr>
              <a:t> </a:t>
            </a:r>
            <a:r>
              <a:rPr lang="en-US" sz="1200" dirty="0">
                <a:solidFill>
                  <a:srgbClr val="50E6FF"/>
                </a:solidFill>
                <a:latin typeface="+mj-lt"/>
              </a:rPr>
              <a:t>Send Device Telemetry to IoT Hub</a:t>
            </a:r>
          </a:p>
          <a:p>
            <a:pPr marL="685800" lvl="1" indent="-457200">
              <a:lnSpc>
                <a:spcPct val="150000"/>
              </a:lnSpc>
              <a:buFont typeface="Arial" panose="020B0604020202020204" pitchFamily="34" charset="0"/>
              <a:buChar char="•"/>
            </a:pPr>
            <a:r>
              <a:rPr lang="en-US" sz="1200" b="0" i="0" u="none" strike="noStrike" dirty="0">
                <a:solidFill>
                  <a:srgbClr val="50E6FF"/>
                </a:solidFill>
                <a:effectLst/>
                <a:latin typeface="+mj-lt"/>
              </a:rPr>
              <a:t> Deprovisio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7805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13BA99-3C33-405D-8BA7-55C22F16148E}"/>
              </a:ext>
            </a:extLst>
          </p:cNvPr>
          <p:cNvSpPr>
            <a:spLocks noGrp="1"/>
          </p:cNvSpPr>
          <p:nvPr>
            <p:ph type="body" idx="1"/>
          </p:nvPr>
        </p:nvSpPr>
        <p:spPr/>
        <p:txBody>
          <a:bodyPr/>
          <a:lstStyle/>
          <a:p>
            <a:pPr marL="0" marR="0">
              <a:spcBef>
                <a:spcPts val="0"/>
              </a:spcBef>
              <a:spcAft>
                <a:spcPts val="0"/>
              </a:spcAft>
            </a:pPr>
            <a:r>
              <a:rPr lang="en-US" sz="1800" dirty="0">
                <a:solidFill>
                  <a:srgbClr val="979797"/>
                </a:solidFill>
                <a:effectLst/>
                <a:latin typeface="Segoe UI" panose="020B0502040204020203" pitchFamily="34" charset="0"/>
              </a:rPr>
              <a:t>Azure IoT Hub and Azure Digital Twins provide the building blocks for companies to construct customized IoT solutions</a:t>
            </a:r>
          </a:p>
          <a:p>
            <a:pPr marL="0" marR="0">
              <a:spcBef>
                <a:spcPts val="0"/>
              </a:spcBef>
              <a:spcAft>
                <a:spcPts val="0"/>
              </a:spcAft>
            </a:pPr>
            <a:r>
              <a:rPr lang="en-US" sz="1800" i="1" dirty="0">
                <a:solidFill>
                  <a:srgbClr val="979797"/>
                </a:solidFill>
                <a:effectLst/>
                <a:latin typeface="Segoe UI Semilight" panose="020B0402040204020203" pitchFamily="34" charset="0"/>
              </a:rPr>
              <a:t>The right fit for businesses with </a:t>
            </a:r>
            <a:r>
              <a:rPr lang="en-US" sz="1800" b="1" i="1" dirty="0">
                <a:solidFill>
                  <a:srgbClr val="979797"/>
                </a:solidFill>
                <a:effectLst/>
                <a:latin typeface="Segoe UI" panose="020B0502040204020203" pitchFamily="34" charset="0"/>
              </a:rPr>
              <a:t>cloud solution and device expertise</a:t>
            </a:r>
            <a:r>
              <a:rPr lang="en-US" sz="1800" i="1" dirty="0">
                <a:solidFill>
                  <a:srgbClr val="979797"/>
                </a:solidFill>
                <a:effectLst/>
                <a:latin typeface="Segoe UI" panose="020B0502040204020203" pitchFamily="34" charset="0"/>
              </a:rPr>
              <a:t> (in-house or through partnerships) </a:t>
            </a:r>
            <a:r>
              <a:rPr lang="en-US" sz="1800" i="1" dirty="0">
                <a:solidFill>
                  <a:srgbClr val="979797"/>
                </a:solidFill>
                <a:effectLst/>
                <a:latin typeface="Segoe UI Semilight" panose="020B0402040204020203" pitchFamily="34" charset="0"/>
              </a:rPr>
              <a:t>who want to </a:t>
            </a:r>
            <a:r>
              <a:rPr lang="en-US" sz="1800" b="1" i="1" dirty="0">
                <a:solidFill>
                  <a:srgbClr val="979797"/>
                </a:solidFill>
                <a:effectLst/>
                <a:latin typeface="Segoe UI" panose="020B0502040204020203" pitchFamily="34" charset="0"/>
              </a:rPr>
              <a:t>fine-tune their services</a:t>
            </a:r>
            <a:r>
              <a:rPr lang="en-US" sz="1800" i="1" dirty="0">
                <a:solidFill>
                  <a:srgbClr val="979797"/>
                </a:solidFill>
                <a:effectLst/>
                <a:latin typeface="Segoe UI Semilight" panose="020B0402040204020203" pitchFamily="34" charset="0"/>
              </a:rPr>
              <a:t> with a </a:t>
            </a:r>
            <a:r>
              <a:rPr lang="en-US" sz="1800" b="1" i="1" dirty="0">
                <a:solidFill>
                  <a:srgbClr val="979797"/>
                </a:solidFill>
                <a:effectLst/>
                <a:latin typeface="Segoe UI" panose="020B0502040204020203" pitchFamily="34" charset="0"/>
              </a:rPr>
              <a:t>high degree of control and customization</a:t>
            </a:r>
          </a:p>
          <a:p>
            <a:pPr marL="0" marR="0">
              <a:spcBef>
                <a:spcPts val="0"/>
              </a:spcBef>
              <a:spcAft>
                <a:spcPts val="0"/>
              </a:spcAft>
            </a:pPr>
            <a:endParaRPr lang="en-US" sz="1800" b="1" i="1" dirty="0">
              <a:solidFill>
                <a:srgbClr val="979797"/>
              </a:solidFill>
              <a:effectLst/>
              <a:latin typeface="Segoe UI" panose="020B0502040204020203" pitchFamily="34" charset="0"/>
            </a:endParaRPr>
          </a:p>
          <a:p>
            <a:pPr marL="0" marR="0">
              <a:spcBef>
                <a:spcPts val="0"/>
              </a:spcBef>
              <a:spcAft>
                <a:spcPts val="0"/>
              </a:spcAft>
            </a:pPr>
            <a:r>
              <a:rPr lang="en-US" sz="1800" b="1" i="1" dirty="0">
                <a:solidFill>
                  <a:srgbClr val="979797"/>
                </a:solidFill>
                <a:effectLst/>
                <a:latin typeface="Segoe UI" panose="020B0502040204020203" pitchFamily="34" charset="0"/>
              </a:rPr>
              <a:t>You can connect devices to IoT Hub </a:t>
            </a:r>
          </a:p>
          <a:p>
            <a:pPr marL="0" marR="0">
              <a:spcBef>
                <a:spcPts val="0"/>
              </a:spcBef>
              <a:spcAft>
                <a:spcPts val="0"/>
              </a:spcAft>
            </a:pPr>
            <a:endParaRPr lang="en-US" sz="1800" b="1" i="1" dirty="0">
              <a:solidFill>
                <a:srgbClr val="979797"/>
              </a:solidFill>
              <a:effectLst/>
              <a:latin typeface="Segoe UI" panose="020B0502040204020203" pitchFamily="34" charset="0"/>
            </a:endParaRPr>
          </a:p>
          <a:p>
            <a:pPr marL="0" marR="0">
              <a:spcBef>
                <a:spcPts val="0"/>
              </a:spcBef>
              <a:spcAft>
                <a:spcPts val="0"/>
              </a:spcAft>
            </a:pPr>
            <a:r>
              <a:rPr lang="en-US" sz="1800" dirty="0">
                <a:solidFill>
                  <a:srgbClr val="979797"/>
                </a:solidFill>
                <a:effectLst/>
                <a:latin typeface="Segoe UI" panose="020B0502040204020203" pitchFamily="34" charset="0"/>
              </a:rPr>
              <a:t>Azure IoT Central enables companies to get started quickly building IoT applications with a fully-managed IoT solution offering.</a:t>
            </a:r>
          </a:p>
          <a:p>
            <a:pPr marL="0" marR="0">
              <a:spcBef>
                <a:spcPts val="0"/>
              </a:spcBef>
              <a:spcAft>
                <a:spcPts val="0"/>
              </a:spcAft>
            </a:pPr>
            <a:r>
              <a:rPr lang="en-US" sz="1800" i="1" dirty="0">
                <a:solidFill>
                  <a:srgbClr val="979797"/>
                </a:solidFill>
                <a:effectLst/>
                <a:latin typeface="Segoe UI" panose="020B0502040204020203" pitchFamily="34" charset="0"/>
              </a:rPr>
              <a:t>The right fit for businesses that </a:t>
            </a:r>
            <a:r>
              <a:rPr lang="en-US" sz="1800" b="1" i="1" dirty="0">
                <a:solidFill>
                  <a:srgbClr val="979797"/>
                </a:solidFill>
                <a:effectLst/>
                <a:latin typeface="Segoe UI" panose="020B0502040204020203" pitchFamily="34" charset="0"/>
              </a:rPr>
              <a:t>do not wish to dedicate extensive resources to system architecture </a:t>
            </a:r>
            <a:r>
              <a:rPr lang="en-US" sz="1800" i="1" dirty="0">
                <a:solidFill>
                  <a:srgbClr val="979797"/>
                </a:solidFill>
                <a:effectLst/>
                <a:latin typeface="Segoe UI" panose="020B0502040204020203" pitchFamily="34" charset="0"/>
              </a:rPr>
              <a:t>and want to select a solution that provides </a:t>
            </a:r>
            <a:r>
              <a:rPr lang="en-US" sz="1800" b="1" i="1" dirty="0">
                <a:solidFill>
                  <a:srgbClr val="979797"/>
                </a:solidFill>
                <a:effectLst/>
                <a:latin typeface="Segoe UI" panose="020B0502040204020203" pitchFamily="34" charset="0"/>
              </a:rPr>
              <a:t>predictable pricing </a:t>
            </a:r>
            <a:r>
              <a:rPr lang="en-US" sz="1800" i="1" dirty="0">
                <a:solidFill>
                  <a:srgbClr val="979797"/>
                </a:solidFill>
                <a:effectLst/>
                <a:latin typeface="Segoe UI" panose="020B0502040204020203" pitchFamily="34" charset="0"/>
              </a:rPr>
              <a:t>and the ability to customize branding, device types, data management and user roles. </a:t>
            </a:r>
            <a:endParaRPr lang="en-US" sz="1800" dirty="0">
              <a:solidFill>
                <a:srgbClr val="979797"/>
              </a:solidFill>
              <a:effectLst/>
              <a:latin typeface="Segoe UI" panose="020B0502040204020203" pitchFamily="34" charset="0"/>
            </a:endParaRPr>
          </a:p>
          <a:p>
            <a:endParaRPr lang="en-US" sz="1800" dirty="0">
              <a:solidFill>
                <a:srgbClr val="000000"/>
              </a:solidFill>
              <a:effectLst/>
              <a:latin typeface="Calibri" panose="020F0502020204030204" pitchFamily="34" charset="0"/>
            </a:endParaRPr>
          </a:p>
          <a:p>
            <a:r>
              <a:rPr lang="en-US" sz="1800" dirty="0">
                <a:solidFill>
                  <a:srgbClr val="000000"/>
                </a:solidFill>
                <a:effectLst/>
                <a:latin typeface="Calibri" panose="020F0502020204030204" pitchFamily="34" charset="0"/>
              </a:rPr>
              <a:t>Questions to ask yourself on which choice to take:</a:t>
            </a:r>
          </a:p>
          <a:p>
            <a:pPr marL="0" marR="0">
              <a:spcBef>
                <a:spcPts val="0"/>
              </a:spcBef>
              <a:spcAft>
                <a:spcPts val="0"/>
              </a:spcAft>
            </a:pPr>
            <a:r>
              <a:rPr lang="en-US" sz="1800" dirty="0">
                <a:solidFill>
                  <a:srgbClr val="979797"/>
                </a:solidFill>
                <a:effectLst/>
                <a:latin typeface="Segoe UI Semibold" panose="020B0702040204020203" pitchFamily="34" charset="0"/>
              </a:rPr>
              <a:t>1) Expertise: </a:t>
            </a:r>
            <a:r>
              <a:rPr lang="en-US" sz="1800" dirty="0">
                <a:solidFill>
                  <a:srgbClr val="979797"/>
                </a:solidFill>
                <a:effectLst/>
                <a:latin typeface="Segoe UI Semilight" panose="020B0402040204020203" pitchFamily="34" charset="0"/>
              </a:rPr>
              <a:t>How proficient are you with building cloud solutions</a:t>
            </a:r>
            <a:endParaRPr lang="en-US" sz="1800" dirty="0">
              <a:solidFill>
                <a:srgbClr val="979797"/>
              </a:solidFill>
              <a:effectLst/>
              <a:latin typeface="Calibri" panose="020F0502020204030204" pitchFamily="34" charset="0"/>
            </a:endParaRPr>
          </a:p>
          <a:p>
            <a:pPr marL="0" marR="0">
              <a:spcBef>
                <a:spcPts val="0"/>
              </a:spcBef>
              <a:spcAft>
                <a:spcPts val="0"/>
              </a:spcAft>
            </a:pPr>
            <a:r>
              <a:rPr lang="en-US" sz="1800" dirty="0">
                <a:solidFill>
                  <a:srgbClr val="979797"/>
                </a:solidFill>
                <a:effectLst/>
                <a:latin typeface="Segoe UI Semibold" panose="020B0702040204020203" pitchFamily="34" charset="0"/>
              </a:rPr>
              <a:t>2) Control: </a:t>
            </a:r>
            <a:r>
              <a:rPr lang="en-US" sz="1800" dirty="0">
                <a:solidFill>
                  <a:srgbClr val="979797"/>
                </a:solidFill>
                <a:effectLst/>
                <a:latin typeface="Segoe UI Semilight" panose="020B0402040204020203" pitchFamily="34" charset="0"/>
              </a:rPr>
              <a:t>What elements of my solution do I want to customize</a:t>
            </a:r>
            <a:endParaRPr lang="en-US" sz="1800" dirty="0">
              <a:solidFill>
                <a:srgbClr val="979797"/>
              </a:solidFill>
              <a:effectLst/>
              <a:latin typeface="Calibri" panose="020F0502020204030204" pitchFamily="34" charset="0"/>
            </a:endParaRPr>
          </a:p>
          <a:p>
            <a:pPr marL="0" marR="0">
              <a:spcBef>
                <a:spcPts val="0"/>
              </a:spcBef>
              <a:spcAft>
                <a:spcPts val="0"/>
              </a:spcAft>
            </a:pPr>
            <a:r>
              <a:rPr lang="en-US" sz="1800" dirty="0">
                <a:solidFill>
                  <a:srgbClr val="979797"/>
                </a:solidFill>
                <a:effectLst/>
                <a:latin typeface="Segoe UI Semibold" panose="020B0702040204020203" pitchFamily="34" charset="0"/>
              </a:rPr>
              <a:t>3) Pricing: </a:t>
            </a:r>
            <a:r>
              <a:rPr lang="en-US" sz="1800" dirty="0">
                <a:solidFill>
                  <a:srgbClr val="979797"/>
                </a:solidFill>
                <a:effectLst/>
                <a:latin typeface="Segoe UI Semilight" panose="020B0402040204020203" pitchFamily="34" charset="0"/>
              </a:rPr>
              <a:t>What structure best fits your needs?</a:t>
            </a:r>
            <a:endParaRPr lang="en-US" sz="1800" dirty="0">
              <a:solidFill>
                <a:srgbClr val="979797"/>
              </a:solidFill>
              <a:effectLst/>
              <a:latin typeface="Calibri" panose="020F0502020204030204" pitchFamily="34" charset="0"/>
            </a:endParaRPr>
          </a:p>
          <a:p>
            <a:pPr marL="0" marR="0">
              <a:spcBef>
                <a:spcPts val="0"/>
              </a:spcBef>
              <a:spcAft>
                <a:spcPts val="0"/>
              </a:spcAft>
            </a:pPr>
            <a:endParaRPr lang="en-US" sz="1800" dirty="0">
              <a:solidFill>
                <a:srgbClr val="979797"/>
              </a:solidFill>
              <a:effectLst/>
              <a:latin typeface="Calibri" panose="020F0502020204030204" pitchFamily="34" charset="0"/>
            </a:endParaRPr>
          </a:p>
          <a:p>
            <a:endParaRPr lang="en-US" dirty="0"/>
          </a:p>
          <a:p>
            <a:endParaRPr lang="en-US" dirty="0"/>
          </a:p>
        </p:txBody>
      </p:sp>
    </p:spTree>
    <p:extLst>
      <p:ext uri="{BB962C8B-B14F-4D97-AF65-F5344CB8AC3E}">
        <p14:creationId xmlns:p14="http://schemas.microsoft.com/office/powerpoint/2010/main" val="37735511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AU"/>
              <a:t>Quick recap from the </a:t>
            </a:r>
            <a:r>
              <a:rPr lang="en-US">
                <a:solidFill>
                  <a:schemeClr val="dk1"/>
                </a:solidFill>
              </a:rPr>
              <a:t>Deciphering Data Introduction session</a:t>
            </a:r>
            <a:endParaRPr lang="en-AU"/>
          </a:p>
          <a:p>
            <a:pPr marL="228600" indent="-228600">
              <a:buFont typeface="+mj-lt"/>
              <a:buAutoNum type="arabicPeriod"/>
            </a:pPr>
            <a:r>
              <a:rPr lang="en-AU"/>
              <a:t>Things :</a:t>
            </a:r>
          </a:p>
          <a:p>
            <a:pPr marL="228600" lvl="6" indent="-228600">
              <a:buFont typeface="Arial" panose="020B0604020202020204" pitchFamily="34" charset="0"/>
              <a:buChar char="•"/>
            </a:pPr>
            <a:r>
              <a:rPr lang="en-AU"/>
              <a:t>Directly connected, via a gateway, or intelligent edge devices</a:t>
            </a:r>
          </a:p>
          <a:p>
            <a:pPr marL="228600" lvl="4" indent="-228600">
              <a:buFont typeface="Arial" panose="020B0604020202020204" pitchFamily="34" charset="0"/>
              <a:buChar char="•"/>
            </a:pPr>
            <a:r>
              <a:rPr lang="en-AU"/>
              <a:t>If you are a device developer you need to be thinking about message types, data types, serialisation, and metadata as these simply data processing in the cloud.</a:t>
            </a:r>
          </a:p>
          <a:p>
            <a:pPr marL="228600" lvl="4" indent="-228600">
              <a:buFont typeface="+mj-lt"/>
              <a:buAutoNum type="arabicPeriod"/>
            </a:pPr>
            <a:r>
              <a:rPr lang="en-AU"/>
              <a:t>Insights</a:t>
            </a:r>
          </a:p>
          <a:p>
            <a:pPr marL="228600" lvl="5" indent="-228600">
              <a:buFont typeface="Arial" panose="020B0604020202020204" pitchFamily="34" charset="0"/>
              <a:buChar char="•"/>
            </a:pPr>
            <a:r>
              <a:rPr lang="en-AU"/>
              <a:t>Stream processing, data transformation, and Storing</a:t>
            </a:r>
          </a:p>
          <a:p>
            <a:pPr marL="228600" lvl="5" indent="-228600">
              <a:buFont typeface="Arial" panose="020B0604020202020204" pitchFamily="34" charset="0"/>
              <a:buChar char="•"/>
            </a:pPr>
            <a:r>
              <a:rPr lang="en-AU"/>
              <a:t>Remember to consider the volume and value of data as this will guide you as to where you are storing data</a:t>
            </a:r>
          </a:p>
          <a:p>
            <a:pPr marL="228600" lvl="5" indent="-228600">
              <a:buFont typeface="Arial" panose="020B0604020202020204" pitchFamily="34" charset="0"/>
              <a:buChar char="•"/>
            </a:pPr>
            <a:r>
              <a:rPr lang="en-AU"/>
              <a:t>Actions</a:t>
            </a:r>
          </a:p>
          <a:p>
            <a:pPr marL="228600" marR="0" lvl="5" indent="-22860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a:t>Integration with business systems</a:t>
            </a:r>
          </a:p>
          <a:p>
            <a:pPr marL="228600" lvl="5" indent="-228600">
              <a:buFont typeface="+mj-lt"/>
              <a:buAutoNum type="arabicPeriod"/>
            </a:pPr>
            <a:r>
              <a:rPr lang="en-AU"/>
              <a:t>Make better business decision based on data</a:t>
            </a:r>
          </a:p>
          <a:p>
            <a:pPr marL="228600" lvl="5" indent="-228600">
              <a:buFont typeface="Arial" panose="020B0604020202020204" pitchFamily="34" charset="0"/>
              <a:buChar char="•"/>
            </a:pPr>
            <a:r>
              <a:rPr lang="en-AU"/>
              <a:t>Opportunities to automate</a:t>
            </a:r>
          </a:p>
          <a:p>
            <a:pPr marL="228600" lvl="5" indent="-228600">
              <a:buFont typeface="Arial" panose="020B0604020202020204" pitchFamily="34" charset="0"/>
              <a:buChar char="•"/>
            </a:pPr>
            <a:r>
              <a:rPr lang="en-AU"/>
              <a:t>Batch analytics and training machine learning</a:t>
            </a:r>
          </a:p>
          <a:p>
            <a:pPr marL="228600" lvl="5" indent="-228600">
              <a:buFont typeface="Arial" panose="020B0604020202020204" pitchFamily="34" charset="0"/>
              <a:buChar char="•"/>
            </a:pPr>
            <a:endParaRPr lang="en-AU"/>
          </a:p>
        </p:txBody>
      </p:sp>
    </p:spTree>
    <p:extLst>
      <p:ext uri="{BB962C8B-B14F-4D97-AF65-F5344CB8AC3E}">
        <p14:creationId xmlns:p14="http://schemas.microsoft.com/office/powerpoint/2010/main" val="2895423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a:t>Speaker transcript</a:t>
            </a:r>
            <a:endParaRPr lang="en-US" sz="1800" b="0" dirty="0"/>
          </a:p>
          <a:p>
            <a:r>
              <a:rPr lang="en-US" sz="1800" b="0" dirty="0"/>
              <a:t>We just saw that integrating IoT data into your Data Analytics landscape is possible. Now, let’s see some concrete examples on hot to get insights and actions from your IoT Data.</a:t>
            </a:r>
            <a:endParaRPr lang="en-US" sz="1800" b="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086918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11111"/>
                </a:solidFill>
                <a:effectLst/>
                <a:latin typeface="Roboto" panose="02000000000000000000" pitchFamily="2" charset="0"/>
              </a:rPr>
              <a:t>Devices can connect directly to the Internet</a:t>
            </a:r>
          </a:p>
          <a:p>
            <a:endParaRPr lang="en-US" b="0" i="0" dirty="0">
              <a:solidFill>
                <a:srgbClr val="111111"/>
              </a:solidFill>
              <a:effectLst/>
              <a:latin typeface="Roboto" panose="02000000000000000000" pitchFamily="2" charset="0"/>
            </a:endParaRPr>
          </a:p>
          <a:p>
            <a:r>
              <a:rPr lang="en-US" b="0" i="0" dirty="0">
                <a:solidFill>
                  <a:srgbClr val="171717"/>
                </a:solidFill>
                <a:effectLst/>
                <a:latin typeface="Segoe UI" panose="020B0502040204020203" pitchFamily="34" charset="0"/>
              </a:rPr>
              <a:t>IPv6 is currently not supported on IoT Hub.</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124604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434" rtl="0" eaLnBrk="1" fontAlgn="auto" latinLnBrk="0" hangingPunct="1">
              <a:lnSpc>
                <a:spcPct val="100000"/>
              </a:lnSpc>
              <a:spcBef>
                <a:spcPct val="0"/>
              </a:spcBef>
              <a:spcAft>
                <a:spcPts val="600"/>
              </a:spcAft>
              <a:buClrTx/>
              <a:buSzTx/>
              <a:buFontTx/>
              <a:buNone/>
              <a:tabLst/>
              <a:defRPr/>
            </a:pPr>
            <a:r>
              <a:rPr lang="en-US" dirty="0"/>
              <a:t>MQTT Version 3.1.1</a:t>
            </a:r>
          </a:p>
          <a:p>
            <a:pPr marL="0" marR="0" lvl="0" indent="0" algn="l" defTabSz="913434" rtl="0" eaLnBrk="1" fontAlgn="auto" latinLnBrk="0" hangingPunct="1">
              <a:lnSpc>
                <a:spcPct val="100000"/>
              </a:lnSpc>
              <a:spcBef>
                <a:spcPct val="0"/>
              </a:spcBef>
              <a:spcAft>
                <a:spcPts val="600"/>
              </a:spcAft>
              <a:buClrTx/>
              <a:buSzTx/>
              <a:buFontTx/>
              <a:buNone/>
              <a:tabLst/>
              <a:defRPr/>
            </a:pPr>
            <a:endParaRPr lang="en-US" sz="1200" dirty="0">
              <a:gradFill>
                <a:gsLst>
                  <a:gs pos="0">
                    <a:srgbClr val="000000"/>
                  </a:gs>
                  <a:gs pos="100000">
                    <a:srgbClr val="000000"/>
                  </a:gs>
                </a:gsLst>
                <a:lin ang="5400000" scaled="0"/>
              </a:gradFill>
              <a:latin typeface="+mn-lt"/>
            </a:endParaRPr>
          </a:p>
          <a:p>
            <a:pPr algn="l"/>
            <a:r>
              <a:rPr lang="en-US" b="0" i="0" dirty="0">
                <a:solidFill>
                  <a:srgbClr val="171717"/>
                </a:solidFill>
                <a:effectLst/>
                <a:latin typeface="Segoe UI" panose="020B0502040204020203" pitchFamily="34" charset="0"/>
              </a:rPr>
              <a:t>The following table provides the high-level recommendations for your choice of protocol for device side:</a:t>
            </a:r>
          </a:p>
          <a:p>
            <a:pPr algn="l"/>
            <a:r>
              <a:rPr lang="en-US" b="0" i="0" dirty="0">
                <a:solidFill>
                  <a:srgbClr val="171717"/>
                </a:solidFill>
                <a:effectLst/>
                <a:latin typeface="Segoe UI" panose="020B0502040204020203" pitchFamily="34" charset="0"/>
              </a:rPr>
              <a:t>TABLE 1ProtocolWhen you should choose this protocol</a:t>
            </a:r>
          </a:p>
          <a:p>
            <a:pPr algn="l"/>
            <a:r>
              <a:rPr lang="en-US" b="0" i="0" dirty="0">
                <a:solidFill>
                  <a:srgbClr val="171717"/>
                </a:solidFill>
                <a:effectLst/>
                <a:latin typeface="Segoe UI" panose="020B0502040204020203" pitchFamily="34" charset="0"/>
              </a:rPr>
              <a:t>MQTT &amp; MQTT over </a:t>
            </a:r>
            <a:r>
              <a:rPr lang="en-US" b="0" i="0" dirty="0" err="1">
                <a:solidFill>
                  <a:srgbClr val="171717"/>
                </a:solidFill>
                <a:effectLst/>
                <a:latin typeface="Segoe UI" panose="020B0502040204020203" pitchFamily="34" charset="0"/>
              </a:rPr>
              <a:t>WebSocketUse</a:t>
            </a:r>
            <a:r>
              <a:rPr lang="en-US" b="0" i="0" dirty="0">
                <a:solidFill>
                  <a:srgbClr val="171717"/>
                </a:solidFill>
                <a:effectLst/>
                <a:latin typeface="Segoe UI" panose="020B0502040204020203" pitchFamily="34" charset="0"/>
              </a:rPr>
              <a:t> on all devices that do not require to connect multiple devices (each with its own per-device credentials) over the same TLS connection.</a:t>
            </a:r>
          </a:p>
          <a:p>
            <a:pPr algn="l"/>
            <a:r>
              <a:rPr lang="en-US" b="0" i="0" dirty="0">
                <a:solidFill>
                  <a:srgbClr val="171717"/>
                </a:solidFill>
                <a:effectLst/>
                <a:latin typeface="Segoe UI" panose="020B0502040204020203" pitchFamily="34" charset="0"/>
              </a:rPr>
              <a:t>AMQP &amp; AMQP over </a:t>
            </a:r>
            <a:r>
              <a:rPr lang="en-US" b="0" i="0" dirty="0" err="1">
                <a:solidFill>
                  <a:srgbClr val="171717"/>
                </a:solidFill>
                <a:effectLst/>
                <a:latin typeface="Segoe UI" panose="020B0502040204020203" pitchFamily="34" charset="0"/>
              </a:rPr>
              <a:t>WebSocketUse</a:t>
            </a:r>
            <a:r>
              <a:rPr lang="en-US" b="0" i="0" dirty="0">
                <a:solidFill>
                  <a:srgbClr val="171717"/>
                </a:solidFill>
                <a:effectLst/>
                <a:latin typeface="Segoe UI" panose="020B0502040204020203" pitchFamily="34" charset="0"/>
              </a:rPr>
              <a:t> on field and cloud gateways to take advantage of connection multiplexing across devices.</a:t>
            </a:r>
          </a:p>
          <a:p>
            <a:pPr algn="l"/>
            <a:r>
              <a:rPr lang="en-US" b="0" i="0" dirty="0">
                <a:solidFill>
                  <a:srgbClr val="171717"/>
                </a:solidFill>
                <a:effectLst/>
                <a:latin typeface="Segoe UI" panose="020B0502040204020203" pitchFamily="34" charset="0"/>
              </a:rPr>
              <a:t>HTTPS: Use for devices that cannot support other protocols.</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Consider the following points when you choose your protocol for device-side communications:</a:t>
            </a:r>
          </a:p>
          <a:p>
            <a:pPr algn="l">
              <a:buFont typeface="Arial" panose="020B0604020202020204" pitchFamily="34" charset="0"/>
              <a:buChar char="•"/>
            </a:pPr>
            <a:r>
              <a:rPr lang="en-US" b="1" i="0" dirty="0">
                <a:solidFill>
                  <a:srgbClr val="171717"/>
                </a:solidFill>
                <a:effectLst/>
                <a:latin typeface="Segoe UI" panose="020B0502040204020203" pitchFamily="34" charset="0"/>
              </a:rPr>
              <a:t>Cloud-to-device pattern</a:t>
            </a:r>
            <a:r>
              <a:rPr lang="en-US" b="0" i="0" dirty="0">
                <a:solidFill>
                  <a:srgbClr val="171717"/>
                </a:solidFill>
                <a:effectLst/>
                <a:latin typeface="Segoe UI" panose="020B0502040204020203" pitchFamily="34" charset="0"/>
              </a:rPr>
              <a:t>. HTTPS does not have an efficient way to implement server push. As such, when you are using HTTPS, devices poll IoT Hub for cloud-to-device messages. This approach is inefficient for both the device and IoT Hub. Under current HTTPS guidelines, each device should poll for messages every 25 minutes or more. Issuing more HTTPS receives results in IoT Hub throttling the requests. MQTT and AMQP support server push when receiving cloud-to-device messages. They enable immediate pushes of messages from IoT Hub to the device. If delivery latency is a concern, MQTT or AMQP are the best protocols to use. For rarely connected devices, HTTPS works as well.</a:t>
            </a:r>
          </a:p>
          <a:p>
            <a:pPr algn="l">
              <a:buFont typeface="Arial" panose="020B0604020202020204" pitchFamily="34" charset="0"/>
              <a:buChar char="•"/>
            </a:pPr>
            <a:r>
              <a:rPr lang="en-US" b="1" i="0" dirty="0">
                <a:solidFill>
                  <a:srgbClr val="171717"/>
                </a:solidFill>
                <a:effectLst/>
                <a:latin typeface="Segoe UI" panose="020B0502040204020203" pitchFamily="34" charset="0"/>
              </a:rPr>
              <a:t>Field gateways</a:t>
            </a:r>
            <a:r>
              <a:rPr lang="en-US" b="0" i="0" dirty="0">
                <a:solidFill>
                  <a:srgbClr val="171717"/>
                </a:solidFill>
                <a:effectLst/>
                <a:latin typeface="Segoe UI" panose="020B0502040204020203" pitchFamily="34" charset="0"/>
              </a:rPr>
              <a:t>. MQTT and HTTPS support only a single device identity (device ID plus credentials) per TLS connection. For this reason, these protocols are not supported for </a:t>
            </a:r>
            <a:r>
              <a:rPr lang="en-US" b="0" i="0" u="none" strike="noStrike" dirty="0">
                <a:solidFill>
                  <a:srgbClr val="171717"/>
                </a:solidFill>
                <a:effectLst/>
                <a:latin typeface="Segoe UI" panose="020B0502040204020203" pitchFamily="34" charset="0"/>
                <a:hlinkClick r:id="rId3"/>
              </a:rPr>
              <a:t>field gateway scenarios</a:t>
            </a:r>
            <a:r>
              <a:rPr lang="en-US" b="0" i="0" dirty="0">
                <a:solidFill>
                  <a:srgbClr val="171717"/>
                </a:solidFill>
                <a:effectLst/>
                <a:latin typeface="Segoe UI" panose="020B0502040204020203" pitchFamily="34" charset="0"/>
              </a:rPr>
              <a:t> that require multiplexing messages using multiple device identities across a single or a pool of upstream connections to IoT Hub. Such gateways can use a protocol that supports multiple device identities per connection, like AMQP, for their upstream traffic.</a:t>
            </a:r>
          </a:p>
          <a:p>
            <a:pPr algn="l">
              <a:buFont typeface="Arial" panose="020B0604020202020204" pitchFamily="34" charset="0"/>
              <a:buChar char="•"/>
            </a:pPr>
            <a:r>
              <a:rPr lang="en-US" b="1" i="0" dirty="0">
                <a:solidFill>
                  <a:srgbClr val="171717"/>
                </a:solidFill>
                <a:effectLst/>
                <a:latin typeface="Segoe UI" panose="020B0502040204020203" pitchFamily="34" charset="0"/>
              </a:rPr>
              <a:t>Low resource devices</a:t>
            </a:r>
            <a:r>
              <a:rPr lang="en-US" b="0" i="0" dirty="0">
                <a:solidFill>
                  <a:srgbClr val="171717"/>
                </a:solidFill>
                <a:effectLst/>
                <a:latin typeface="Segoe UI" panose="020B0502040204020203" pitchFamily="34" charset="0"/>
              </a:rPr>
              <a:t>. The MQTT and HTTPS libraries have a smaller footprint than the AMQP libraries. As such, if the device has limited resources (for example, less than 1-MB RAM), these protocols might be the only protocol implementation available.</a:t>
            </a:r>
          </a:p>
          <a:p>
            <a:pPr algn="l">
              <a:buFont typeface="Arial" panose="020B0604020202020204" pitchFamily="34" charset="0"/>
              <a:buChar char="•"/>
            </a:pPr>
            <a:r>
              <a:rPr lang="en-US" b="1" i="0" dirty="0">
                <a:solidFill>
                  <a:srgbClr val="171717"/>
                </a:solidFill>
                <a:effectLst/>
                <a:latin typeface="Segoe UI" panose="020B0502040204020203" pitchFamily="34" charset="0"/>
              </a:rPr>
              <a:t>Network traversal</a:t>
            </a:r>
            <a:r>
              <a:rPr lang="en-US" b="0" i="0" dirty="0">
                <a:solidFill>
                  <a:srgbClr val="171717"/>
                </a:solidFill>
                <a:effectLst/>
                <a:latin typeface="Segoe UI" panose="020B0502040204020203" pitchFamily="34" charset="0"/>
              </a:rPr>
              <a:t>. The standard AMQP protocol uses port 5671, and MQTT listens on port 8883. Use of these ports could cause problems in networks that are closed to non-HTTPS protocols. Use MQTT over </a:t>
            </a:r>
            <a:r>
              <a:rPr lang="en-US" b="0" i="0" dirty="0" err="1">
                <a:solidFill>
                  <a:srgbClr val="171717"/>
                </a:solidFill>
                <a:effectLst/>
                <a:latin typeface="Segoe UI" panose="020B0502040204020203" pitchFamily="34" charset="0"/>
              </a:rPr>
              <a:t>WebSockets</a:t>
            </a:r>
            <a:r>
              <a:rPr lang="en-US" b="0" i="0" dirty="0">
                <a:solidFill>
                  <a:srgbClr val="171717"/>
                </a:solidFill>
                <a:effectLst/>
                <a:latin typeface="Segoe UI" panose="020B0502040204020203" pitchFamily="34" charset="0"/>
              </a:rPr>
              <a:t>, AMQP over </a:t>
            </a:r>
            <a:r>
              <a:rPr lang="en-US" b="0" i="0" dirty="0" err="1">
                <a:solidFill>
                  <a:srgbClr val="171717"/>
                </a:solidFill>
                <a:effectLst/>
                <a:latin typeface="Segoe UI" panose="020B0502040204020203" pitchFamily="34" charset="0"/>
              </a:rPr>
              <a:t>WebSockets</a:t>
            </a:r>
            <a:r>
              <a:rPr lang="en-US" b="0" i="0" dirty="0">
                <a:solidFill>
                  <a:srgbClr val="171717"/>
                </a:solidFill>
                <a:effectLst/>
                <a:latin typeface="Segoe UI" panose="020B0502040204020203" pitchFamily="34" charset="0"/>
              </a:rPr>
              <a:t>, or HTTPS in this scenario.</a:t>
            </a:r>
          </a:p>
          <a:p>
            <a:pPr algn="l">
              <a:buFont typeface="Arial" panose="020B0604020202020204" pitchFamily="34" charset="0"/>
              <a:buChar char="•"/>
            </a:pPr>
            <a:r>
              <a:rPr lang="en-US" b="1" i="0" dirty="0">
                <a:solidFill>
                  <a:srgbClr val="171717"/>
                </a:solidFill>
                <a:effectLst/>
                <a:latin typeface="Segoe UI" panose="020B0502040204020203" pitchFamily="34" charset="0"/>
              </a:rPr>
              <a:t>Payload size</a:t>
            </a:r>
            <a:r>
              <a:rPr lang="en-US" b="0" i="0" dirty="0">
                <a:solidFill>
                  <a:srgbClr val="171717"/>
                </a:solidFill>
                <a:effectLst/>
                <a:latin typeface="Segoe UI" panose="020B0502040204020203" pitchFamily="34" charset="0"/>
              </a:rPr>
              <a:t>. MQTT and AMQP are binary protocols, which result in more compact payloads than HTTPS.</a:t>
            </a:r>
          </a:p>
          <a:p>
            <a:pPr marL="0" marR="0" lvl="0" indent="0" algn="l" defTabSz="913434" rtl="0" eaLnBrk="1" fontAlgn="auto" latinLnBrk="0" hangingPunct="1">
              <a:lnSpc>
                <a:spcPct val="100000"/>
              </a:lnSpc>
              <a:spcBef>
                <a:spcPct val="0"/>
              </a:spcBef>
              <a:spcAft>
                <a:spcPts val="600"/>
              </a:spcAft>
              <a:buClrTx/>
              <a:buSzTx/>
              <a:buFontTx/>
              <a:buNone/>
              <a:tabLst/>
              <a:defRPr/>
            </a:pPr>
            <a:endParaRPr lang="en-US" sz="1200" dirty="0">
              <a:gradFill>
                <a:gsLst>
                  <a:gs pos="0">
                    <a:srgbClr val="000000"/>
                  </a:gs>
                  <a:gs pos="100000">
                    <a:srgbClr val="000000"/>
                  </a:gs>
                </a:gsLst>
                <a:lin ang="5400000" scaled="0"/>
              </a:gradFill>
              <a:latin typeface="+mn-lt"/>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741678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434" rtl="0" eaLnBrk="1" fontAlgn="auto" latinLnBrk="0" hangingPunct="1">
              <a:lnSpc>
                <a:spcPct val="100000"/>
              </a:lnSpc>
              <a:spcBef>
                <a:spcPct val="0"/>
              </a:spcBef>
              <a:spcAft>
                <a:spcPts val="600"/>
              </a:spcAft>
              <a:buClrTx/>
              <a:buSzTx/>
              <a:buFontTx/>
              <a:buNone/>
              <a:tabLst/>
              <a:defRPr/>
            </a:pPr>
            <a:r>
              <a:rPr lang="en-US" dirty="0"/>
              <a:t>- A set of libraries that allow developers to use for interacting with our Azure IoT services that we offer.</a:t>
            </a:r>
          </a:p>
          <a:p>
            <a:pPr marL="0" marR="0" lvl="0" indent="0" algn="l" defTabSz="913434" rtl="0" eaLnBrk="1" fontAlgn="auto" latinLnBrk="0" hangingPunct="1">
              <a:lnSpc>
                <a:spcPct val="100000"/>
              </a:lnSpc>
              <a:spcBef>
                <a:spcPct val="0"/>
              </a:spcBef>
              <a:spcAft>
                <a:spcPts val="600"/>
              </a:spcAft>
              <a:buClrTx/>
              <a:buSzTx/>
              <a:buFontTx/>
              <a:buNone/>
              <a:tabLst/>
              <a:defRPr/>
            </a:pPr>
            <a:endParaRPr lang="en-US" sz="1200" dirty="0">
              <a:gradFill>
                <a:gsLst>
                  <a:gs pos="0">
                    <a:srgbClr val="000000"/>
                  </a:gs>
                  <a:gs pos="100000">
                    <a:srgbClr val="000000"/>
                  </a:gs>
                </a:gsLst>
                <a:lin ang="5400000" scaled="0"/>
              </a:gradFill>
              <a:latin typeface="+mn-lt"/>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78816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Azure IoT device SDK for C</a:t>
            </a:r>
            <a:r>
              <a:rPr lang="en-US" sz="1200" b="0" i="0" kern="1200" dirty="0">
                <a:solidFill>
                  <a:schemeClr val="tx1"/>
                </a:solidFill>
                <a:effectLst/>
                <a:latin typeface="+mn-lt"/>
                <a:ea typeface="+mn-ea"/>
                <a:cs typeface="+mn-cs"/>
              </a:rPr>
              <a:t> is a set of libraries designed to simplify the process of sending messages to and receiving messages from the </a:t>
            </a:r>
            <a:r>
              <a:rPr lang="en-US" sz="1200" b="1" i="0" kern="1200" dirty="0">
                <a:solidFill>
                  <a:schemeClr val="tx1"/>
                </a:solidFill>
                <a:effectLst/>
                <a:latin typeface="+mn-lt"/>
                <a:ea typeface="+mn-ea"/>
                <a:cs typeface="+mn-cs"/>
              </a:rPr>
              <a:t>Azure IoT Hub</a:t>
            </a:r>
            <a:r>
              <a:rPr lang="en-US" sz="1200" b="0" i="0" kern="1200" dirty="0">
                <a:solidFill>
                  <a:schemeClr val="tx1"/>
                </a:solidFill>
                <a:effectLst/>
                <a:latin typeface="+mn-lt"/>
                <a:ea typeface="+mn-ea"/>
                <a:cs typeface="+mn-cs"/>
              </a:rPr>
              <a:t> service.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The Azure IoT device SDK for C is written in ANSI C (C99) to maximize portability. This feature makes the libraries well suited to operate on multiple platforms and devices, especially where minimizing disk and memory footprint is a priority. As a result, you can optimize for size, choose the connections you want, and take advantage of an “Everywhere SDK”—that is, one that can be used as you need, when you need.</a:t>
            </a:r>
          </a:p>
          <a:p>
            <a:pPr marL="0" indent="0">
              <a:buNone/>
            </a:pPr>
            <a:endParaRPr lang="en-US" sz="1200" b="0" i="0" u="none" strike="noStrike" kern="1200" dirty="0">
              <a:solidFill>
                <a:schemeClr val="tx1"/>
              </a:solidFill>
              <a:effectLst/>
              <a:latin typeface="+mn-lt"/>
              <a:ea typeface="+mn-ea"/>
              <a:cs typeface="+mn-cs"/>
            </a:endParaRPr>
          </a:p>
          <a:p>
            <a:pPr marL="0" indent="0">
              <a:buNone/>
            </a:pPr>
            <a:endParaRPr lang="en-US" sz="1200" b="0" i="0" u="none" strike="noStrike" kern="1200" dirty="0">
              <a:solidFill>
                <a:schemeClr val="tx1"/>
              </a:solidFill>
              <a:effectLst/>
              <a:latin typeface="+mn-lt"/>
              <a:ea typeface="+mn-ea"/>
              <a:cs typeface="+mn-cs"/>
            </a:endParaRPr>
          </a:p>
          <a:p>
            <a:pPr marL="0" indent="0">
              <a:buNone/>
            </a:pPr>
            <a:r>
              <a:rPr lang="en-US" sz="1200" b="0" i="0" u="none" strike="noStrike" kern="1200" dirty="0">
                <a:solidFill>
                  <a:schemeClr val="tx1"/>
                </a:solidFill>
                <a:effectLst/>
                <a:latin typeface="+mn-lt"/>
                <a:ea typeface="+mn-ea"/>
                <a:cs typeface="+mn-cs"/>
              </a:rPr>
              <a:t>This slide shows the difference between the C SDK (Scenario 1) and the Embedded C SDK (Scenario 2).</a:t>
            </a:r>
          </a:p>
          <a:p>
            <a:pPr marL="0" indent="0">
              <a:buNone/>
            </a:pPr>
            <a:endParaRPr lang="en-US" sz="1200" b="0" i="0" u="none" strike="noStrike" kern="1200" dirty="0">
              <a:solidFill>
                <a:schemeClr val="tx1"/>
              </a:solidFill>
              <a:effectLst/>
              <a:latin typeface="+mn-lt"/>
              <a:ea typeface="+mn-ea"/>
              <a:cs typeface="+mn-cs"/>
            </a:endParaRPr>
          </a:p>
          <a:p>
            <a:pPr marL="0" indent="0">
              <a:buNone/>
            </a:pPr>
            <a:r>
              <a:rPr lang="en-US" sz="1200" b="0" i="0" u="none" strike="noStrike" kern="1200" dirty="0">
                <a:solidFill>
                  <a:schemeClr val="tx1"/>
                </a:solidFill>
                <a:effectLst/>
                <a:latin typeface="+mn-lt"/>
                <a:ea typeface="+mn-ea"/>
                <a:cs typeface="+mn-cs"/>
              </a:rPr>
              <a:t>Scenario 1 provides everything the developer needs to get his application connected to Azure IoT Hub. It behaves like a platform and provides lots of functionalities. </a:t>
            </a:r>
          </a:p>
          <a:p>
            <a:pPr marL="0" indent="0">
              <a:buNone/>
            </a:pPr>
            <a:endParaRPr lang="en-US" sz="1200" b="0" i="0" u="none" strike="noStrike" kern="1200" dirty="0">
              <a:solidFill>
                <a:schemeClr val="tx1"/>
              </a:solidFill>
              <a:effectLst/>
              <a:latin typeface="+mn-lt"/>
              <a:ea typeface="+mn-ea"/>
              <a:cs typeface="+mn-cs"/>
            </a:endParaRPr>
          </a:p>
          <a:p>
            <a:pPr marL="0" indent="0">
              <a:buNone/>
            </a:pPr>
            <a:r>
              <a:rPr lang="en-US" sz="1200" b="0" i="0" u="none" strike="noStrike" kern="1200" dirty="0">
                <a:solidFill>
                  <a:schemeClr val="tx1"/>
                </a:solidFill>
                <a:effectLst/>
                <a:latin typeface="+mn-lt"/>
                <a:ea typeface="+mn-ea"/>
                <a:cs typeface="+mn-cs"/>
              </a:rPr>
              <a:t>However this comes at a cost: the tradeoff here is the size. We can’t fit the C SDK in smaller devices. </a:t>
            </a:r>
          </a:p>
          <a:p>
            <a:pPr marL="0" indent="0">
              <a:buNone/>
            </a:pPr>
            <a:endParaRPr lang="en-US" sz="1200" b="0" i="0" u="none" strike="noStrike" kern="1200" dirty="0">
              <a:solidFill>
                <a:schemeClr val="tx1"/>
              </a:solidFill>
              <a:effectLst/>
              <a:latin typeface="+mn-lt"/>
              <a:ea typeface="+mn-ea"/>
              <a:cs typeface="+mn-cs"/>
            </a:endParaRPr>
          </a:p>
          <a:p>
            <a:pPr marL="0" indent="0">
              <a:buNone/>
            </a:pPr>
            <a:r>
              <a:rPr lang="en-US" sz="1200" b="0" i="0" u="none" strike="noStrike" kern="1200" dirty="0">
                <a:solidFill>
                  <a:schemeClr val="tx1"/>
                </a:solidFill>
                <a:effectLst/>
                <a:latin typeface="+mn-lt"/>
                <a:ea typeface="+mn-ea"/>
                <a:cs typeface="+mn-cs"/>
              </a:rPr>
              <a:t>Scenario 2 addresses that need: it provides developer with the maximum flexibility and the BYO (bring your own) network stack. </a:t>
            </a:r>
          </a:p>
          <a:p>
            <a:pPr marL="0" indent="0">
              <a:buNone/>
            </a:pPr>
            <a:endParaRPr lang="en-US" sz="1200" b="0" i="0" u="none" strike="noStrike" kern="1200" dirty="0">
              <a:solidFill>
                <a:schemeClr val="tx1"/>
              </a:solidFill>
              <a:effectLst/>
              <a:latin typeface="+mn-lt"/>
              <a:ea typeface="+mn-ea"/>
              <a:cs typeface="+mn-cs"/>
            </a:endParaRPr>
          </a:p>
          <a:p>
            <a:pPr marL="0" indent="0">
              <a:buNone/>
            </a:pPr>
            <a:r>
              <a:rPr lang="en-US" sz="1200" b="0" i="0" u="none" strike="noStrike" kern="1200" dirty="0">
                <a:solidFill>
                  <a:schemeClr val="tx1"/>
                </a:solidFill>
                <a:effectLst/>
                <a:latin typeface="+mn-lt"/>
                <a:ea typeface="+mn-ea"/>
                <a:cs typeface="+mn-cs"/>
              </a:rPr>
              <a:t>Embedded C SDK in this scenario is a set of libraries that helps the developer but requires additional components to work.</a:t>
            </a:r>
          </a:p>
          <a:p>
            <a:pPr marL="0" indent="0">
              <a:buNone/>
            </a:pPr>
            <a:endParaRPr lang="en-US" sz="1200" b="0" i="0" u="none" strike="noStrike" kern="1200" dirty="0">
              <a:solidFill>
                <a:schemeClr val="tx1"/>
              </a:solidFill>
              <a:effectLst/>
              <a:latin typeface="+mn-lt"/>
              <a:ea typeface="+mn-ea"/>
              <a:cs typeface="+mn-cs"/>
            </a:endParaRPr>
          </a:p>
          <a:p>
            <a:pPr marL="0" indent="0">
              <a:buNone/>
            </a:pPr>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26A5A-C878-4674-858B-EE76FBD809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477813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Let's make the IoT Data architecture more concreate</a:t>
            </a:r>
          </a:p>
          <a:p>
            <a:pPr marL="171450" indent="-171450">
              <a:buFont typeface="Arial" panose="020B0604020202020204" pitchFamily="34" charset="0"/>
              <a:buChar char="•"/>
            </a:pPr>
            <a:r>
              <a:rPr lang="en-AU" dirty="0"/>
              <a:t>And look how you would implement an Azure IoT solution to support a Smart Factory</a:t>
            </a:r>
          </a:p>
          <a:p>
            <a:pPr marL="171450" indent="-171450">
              <a:buFont typeface="Arial" panose="020B0604020202020204" pitchFamily="34" charset="0"/>
              <a:buChar char="•"/>
            </a:pPr>
            <a:r>
              <a:rPr lang="en-AU" dirty="0"/>
              <a:t>The pattern and the services would be very similar for other scenarios</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There is a lot going on</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Break it down piece by piece to help you understand what is going on</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endParaRPr lang="en-AU" dirty="0"/>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Azure IoT hub is an internet scale secure messaging services, supports bidirectional communications, message enrichment and partitioning</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Common services for Stream processing include Stream Analytics, Apache Spark streaming with Azure Databricks, and Azure Functions</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And common endpoints include…</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Actions and </a:t>
            </a:r>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endParaRPr lang="en-AU" dirty="0"/>
          </a:p>
          <a:p>
            <a:pPr marL="0" marR="0" lvl="0" indent="0" defTabSz="228554" eaLnBrk="1" fontAlgn="auto" latinLnBrk="0" hangingPunct="1">
              <a:lnSpc>
                <a:spcPct val="117999"/>
              </a:lnSpc>
              <a:spcBef>
                <a:spcPts val="0"/>
              </a:spcBef>
              <a:spcAft>
                <a:spcPts val="0"/>
              </a:spcAft>
              <a:buClrTx/>
              <a:buSzTx/>
              <a:buFontTx/>
              <a:buNone/>
              <a:tabLst/>
              <a:defRPr/>
            </a:pPr>
            <a:endParaRPr lang="en-AU" dirty="0"/>
          </a:p>
          <a:p>
            <a:pPr marL="171450" marR="0" lvl="0" indent="-17145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Starting on the left</a:t>
            </a:r>
          </a:p>
          <a:p>
            <a:endParaRPr lang="en-AU" dirty="0"/>
          </a:p>
          <a:p>
            <a:r>
              <a:rPr lang="en-AU" b="0" i="0" dirty="0">
                <a:solidFill>
                  <a:srgbClr val="333333"/>
                </a:solidFill>
                <a:effectLst/>
                <a:latin typeface="Barlow"/>
              </a:rPr>
              <a:t>Databricks Unified Analytics Platform</a:t>
            </a:r>
            <a:endParaRPr lang="en-AU" dirty="0"/>
          </a:p>
          <a:p>
            <a:endParaRPr lang="en-AU" dirty="0"/>
          </a:p>
          <a:p>
            <a:endParaRPr lang="en-AU" dirty="0"/>
          </a:p>
        </p:txBody>
      </p:sp>
    </p:spTree>
    <p:extLst>
      <p:ext uri="{BB962C8B-B14F-4D97-AF65-F5344CB8AC3E}">
        <p14:creationId xmlns:p14="http://schemas.microsoft.com/office/powerpoint/2010/main" val="117471483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Device-to-cloud communications &amp; Cloud to device comms</a:t>
            </a:r>
          </a:p>
          <a:p>
            <a:pPr algn="l"/>
            <a:r>
              <a:rPr lang="en-US" b="0" i="0" dirty="0">
                <a:solidFill>
                  <a:srgbClr val="171717"/>
                </a:solidFill>
                <a:effectLst/>
                <a:latin typeface="Segoe UI" panose="020B0502040204020203" pitchFamily="34" charset="0"/>
              </a:rPr>
              <a:t>When sending information from the device app to the solution back end, IoT Hub exposes three options:</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3"/>
              </a:rPr>
              <a:t>Device-to-cloud messages</a:t>
            </a:r>
            <a:r>
              <a:rPr lang="en-US" b="0" i="0" dirty="0">
                <a:solidFill>
                  <a:srgbClr val="171717"/>
                </a:solidFill>
                <a:effectLst/>
                <a:latin typeface="Segoe UI" panose="020B0502040204020203" pitchFamily="34" charset="0"/>
              </a:rPr>
              <a:t> for time series telemetry and alerts.</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4"/>
              </a:rPr>
              <a:t>Device twin's reported properties</a:t>
            </a:r>
            <a:r>
              <a:rPr lang="en-US" b="0" i="0" dirty="0">
                <a:solidFill>
                  <a:srgbClr val="171717"/>
                </a:solidFill>
                <a:effectLst/>
                <a:latin typeface="Segoe UI" panose="020B0502040204020203" pitchFamily="34" charset="0"/>
              </a:rPr>
              <a:t> for reporting device state information such as available capabilities, conditions, or the state of long-running workflows. For example, configuration and software updates.</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5"/>
              </a:rPr>
              <a:t>File uploads</a:t>
            </a:r>
            <a:r>
              <a:rPr lang="en-US" b="0" i="0" dirty="0">
                <a:solidFill>
                  <a:srgbClr val="171717"/>
                </a:solidFill>
                <a:effectLst/>
                <a:latin typeface="Segoe UI" panose="020B0502040204020203" pitchFamily="34" charset="0"/>
              </a:rPr>
              <a:t> for media files and large telemetry batches uploaded by intermittently connected devices or compressed to save bandwidth.</a:t>
            </a:r>
          </a:p>
          <a:p>
            <a:endParaRPr lang="en-AU" dirty="0"/>
          </a:p>
          <a:p>
            <a:r>
              <a:rPr lang="en-AU" dirty="0"/>
              <a:t>Message comes into IoT Hub</a:t>
            </a:r>
          </a:p>
          <a:p>
            <a:endParaRPr lang="en-AU" dirty="0"/>
          </a:p>
          <a:p>
            <a:r>
              <a:rPr lang="en-AU" dirty="0"/>
              <a:t>In our example we have a telemetry message from a device</a:t>
            </a:r>
          </a:p>
          <a:p>
            <a:endParaRPr lang="en-AU" dirty="0"/>
          </a:p>
          <a:p>
            <a:pPr marL="0" marR="0" lvl="0" indent="0" defTabSz="228554" eaLnBrk="1" fontAlgn="auto" latinLnBrk="0" hangingPunct="1">
              <a:lnSpc>
                <a:spcPct val="117999"/>
              </a:lnSpc>
              <a:spcBef>
                <a:spcPts val="0"/>
              </a:spcBef>
              <a:spcAft>
                <a:spcPts val="0"/>
              </a:spcAft>
              <a:buClrTx/>
              <a:buSzTx/>
              <a:buFontTx/>
              <a:buNone/>
              <a:tabLst/>
              <a:defRPr/>
            </a:pPr>
            <a:r>
              <a:rPr lang="en-AU" dirty="0"/>
              <a:t>When the code was written for the device the developer can add known metadata</a:t>
            </a:r>
          </a:p>
          <a:p>
            <a:pPr marL="0" marR="0" lvl="0" indent="0" defTabSz="228554" eaLnBrk="1" fontAlgn="auto" latinLnBrk="0" hangingPunct="1">
              <a:lnSpc>
                <a:spcPct val="117999"/>
              </a:lnSpc>
              <a:spcBef>
                <a:spcPts val="0"/>
              </a:spcBef>
              <a:spcAft>
                <a:spcPts val="0"/>
              </a:spcAft>
              <a:buClrTx/>
              <a:buSzTx/>
              <a:buFontTx/>
              <a:buNone/>
              <a:tabLst/>
              <a:defRPr/>
            </a:pPr>
            <a:endParaRPr lang="en-AU" dirty="0"/>
          </a:p>
          <a:p>
            <a:pPr marL="0" marR="0" lvl="0" indent="0" defTabSz="228554" eaLnBrk="1" fontAlgn="auto" latinLnBrk="0" hangingPunct="1">
              <a:lnSpc>
                <a:spcPct val="117999"/>
              </a:lnSpc>
              <a:spcBef>
                <a:spcPts val="0"/>
              </a:spcBef>
              <a:spcAft>
                <a:spcPts val="0"/>
              </a:spcAft>
              <a:buClrTx/>
              <a:buSzTx/>
              <a:buFontTx/>
              <a:buNone/>
              <a:tabLst/>
              <a:defRPr/>
            </a:pPr>
            <a:r>
              <a:rPr lang="en-AU" dirty="0"/>
              <a:t>But the developer is unlikely to know where the device is being deployed or what the preferred device name will be</a:t>
            </a:r>
          </a:p>
          <a:p>
            <a:endParaRPr lang="en-AU" dirty="0"/>
          </a:p>
          <a:p>
            <a:r>
              <a:rPr lang="en-AU" dirty="0"/>
              <a:t>Every device registered has a device twin JSON metadata document</a:t>
            </a:r>
          </a:p>
          <a:p>
            <a:endParaRPr lang="en-AU" dirty="0"/>
          </a:p>
          <a:p>
            <a:r>
              <a:rPr lang="en-AU" dirty="0"/>
              <a:t>The initial state can be set by the device provisioning service and your application</a:t>
            </a:r>
          </a:p>
          <a:p>
            <a:endParaRPr lang="en-AU" dirty="0"/>
          </a:p>
          <a:p>
            <a:r>
              <a:rPr lang="en-AU" dirty="0"/>
              <a:t>This JSON document includes tags – data about the device, and desired and reported properties</a:t>
            </a:r>
          </a:p>
          <a:p>
            <a:endParaRPr lang="en-AU" dirty="0"/>
          </a:p>
          <a:p>
            <a:r>
              <a:rPr lang="en-AU" dirty="0"/>
              <a:t>Tags can include arbitrary data – in our case the device </a:t>
            </a:r>
            <a:r>
              <a:rPr lang="en-AU" dirty="0" err="1"/>
              <a:t>lat</a:t>
            </a:r>
            <a:r>
              <a:rPr lang="en-AU" dirty="0"/>
              <a:t>/long location and the device name</a:t>
            </a:r>
          </a:p>
          <a:p>
            <a:endParaRPr lang="en-AU" dirty="0"/>
          </a:p>
          <a:p>
            <a:r>
              <a:rPr lang="en-AU" dirty="0"/>
              <a:t>The device twin tag can be added to the message metadata as it flows through the system</a:t>
            </a:r>
          </a:p>
          <a:p>
            <a:endParaRPr lang="en-AU" dirty="0"/>
          </a:p>
          <a:p>
            <a:r>
              <a:rPr lang="en-AU" dirty="0"/>
              <a:t>So we now have richer information about the message will be useful as the message flows through the system.</a:t>
            </a:r>
          </a:p>
          <a:p>
            <a:endParaRPr lang="en-AU" dirty="0"/>
          </a:p>
          <a:p>
            <a:endParaRPr lang="en-AU" dirty="0"/>
          </a:p>
          <a:p>
            <a:endParaRPr lang="en-AU" dirty="0"/>
          </a:p>
          <a:p>
            <a:pPr marL="0" marR="0" lvl="0" indent="0" algn="l" defTabSz="913434" rtl="0" eaLnBrk="1" fontAlgn="auto" latinLnBrk="0" hangingPunct="1">
              <a:lnSpc>
                <a:spcPct val="100000"/>
              </a:lnSpc>
              <a:spcBef>
                <a:spcPct val="0"/>
              </a:spcBef>
              <a:spcAft>
                <a:spcPts val="600"/>
              </a:spcAft>
              <a:buClrTx/>
              <a:buSzTx/>
              <a:buFontTx/>
              <a:buNone/>
              <a:tabLst/>
              <a:defRPr/>
            </a:pPr>
            <a:endParaRPr lang="en-US" sz="1200" dirty="0">
              <a:gradFill>
                <a:gsLst>
                  <a:gs pos="0">
                    <a:srgbClr val="000000"/>
                  </a:gs>
                  <a:gs pos="100000">
                    <a:srgbClr val="000000"/>
                  </a:gs>
                </a:gsLst>
                <a:lin ang="5400000" scaled="0"/>
              </a:gradFill>
              <a:latin typeface="+mn-lt"/>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174933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1" dirty="0">
                <a:solidFill>
                  <a:srgbClr val="171717"/>
                </a:solidFill>
                <a:effectLst/>
                <a:latin typeface="Segoe UI" panose="020B0502040204020203" pitchFamily="34" charset="0"/>
              </a:rPr>
              <a:t>Device twins</a:t>
            </a:r>
            <a:r>
              <a:rPr lang="en-US" b="0" i="0" dirty="0">
                <a:solidFill>
                  <a:srgbClr val="171717"/>
                </a:solidFill>
                <a:effectLst/>
                <a:latin typeface="Segoe UI" panose="020B0502040204020203" pitchFamily="34" charset="0"/>
              </a:rPr>
              <a:t> are JSON documents that store device state information including metadata, configurations, and conditions. Azure IoT Hub maintains a device twin for each device that you connect to IoT Hub.</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e lifecycle of a device twin is linked to the corresponding </a:t>
            </a:r>
            <a:r>
              <a:rPr lang="en-US" b="0" i="0" u="none" strike="noStrike" dirty="0">
                <a:effectLst/>
                <a:latin typeface="Segoe UI" panose="020B0502040204020203" pitchFamily="34" charset="0"/>
                <a:hlinkClick r:id="rId3"/>
              </a:rPr>
              <a:t>device identity</a:t>
            </a:r>
            <a:r>
              <a:rPr lang="en-US" b="0" i="0" dirty="0">
                <a:solidFill>
                  <a:srgbClr val="171717"/>
                </a:solidFill>
                <a:effectLst/>
                <a:latin typeface="Segoe UI" panose="020B0502040204020203" pitchFamily="34" charset="0"/>
              </a:rPr>
              <a:t>. Device twins are implicitly created and deleted when a device identity is created or deleted in IoT Hub.</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Device twins store device-related information that:</a:t>
            </a:r>
          </a:p>
          <a:p>
            <a:pPr algn="l">
              <a:buFont typeface="Arial" panose="020B0604020202020204" pitchFamily="34" charset="0"/>
              <a:buChar char="•"/>
            </a:pPr>
            <a:r>
              <a:rPr lang="en-US" b="0" i="0" dirty="0">
                <a:solidFill>
                  <a:srgbClr val="171717"/>
                </a:solidFill>
                <a:effectLst/>
                <a:latin typeface="Segoe UI" panose="020B0502040204020203" pitchFamily="34" charset="0"/>
              </a:rPr>
              <a:t>Device and back ends can use to synchronize device conditions and configur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solution back end can use to query and target long-running operations.</a:t>
            </a:r>
          </a:p>
          <a:p>
            <a:pPr algn="l"/>
            <a:r>
              <a:rPr lang="en-US" b="0" i="0" dirty="0">
                <a:solidFill>
                  <a:srgbClr val="171717"/>
                </a:solidFill>
                <a:effectLst/>
                <a:latin typeface="Segoe UI" panose="020B0502040204020203" pitchFamily="34" charset="0"/>
              </a:rPr>
              <a:t>The lifecycle of a device twin is linked to the corresponding </a:t>
            </a:r>
            <a:r>
              <a:rPr lang="en-US" b="0" i="0" u="none" strike="noStrike" dirty="0">
                <a:solidFill>
                  <a:srgbClr val="171717"/>
                </a:solidFill>
                <a:effectLst/>
                <a:latin typeface="Segoe UI" panose="020B0502040204020203" pitchFamily="34" charset="0"/>
                <a:hlinkClick r:id="rId3"/>
              </a:rPr>
              <a:t>device identity</a:t>
            </a:r>
            <a:r>
              <a:rPr lang="en-US" b="0" i="0" dirty="0">
                <a:solidFill>
                  <a:srgbClr val="171717"/>
                </a:solidFill>
                <a:effectLst/>
                <a:latin typeface="Segoe UI" panose="020B0502040204020203" pitchFamily="34" charset="0"/>
              </a:rPr>
              <a:t>. Device twins are implicitly created and deleted when a device identity is created or deleted in IoT Hub.</a:t>
            </a:r>
          </a:p>
          <a:p>
            <a:pPr algn="l"/>
            <a:r>
              <a:rPr lang="en-US" b="0" i="0" dirty="0">
                <a:solidFill>
                  <a:srgbClr val="171717"/>
                </a:solidFill>
                <a:effectLst/>
                <a:latin typeface="Segoe UI" panose="020B0502040204020203" pitchFamily="34" charset="0"/>
              </a:rPr>
              <a:t>A device twin is a JSON document that includes:</a:t>
            </a:r>
          </a:p>
          <a:p>
            <a:pPr algn="l">
              <a:buFont typeface="Arial" panose="020B0604020202020204" pitchFamily="34" charset="0"/>
              <a:buChar char="•"/>
            </a:pPr>
            <a:r>
              <a:rPr lang="en-US" b="1" i="0" dirty="0">
                <a:solidFill>
                  <a:srgbClr val="171717"/>
                </a:solidFill>
                <a:effectLst/>
                <a:latin typeface="Segoe UI" panose="020B0502040204020203" pitchFamily="34" charset="0"/>
              </a:rPr>
              <a:t>Tags</a:t>
            </a:r>
            <a:r>
              <a:rPr lang="en-US" b="0" i="0" dirty="0">
                <a:solidFill>
                  <a:srgbClr val="171717"/>
                </a:solidFill>
                <a:effectLst/>
                <a:latin typeface="Segoe UI" panose="020B0502040204020203" pitchFamily="34" charset="0"/>
              </a:rPr>
              <a:t>. A section of the JSON document that the solution back end can read from and write to. Tags are not visible to device apps.</a:t>
            </a:r>
          </a:p>
          <a:p>
            <a:pPr algn="l">
              <a:buFont typeface="Arial" panose="020B0604020202020204" pitchFamily="34" charset="0"/>
              <a:buChar char="•"/>
            </a:pPr>
            <a:r>
              <a:rPr lang="en-US" b="1" i="0" dirty="0">
                <a:solidFill>
                  <a:srgbClr val="171717"/>
                </a:solidFill>
                <a:effectLst/>
                <a:latin typeface="Segoe UI" panose="020B0502040204020203" pitchFamily="34" charset="0"/>
              </a:rPr>
              <a:t>Desired properties</a:t>
            </a:r>
            <a:r>
              <a:rPr lang="en-US" b="0" i="0" dirty="0">
                <a:solidFill>
                  <a:srgbClr val="171717"/>
                </a:solidFill>
                <a:effectLst/>
                <a:latin typeface="Segoe UI" panose="020B0502040204020203" pitchFamily="34" charset="0"/>
              </a:rPr>
              <a:t>. Used along with reported properties to synchronize device configuration or conditions. The solution back end can set desired properties, and the device app can read them. The device app can also receive notifications of changes in the desired properties.</a:t>
            </a:r>
          </a:p>
          <a:p>
            <a:pPr algn="l">
              <a:buFont typeface="Arial" panose="020B0604020202020204" pitchFamily="34" charset="0"/>
              <a:buChar char="•"/>
            </a:pPr>
            <a:r>
              <a:rPr lang="en-US" b="1" i="0" dirty="0">
                <a:solidFill>
                  <a:srgbClr val="171717"/>
                </a:solidFill>
                <a:effectLst/>
                <a:latin typeface="Segoe UI" panose="020B0502040204020203" pitchFamily="34" charset="0"/>
              </a:rPr>
              <a:t>Reported properties</a:t>
            </a:r>
            <a:r>
              <a:rPr lang="en-US" b="0" i="0" dirty="0">
                <a:solidFill>
                  <a:srgbClr val="171717"/>
                </a:solidFill>
                <a:effectLst/>
                <a:latin typeface="Segoe UI" panose="020B0502040204020203" pitchFamily="34" charset="0"/>
              </a:rPr>
              <a:t>. Used along with desired properties to synchronize device configuration or conditions. The device app can set reported properties, and the solution back end can read and query them.</a:t>
            </a:r>
          </a:p>
          <a:p>
            <a:pPr algn="l">
              <a:buFont typeface="Arial" panose="020B0604020202020204" pitchFamily="34" charset="0"/>
              <a:buChar char="•"/>
            </a:pPr>
            <a:r>
              <a:rPr lang="en-US" b="1" i="0" dirty="0">
                <a:solidFill>
                  <a:srgbClr val="171717"/>
                </a:solidFill>
                <a:effectLst/>
                <a:latin typeface="Segoe UI" panose="020B0502040204020203" pitchFamily="34" charset="0"/>
              </a:rPr>
              <a:t>Device identity properties</a:t>
            </a:r>
            <a:r>
              <a:rPr lang="en-US" b="0" i="0" dirty="0">
                <a:solidFill>
                  <a:srgbClr val="171717"/>
                </a:solidFill>
                <a:effectLst/>
                <a:latin typeface="Segoe UI" panose="020B0502040204020203" pitchFamily="34" charset="0"/>
              </a:rPr>
              <a:t>. The root of the device twin JSON document contains the read-only properties from the corresponding device identity stored in the </a:t>
            </a:r>
            <a:r>
              <a:rPr lang="en-US" b="0" i="0" u="none" strike="noStrike" dirty="0">
                <a:solidFill>
                  <a:srgbClr val="171717"/>
                </a:solidFill>
                <a:effectLst/>
                <a:latin typeface="Segoe UI" panose="020B0502040204020203" pitchFamily="34" charset="0"/>
                <a:hlinkClick r:id="rId3"/>
              </a:rPr>
              <a:t>identity registry</a:t>
            </a:r>
            <a:r>
              <a:rPr lang="en-US" b="0" i="0" dirty="0">
                <a:solidFill>
                  <a:srgbClr val="171717"/>
                </a:solidFill>
                <a:effectLst/>
                <a:latin typeface="Segoe UI" panose="020B0502040204020203" pitchFamily="34" charset="0"/>
              </a:rPr>
              <a:t>. Properties </a:t>
            </a:r>
            <a:r>
              <a:rPr lang="en-US" b="0" i="0" dirty="0" err="1">
                <a:solidFill>
                  <a:srgbClr val="171717"/>
                </a:solidFill>
                <a:effectLst/>
                <a:latin typeface="Segoe UI" panose="020B0502040204020203" pitchFamily="34" charset="0"/>
              </a:rPr>
              <a:t>connectionStateUpdatedTime</a:t>
            </a:r>
            <a:r>
              <a:rPr lang="en-US" b="0" i="0" dirty="0">
                <a:solidFill>
                  <a:srgbClr val="171717"/>
                </a:solidFill>
                <a:effectLst/>
                <a:latin typeface="Segoe UI" panose="020B0502040204020203" pitchFamily="34" charset="0"/>
              </a:rPr>
              <a:t> and </a:t>
            </a:r>
            <a:r>
              <a:rPr lang="en-US" b="0" i="0" dirty="0" err="1">
                <a:solidFill>
                  <a:srgbClr val="171717"/>
                </a:solidFill>
                <a:effectLst/>
                <a:latin typeface="Segoe UI" panose="020B0502040204020203" pitchFamily="34" charset="0"/>
              </a:rPr>
              <a:t>generationId</a:t>
            </a:r>
            <a:r>
              <a:rPr lang="en-US" b="0" i="0" dirty="0">
                <a:solidFill>
                  <a:srgbClr val="171717"/>
                </a:solidFill>
                <a:effectLst/>
                <a:latin typeface="Segoe UI" panose="020B0502040204020203" pitchFamily="34" charset="0"/>
              </a:rPr>
              <a:t> will not be included.</a:t>
            </a:r>
          </a:p>
          <a:p>
            <a:pPr algn="l">
              <a:buFont typeface="Arial" panose="020B0604020202020204" pitchFamily="34" charset="0"/>
              <a:buChar char="•"/>
            </a:pPr>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is article describes:</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structure of the device twin: </a:t>
            </a:r>
            <a:r>
              <a:rPr lang="en-US" b="0" i="1" dirty="0">
                <a:solidFill>
                  <a:srgbClr val="171717"/>
                </a:solidFill>
                <a:effectLst/>
                <a:latin typeface="Segoe UI" panose="020B0502040204020203" pitchFamily="34" charset="0"/>
              </a:rPr>
              <a:t>tags</a:t>
            </a:r>
            <a:r>
              <a:rPr lang="en-US" b="0" i="0" dirty="0">
                <a:solidFill>
                  <a:srgbClr val="171717"/>
                </a:solidFill>
                <a:effectLst/>
                <a:latin typeface="Segoe UI" panose="020B0502040204020203" pitchFamily="34" charset="0"/>
              </a:rPr>
              <a:t>, </a:t>
            </a:r>
            <a:r>
              <a:rPr lang="en-US" b="0" i="1" dirty="0">
                <a:solidFill>
                  <a:srgbClr val="171717"/>
                </a:solidFill>
                <a:effectLst/>
                <a:latin typeface="Segoe UI" panose="020B0502040204020203" pitchFamily="34" charset="0"/>
              </a:rPr>
              <a:t>desired</a:t>
            </a:r>
            <a:r>
              <a:rPr lang="en-US" b="0" i="0" dirty="0">
                <a:solidFill>
                  <a:srgbClr val="171717"/>
                </a:solidFill>
                <a:effectLst/>
                <a:latin typeface="Segoe UI" panose="020B0502040204020203" pitchFamily="34" charset="0"/>
              </a:rPr>
              <a:t> and </a:t>
            </a:r>
            <a:r>
              <a:rPr lang="en-US" b="0" i="1" dirty="0">
                <a:solidFill>
                  <a:srgbClr val="171717"/>
                </a:solidFill>
                <a:effectLst/>
                <a:latin typeface="Segoe UI" panose="020B0502040204020203" pitchFamily="34" charset="0"/>
              </a:rPr>
              <a:t>reported properties</a:t>
            </a:r>
            <a:r>
              <a:rPr lang="en-US" b="0" i="0" dirty="0">
                <a:solidFill>
                  <a:srgbClr val="171717"/>
                </a:solidFill>
                <a:effectLst/>
                <a:latin typeface="Segoe UI" panose="020B0502040204020203" pitchFamily="34" charset="0"/>
              </a:rPr>
              <a:t>.</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operations that device apps and back ends can perform on device twins.</a:t>
            </a:r>
          </a:p>
          <a:p>
            <a:pPr algn="l"/>
            <a:r>
              <a:rPr lang="en-US" b="0" i="0" dirty="0">
                <a:solidFill>
                  <a:srgbClr val="171717"/>
                </a:solidFill>
                <a:effectLst/>
                <a:latin typeface="Segoe UI" panose="020B0502040204020203" pitchFamily="34" charset="0"/>
              </a:rPr>
              <a:t>Use device twins to:</a:t>
            </a:r>
          </a:p>
          <a:p>
            <a:pPr algn="l">
              <a:buFont typeface="Arial" panose="020B0604020202020204" pitchFamily="34" charset="0"/>
              <a:buChar char="•"/>
            </a:pPr>
            <a:r>
              <a:rPr lang="en-US" b="0" i="0" dirty="0">
                <a:solidFill>
                  <a:srgbClr val="171717"/>
                </a:solidFill>
                <a:effectLst/>
                <a:latin typeface="Segoe UI" panose="020B0502040204020203" pitchFamily="34" charset="0"/>
              </a:rPr>
              <a:t>Store device-specific metadata in the cloud. For example, the deployment location of a vending machine.</a:t>
            </a:r>
          </a:p>
          <a:p>
            <a:pPr algn="l">
              <a:buFont typeface="Arial" panose="020B0604020202020204" pitchFamily="34" charset="0"/>
              <a:buChar char="•"/>
            </a:pPr>
            <a:r>
              <a:rPr lang="en-US" b="0" i="0" dirty="0">
                <a:solidFill>
                  <a:srgbClr val="171717"/>
                </a:solidFill>
                <a:effectLst/>
                <a:latin typeface="Segoe UI" panose="020B0502040204020203" pitchFamily="34" charset="0"/>
              </a:rPr>
              <a:t>Report current state information such as available capabilities and conditions from your device app. For example, a device is connected to your IoT hub over cellular or </a:t>
            </a:r>
            <a:r>
              <a:rPr lang="en-US" b="0" i="0" dirty="0" err="1">
                <a:solidFill>
                  <a:srgbClr val="171717"/>
                </a:solidFill>
                <a:effectLst/>
                <a:latin typeface="Segoe UI" panose="020B0502040204020203" pitchFamily="34" charset="0"/>
              </a:rPr>
              <a:t>WiFi</a:t>
            </a:r>
            <a:r>
              <a:rPr lang="en-US" b="0" i="0" dirty="0">
                <a:solidFill>
                  <a:srgbClr val="171717"/>
                </a:solidFill>
                <a:effectLst/>
                <a:latin typeface="Segoe UI" panose="020B0502040204020203" pitchFamily="34" charset="0"/>
              </a:rPr>
              <a:t>.</a:t>
            </a:r>
          </a:p>
          <a:p>
            <a:pPr algn="l">
              <a:buFont typeface="Arial" panose="020B0604020202020204" pitchFamily="34" charset="0"/>
              <a:buChar char="•"/>
            </a:pPr>
            <a:r>
              <a:rPr lang="en-US" b="0" i="0" dirty="0">
                <a:solidFill>
                  <a:srgbClr val="171717"/>
                </a:solidFill>
                <a:effectLst/>
                <a:latin typeface="Segoe UI" panose="020B0502040204020203" pitchFamily="34" charset="0"/>
              </a:rPr>
              <a:t>Synchronize the state of long-running workflows between device app and back-end app. For example, when the solution back end specifies the new firmware version to install, and the device app reports the various stages of the update process.</a:t>
            </a:r>
          </a:p>
          <a:p>
            <a:pPr algn="l">
              <a:buFont typeface="Arial" panose="020B0604020202020204" pitchFamily="34" charset="0"/>
              <a:buChar char="•"/>
            </a:pPr>
            <a:endParaRPr lang="en-US" b="0" i="0" dirty="0">
              <a:solidFill>
                <a:srgbClr val="171717"/>
              </a:solidFill>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279089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Flow</a:t>
            </a:r>
          </a:p>
          <a:p>
            <a:endParaRPr lang="en-US" dirty="0"/>
          </a:p>
          <a:p>
            <a:pPr algn="l">
              <a:buFont typeface="Arial" panose="020B0604020202020204" pitchFamily="34" charset="0"/>
              <a:buChar char="•"/>
            </a:pPr>
            <a:r>
              <a:rPr lang="en-US" sz="1400" b="1" dirty="0">
                <a:gradFill>
                  <a:gsLst>
                    <a:gs pos="1250">
                      <a:srgbClr val="6DC2E9"/>
                    </a:gs>
                    <a:gs pos="99000">
                      <a:srgbClr val="6DC2E9"/>
                    </a:gs>
                  </a:gsLst>
                  <a:lin ang="5400000" scaled="0"/>
                </a:gradFill>
                <a:latin typeface="+mn-lt"/>
                <a:hlinkClick r:id="rId3">
                  <a:extLst>
                    <a:ext uri="{A12FA001-AC4F-418D-AE19-62706E023703}">
                      <ahyp:hlinkClr xmlns:ahyp="http://schemas.microsoft.com/office/drawing/2018/hyperlinkcolor" val="tx"/>
                    </a:ext>
                  </a:extLst>
                </a:hlinkClick>
              </a:rPr>
              <a:t>Direct methods</a:t>
            </a:r>
            <a:r>
              <a:rPr lang="en-US" sz="1400" b="1" dirty="0">
                <a:gradFill>
                  <a:gsLst>
                    <a:gs pos="1250">
                      <a:srgbClr val="6DC2E9"/>
                    </a:gs>
                    <a:gs pos="99000">
                      <a:srgbClr val="6DC2E9"/>
                    </a:gs>
                  </a:gsLst>
                  <a:lin ang="5400000" scaled="0"/>
                </a:gradFill>
                <a:latin typeface="+mn-lt"/>
              </a:rPr>
              <a:t> </a:t>
            </a:r>
            <a:r>
              <a:rPr lang="en-US" sz="1200" b="0" i="0" dirty="0">
                <a:solidFill>
                  <a:srgbClr val="171717"/>
                </a:solidFill>
                <a:effectLst/>
                <a:latin typeface="+mn-lt"/>
              </a:rPr>
              <a:t>for communications that require immediate confirmation of the result. </a:t>
            </a:r>
          </a:p>
          <a:p>
            <a:pPr lvl="1" algn="l">
              <a:buFont typeface="Arial" panose="020B0604020202020204" pitchFamily="34" charset="0"/>
              <a:buChar char="•"/>
            </a:pPr>
            <a:r>
              <a:rPr lang="en-US" sz="1200" b="0" i="0" dirty="0">
                <a:solidFill>
                  <a:srgbClr val="171717"/>
                </a:solidFill>
                <a:effectLst/>
                <a:latin typeface="+mn-lt"/>
              </a:rPr>
              <a:t>Direct methods are often used for interactive control of devices such as turning on a fan.</a:t>
            </a:r>
          </a:p>
          <a:p>
            <a:pPr algn="l">
              <a:buFont typeface="Arial" panose="020B0604020202020204" pitchFamily="34" charset="0"/>
              <a:buChar char="•"/>
            </a:pPr>
            <a:r>
              <a:rPr lang="en-US" sz="1400" b="1" dirty="0">
                <a:gradFill>
                  <a:gsLst>
                    <a:gs pos="1250">
                      <a:srgbClr val="6DC2E9"/>
                    </a:gs>
                    <a:gs pos="99000">
                      <a:srgbClr val="6DC2E9"/>
                    </a:gs>
                  </a:gsLst>
                  <a:lin ang="5400000" scaled="0"/>
                </a:gradFill>
                <a:latin typeface="+mn-lt"/>
                <a:hlinkClick r:id="rId4">
                  <a:extLst>
                    <a:ext uri="{A12FA001-AC4F-418D-AE19-62706E023703}">
                      <ahyp:hlinkClr xmlns:ahyp="http://schemas.microsoft.com/office/drawing/2018/hyperlinkcolor" val="tx"/>
                    </a:ext>
                  </a:extLst>
                </a:hlinkClick>
              </a:rPr>
              <a:t>Twin's desired properties</a:t>
            </a:r>
            <a:r>
              <a:rPr lang="en-US" sz="1400" b="1" dirty="0">
                <a:gradFill>
                  <a:gsLst>
                    <a:gs pos="1250">
                      <a:srgbClr val="6DC2E9"/>
                    </a:gs>
                    <a:gs pos="99000">
                      <a:srgbClr val="6DC2E9"/>
                    </a:gs>
                  </a:gsLst>
                  <a:lin ang="5400000" scaled="0"/>
                </a:gradFill>
                <a:latin typeface="+mn-lt"/>
              </a:rPr>
              <a:t> </a:t>
            </a:r>
            <a:r>
              <a:rPr lang="en-US" sz="1200" b="0" i="0" dirty="0">
                <a:solidFill>
                  <a:srgbClr val="171717"/>
                </a:solidFill>
                <a:effectLst/>
                <a:latin typeface="+mn-lt"/>
              </a:rPr>
              <a:t>for long-running commands intended to put the device into a certain desired state. </a:t>
            </a:r>
          </a:p>
          <a:p>
            <a:pPr lvl="1" algn="l">
              <a:buFont typeface="Arial" panose="020B0604020202020204" pitchFamily="34" charset="0"/>
              <a:buChar char="•"/>
            </a:pPr>
            <a:r>
              <a:rPr lang="en-US" sz="1200" b="0" i="0" dirty="0">
                <a:solidFill>
                  <a:srgbClr val="171717"/>
                </a:solidFill>
                <a:effectLst/>
                <a:latin typeface="+mn-lt"/>
              </a:rPr>
              <a:t>For example, set the telemetry send interval to 30 minutes.</a:t>
            </a:r>
          </a:p>
          <a:p>
            <a:pPr algn="l">
              <a:buFont typeface="Arial" panose="020B0604020202020204" pitchFamily="34" charset="0"/>
              <a:buChar char="•"/>
            </a:pPr>
            <a:r>
              <a:rPr lang="en-US" sz="1400" b="1" dirty="0">
                <a:gradFill>
                  <a:gsLst>
                    <a:gs pos="1250">
                      <a:srgbClr val="6DC2E9"/>
                    </a:gs>
                    <a:gs pos="99000">
                      <a:srgbClr val="6DC2E9"/>
                    </a:gs>
                  </a:gsLst>
                  <a:lin ang="5400000" scaled="0"/>
                </a:gradFill>
                <a:latin typeface="+mn-lt"/>
                <a:hlinkClick r:id="rId5">
                  <a:extLst>
                    <a:ext uri="{A12FA001-AC4F-418D-AE19-62706E023703}">
                      <ahyp:hlinkClr xmlns:ahyp="http://schemas.microsoft.com/office/drawing/2018/hyperlinkcolor" val="tx"/>
                    </a:ext>
                  </a:extLst>
                </a:hlinkClick>
              </a:rPr>
              <a:t>Cloud-to-device messages</a:t>
            </a:r>
            <a:r>
              <a:rPr lang="en-US" sz="1400" b="1" dirty="0">
                <a:gradFill>
                  <a:gsLst>
                    <a:gs pos="1250">
                      <a:srgbClr val="6DC2E9"/>
                    </a:gs>
                    <a:gs pos="99000">
                      <a:srgbClr val="6DC2E9"/>
                    </a:gs>
                  </a:gsLst>
                  <a:lin ang="5400000" scaled="0"/>
                </a:gradFill>
                <a:latin typeface="+mn-lt"/>
              </a:rPr>
              <a:t> </a:t>
            </a:r>
            <a:r>
              <a:rPr lang="en-US" sz="1200" b="0" i="0" dirty="0">
                <a:solidFill>
                  <a:srgbClr val="171717"/>
                </a:solidFill>
                <a:effectLst/>
                <a:latin typeface="+mn-lt"/>
              </a:rPr>
              <a:t>for one-way notifications to the device app.</a:t>
            </a:r>
          </a:p>
          <a:p>
            <a:endParaRPr lang="en-US" dirty="0"/>
          </a:p>
          <a:p>
            <a:endParaRPr lang="en-US" dirty="0"/>
          </a:p>
          <a:p>
            <a:br>
              <a:rPr lang="en-US" dirty="0">
                <a:effectLst/>
              </a:rPr>
            </a:br>
            <a:r>
              <a:rPr lang="en-US" dirty="0">
                <a:effectLst/>
              </a:rPr>
              <a:t>Direct Methods: Two-way. The device app can respond to the method right away. The solution back end receives the outcome contextually to the request.</a:t>
            </a:r>
          </a:p>
          <a:p>
            <a:r>
              <a:rPr lang="en-US" b="1" i="0" dirty="0">
                <a:solidFill>
                  <a:srgbClr val="171717"/>
                </a:solidFill>
                <a:effectLst/>
                <a:latin typeface="Segoe UI" panose="020B0502040204020203" pitchFamily="34" charset="0"/>
              </a:rPr>
              <a:t>Twin's desired properties: </a:t>
            </a:r>
            <a:r>
              <a:rPr lang="en-US" b="0" i="0" dirty="0">
                <a:solidFill>
                  <a:srgbClr val="171717"/>
                </a:solidFill>
                <a:effectLst/>
                <a:latin typeface="Segoe UI" panose="020B0502040204020203" pitchFamily="34" charset="0"/>
              </a:rPr>
              <a:t>One-way. The device app receives a notification with the property change.</a:t>
            </a:r>
          </a:p>
          <a:p>
            <a:r>
              <a:rPr lang="en-US" b="0" i="0" dirty="0">
                <a:solidFill>
                  <a:srgbClr val="171717"/>
                </a:solidFill>
                <a:effectLst/>
                <a:latin typeface="Segoe UI" panose="020B0502040204020203" pitchFamily="34" charset="0"/>
              </a:rPr>
              <a:t>Cloud to device messages: One-way. The device app receives the message</a:t>
            </a:r>
          </a:p>
          <a:p>
            <a:endParaRPr lang="en-US" dirty="0">
              <a:effectLst/>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046030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Use IoT Hub message routing to send device-to-cloud messages to different endpoints</a:t>
            </a:r>
          </a:p>
          <a:p>
            <a:endParaRPr lang="en-AU" dirty="0"/>
          </a:p>
          <a:p>
            <a:r>
              <a:rPr lang="en-AU" dirty="0"/>
              <a:t>Our system must deal with messages arriving from a range of devices</a:t>
            </a:r>
          </a:p>
          <a:p>
            <a:endParaRPr lang="en-AU" dirty="0"/>
          </a:p>
          <a:p>
            <a:r>
              <a:rPr lang="en-AU" dirty="0"/>
              <a:t>There could be telemetry messages arrive HVAC systems, security sensors, lighting systems etc</a:t>
            </a:r>
          </a:p>
          <a:p>
            <a:endParaRPr lang="en-AU" dirty="0"/>
          </a:p>
          <a:p>
            <a:r>
              <a:rPr lang="en-AU" dirty="0"/>
              <a:t>Each message will have a different format, different time vale, destined for different back end systems etc</a:t>
            </a:r>
          </a:p>
          <a:p>
            <a:endParaRPr lang="en-AU" dirty="0"/>
          </a:p>
          <a:p>
            <a:r>
              <a:rPr lang="en-AU" dirty="0"/>
              <a:t>Now there are two patterns you could deploy to deal with this complexity</a:t>
            </a:r>
          </a:p>
          <a:p>
            <a:endParaRPr lang="en-AU" dirty="0"/>
          </a:p>
          <a:p>
            <a:pPr marL="228600" indent="-228600">
              <a:buFont typeface="+mj-lt"/>
              <a:buAutoNum type="arabicPeriod"/>
            </a:pPr>
            <a:r>
              <a:rPr lang="en-AU" dirty="0"/>
              <a:t>Now we could have 1 IoT hub per device type and application but that would quickly become expensive and difficult to manage</a:t>
            </a:r>
          </a:p>
          <a:p>
            <a:pPr marL="228600" indent="-228600">
              <a:buFont typeface="+mj-lt"/>
              <a:buAutoNum type="arabicPeriod"/>
            </a:pPr>
            <a:r>
              <a:rPr lang="en-AU" dirty="0"/>
              <a:t>Or more likely you have a consolidated set of IoT hubs and as messages flow into the system you will partition the messages ideally based on metadata but if JSON serialised message then you can also use the body of the message to route messages.</a:t>
            </a:r>
          </a:p>
          <a:p>
            <a:endParaRPr lang="en-AU" dirty="0"/>
          </a:p>
          <a:p>
            <a:r>
              <a:rPr lang="en-AU" dirty="0"/>
              <a:t>I’m going to assume you will most like what you use a consolidated set of IoT Hubs and route the messages</a:t>
            </a:r>
          </a:p>
          <a:p>
            <a:endParaRPr lang="en-AU" dirty="0"/>
          </a:p>
          <a:p>
            <a:r>
              <a:rPr lang="en-AU" dirty="0"/>
              <a:t>To that end IoT hub includes the alibility to route messages to different endpoints typically based on application, but could also include logging all messages entering the system for audit</a:t>
            </a:r>
          </a:p>
          <a:p>
            <a:endParaRPr lang="en-AU" dirty="0"/>
          </a:p>
          <a:p>
            <a:endParaRPr lang="en-AU" dirty="0"/>
          </a:p>
          <a:p>
            <a:pPr marL="0" marR="0" lvl="0" indent="0" algn="l" defTabSz="913434" rtl="0" eaLnBrk="1" fontAlgn="auto" latinLnBrk="0" hangingPunct="1">
              <a:lnSpc>
                <a:spcPct val="100000"/>
              </a:lnSpc>
              <a:spcBef>
                <a:spcPct val="0"/>
              </a:spcBef>
              <a:spcAft>
                <a:spcPts val="600"/>
              </a:spcAft>
              <a:buClrTx/>
              <a:buSzTx/>
              <a:buFontTx/>
              <a:buNone/>
              <a:tabLst/>
              <a:defRPr/>
            </a:pPr>
            <a:endParaRPr lang="en-AU" sz="1200" dirty="0">
              <a:gradFill>
                <a:gsLst>
                  <a:gs pos="0">
                    <a:srgbClr val="000000"/>
                  </a:gs>
                  <a:gs pos="100000">
                    <a:srgbClr val="000000"/>
                  </a:gs>
                </a:gsLst>
                <a:lin ang="5400000" scaled="0"/>
              </a:gradFill>
              <a:latin typeface="+mn-lt"/>
            </a:endParaRPr>
          </a:p>
          <a:p>
            <a:r>
              <a:rPr lang="en-US" b="0" i="0" dirty="0">
                <a:solidFill>
                  <a:srgbClr val="171717"/>
                </a:solidFill>
                <a:effectLst/>
                <a:latin typeface="Segoe UI" panose="020B0502040204020203" pitchFamily="34" charset="0"/>
              </a:rPr>
              <a:t>An IoT hub has a default built-in-endpoint (</a:t>
            </a:r>
            <a:r>
              <a:rPr lang="en-US" b="1" i="0" dirty="0">
                <a:solidFill>
                  <a:srgbClr val="171717"/>
                </a:solidFill>
                <a:effectLst/>
                <a:latin typeface="Segoe UI" panose="020B0502040204020203" pitchFamily="34" charset="0"/>
              </a:rPr>
              <a:t>messages/events</a:t>
            </a:r>
            <a:r>
              <a:rPr lang="en-US" b="0" i="0" dirty="0">
                <a:solidFill>
                  <a:srgbClr val="171717"/>
                </a:solidFill>
                <a:effectLst/>
                <a:latin typeface="Segoe UI" panose="020B0502040204020203" pitchFamily="34" charset="0"/>
              </a:rPr>
              <a:t>) that is compatible with Event Hubs. You can create </a:t>
            </a:r>
            <a:r>
              <a:rPr lang="en-US" b="0" i="0" u="none" strike="noStrike" dirty="0">
                <a:effectLst/>
                <a:latin typeface="Segoe UI" panose="020B0502040204020203" pitchFamily="34" charset="0"/>
                <a:hlinkClick r:id="rId3"/>
              </a:rPr>
              <a:t>custom endpoints</a:t>
            </a:r>
            <a:r>
              <a:rPr lang="en-US" b="0" i="0" dirty="0">
                <a:solidFill>
                  <a:srgbClr val="171717"/>
                </a:solidFill>
                <a:effectLst/>
                <a:latin typeface="Segoe UI" panose="020B0502040204020203" pitchFamily="34" charset="0"/>
              </a:rPr>
              <a:t> to route messages to by linking other services in your subscription to the IoT Hub.</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1" u="none" strike="noStrike" dirty="0">
                <a:solidFill>
                  <a:srgbClr val="171717"/>
                </a:solidFill>
                <a:effectLst/>
                <a:latin typeface="Segoe UI" panose="020B0502040204020203" pitchFamily="34" charset="0"/>
              </a:rPr>
              <a:t>Message enrichments</a:t>
            </a:r>
            <a:r>
              <a:rPr lang="en-US" b="0" i="0" u="none" strike="noStrike" dirty="0">
                <a:solidFill>
                  <a:srgbClr val="171717"/>
                </a:solidFill>
                <a:effectLst/>
                <a:latin typeface="Segoe UI" panose="020B0502040204020203" pitchFamily="34" charset="0"/>
              </a:rPr>
              <a:t> describes the ability of Azure IoT Hub to </a:t>
            </a:r>
            <a:r>
              <a:rPr lang="en-US" b="0" i="1" u="none" strike="noStrike" dirty="0">
                <a:solidFill>
                  <a:srgbClr val="171717"/>
                </a:solidFill>
                <a:effectLst/>
                <a:latin typeface="Segoe UI" panose="020B0502040204020203" pitchFamily="34" charset="0"/>
              </a:rPr>
              <a:t>stamp</a:t>
            </a:r>
            <a:r>
              <a:rPr lang="en-US" b="0" i="0" u="none" strike="noStrike" dirty="0">
                <a:solidFill>
                  <a:srgbClr val="171717"/>
                </a:solidFill>
                <a:effectLst/>
                <a:latin typeface="Segoe UI" panose="020B0502040204020203" pitchFamily="34" charset="0"/>
              </a:rPr>
              <a:t> messages with additional information before the messages are sent to the designated endpoi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IoT Hub currently supports the following endpoints:</a:t>
            </a:r>
          </a:p>
          <a:p>
            <a:pPr algn="l">
              <a:buFont typeface="Arial" panose="020B0604020202020204" pitchFamily="34" charset="0"/>
              <a:buChar char="•"/>
            </a:pPr>
            <a:r>
              <a:rPr lang="en-US" b="0" i="0" dirty="0">
                <a:solidFill>
                  <a:srgbClr val="171717"/>
                </a:solidFill>
                <a:effectLst/>
                <a:latin typeface="Segoe UI" panose="020B0502040204020203" pitchFamily="34" charset="0"/>
              </a:rPr>
              <a:t>Built-in endpoint</a:t>
            </a:r>
          </a:p>
          <a:p>
            <a:pPr algn="l">
              <a:buFont typeface="Arial" panose="020B0604020202020204" pitchFamily="34" charset="0"/>
              <a:buChar char="•"/>
            </a:pPr>
            <a:r>
              <a:rPr lang="en-US" b="0" i="0" dirty="0">
                <a:solidFill>
                  <a:srgbClr val="171717"/>
                </a:solidFill>
                <a:effectLst/>
                <a:latin typeface="Segoe UI" panose="020B0502040204020203" pitchFamily="34" charset="0"/>
              </a:rPr>
              <a:t>Azure Storage</a:t>
            </a:r>
          </a:p>
          <a:p>
            <a:pPr algn="l">
              <a:buFont typeface="Arial" panose="020B0604020202020204" pitchFamily="34" charset="0"/>
              <a:buChar char="•"/>
            </a:pPr>
            <a:r>
              <a:rPr lang="en-US" b="0" i="0" dirty="0">
                <a:solidFill>
                  <a:srgbClr val="171717"/>
                </a:solidFill>
                <a:effectLst/>
                <a:latin typeface="Segoe UI" panose="020B0502040204020203" pitchFamily="34" charset="0"/>
              </a:rPr>
              <a:t>Service Bus Queues and Service Bus Topics</a:t>
            </a:r>
          </a:p>
          <a:p>
            <a:pPr algn="l">
              <a:buFont typeface="Arial" panose="020B0604020202020204" pitchFamily="34" charset="0"/>
              <a:buChar char="•"/>
            </a:pPr>
            <a:r>
              <a:rPr lang="en-US" b="0" i="0" dirty="0">
                <a:solidFill>
                  <a:srgbClr val="171717"/>
                </a:solidFill>
                <a:effectLst/>
                <a:latin typeface="Segoe UI" panose="020B0502040204020203" pitchFamily="34" charset="0"/>
              </a:rPr>
              <a:t>Event Hub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There are two storage services IoT Hub can route messages to -- </a:t>
            </a:r>
            <a:r>
              <a:rPr lang="en-US" b="0" i="0" u="none" strike="noStrike" dirty="0">
                <a:effectLst/>
                <a:latin typeface="Segoe UI" panose="020B0502040204020203" pitchFamily="34" charset="0"/>
                <a:hlinkClick r:id="rId4"/>
              </a:rPr>
              <a:t>Azure Blob Storage</a:t>
            </a:r>
            <a:r>
              <a:rPr lang="en-US" b="0" i="0" dirty="0">
                <a:solidFill>
                  <a:srgbClr val="171717"/>
                </a:solidFill>
                <a:effectLst/>
                <a:latin typeface="Segoe UI" panose="020B0502040204020203" pitchFamily="34" charset="0"/>
              </a:rPr>
              <a:t> and </a:t>
            </a:r>
            <a:r>
              <a:rPr lang="en-US" b="0" i="0" u="none" strike="noStrike" dirty="0">
                <a:effectLst/>
                <a:latin typeface="Segoe UI" panose="020B0502040204020203" pitchFamily="34" charset="0"/>
                <a:hlinkClick r:id="rId5"/>
              </a:rPr>
              <a:t>Azure Data Lake Storage Gen2</a:t>
            </a:r>
            <a:r>
              <a:rPr lang="en-US" b="0" i="0" dirty="0">
                <a:solidFill>
                  <a:srgbClr val="171717"/>
                </a:solidFill>
                <a:effectLst/>
                <a:latin typeface="Segoe UI" panose="020B0502040204020203" pitchFamily="34" charset="0"/>
              </a:rPr>
              <a:t> (ADLS Gen2) accounts. Azure Data Lake Storage accounts are </a:t>
            </a:r>
            <a:r>
              <a:rPr lang="en-US" b="0" i="0" u="none" strike="noStrike" dirty="0">
                <a:effectLst/>
                <a:latin typeface="Segoe UI" panose="020B0502040204020203" pitchFamily="34" charset="0"/>
                <a:hlinkClick r:id="rId6"/>
              </a:rPr>
              <a:t>hierarchical namespace</a:t>
            </a:r>
            <a:r>
              <a:rPr lang="en-US" b="0" i="0" dirty="0">
                <a:solidFill>
                  <a:srgbClr val="171717"/>
                </a:solidFill>
                <a:effectLst/>
                <a:latin typeface="Segoe UI" panose="020B0502040204020203" pitchFamily="34" charset="0"/>
              </a:rPr>
              <a:t>-enabled storage accounts built on top of blob storage. Both of these use blobs for their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algn="l"/>
            <a:br>
              <a:rPr lang="en-US" b="1" i="0" dirty="0">
                <a:solidFill>
                  <a:srgbClr val="171717"/>
                </a:solidFill>
                <a:effectLst/>
                <a:latin typeface="Segoe UI" panose="020B0502040204020203" pitchFamily="34" charset="0"/>
              </a:rPr>
            </a:br>
            <a:r>
              <a:rPr lang="en-US" b="1" i="0" dirty="0">
                <a:solidFill>
                  <a:srgbClr val="171717"/>
                </a:solidFill>
                <a:effectLst/>
                <a:latin typeface="Segoe UI" panose="020B0502040204020203" pitchFamily="34" charset="0"/>
              </a:rPr>
              <a:t>Non-telemetry events</a:t>
            </a:r>
          </a:p>
          <a:p>
            <a:pPr algn="l"/>
            <a:r>
              <a:rPr lang="en-US" b="0" i="0" dirty="0">
                <a:solidFill>
                  <a:srgbClr val="171717"/>
                </a:solidFill>
                <a:effectLst/>
                <a:latin typeface="Segoe UI" panose="020B0502040204020203" pitchFamily="34" charset="0"/>
              </a:rPr>
              <a:t>In addition to device telemetry, message routing also enables sending device twin change events, device lifecycle events, and digital twin change events. For example, if a route is created with data source set to </a:t>
            </a:r>
            <a:r>
              <a:rPr lang="en-US" b="1" i="0" dirty="0">
                <a:solidFill>
                  <a:srgbClr val="171717"/>
                </a:solidFill>
                <a:effectLst/>
                <a:latin typeface="Segoe UI" panose="020B0502040204020203" pitchFamily="34" charset="0"/>
              </a:rPr>
              <a:t>device twin change events</a:t>
            </a:r>
            <a:r>
              <a:rPr lang="en-US" b="0" i="0" dirty="0">
                <a:solidFill>
                  <a:srgbClr val="171717"/>
                </a:solidFill>
                <a:effectLst/>
                <a:latin typeface="Segoe UI" panose="020B0502040204020203" pitchFamily="34" charset="0"/>
              </a:rPr>
              <a:t>, IoT Hub sends messages to the endpoint that contain the change in the device twin. Similarly, if a route is created with data source set to </a:t>
            </a:r>
            <a:r>
              <a:rPr lang="en-US" b="1" i="0" dirty="0">
                <a:solidFill>
                  <a:srgbClr val="171717"/>
                </a:solidFill>
                <a:effectLst/>
                <a:latin typeface="Segoe UI" panose="020B0502040204020203" pitchFamily="34" charset="0"/>
              </a:rPr>
              <a:t>device lifecycle events</a:t>
            </a:r>
            <a:r>
              <a:rPr lang="en-US" b="0" i="0" dirty="0">
                <a:solidFill>
                  <a:srgbClr val="171717"/>
                </a:solidFill>
                <a:effectLst/>
                <a:latin typeface="Segoe UI" panose="020B0502040204020203" pitchFamily="34" charset="0"/>
              </a:rPr>
              <a:t>, IoT Hub sends a message indicating whether the device was deleted or created.</a:t>
            </a:r>
          </a:p>
          <a:p>
            <a:pPr marL="0" marR="0" lvl="0" indent="0" algn="l" defTabSz="913434" rtl="0" eaLnBrk="1" fontAlgn="auto" latinLnBrk="0" hangingPunct="1">
              <a:lnSpc>
                <a:spcPct val="100000"/>
              </a:lnSpc>
              <a:spcBef>
                <a:spcPct val="0"/>
              </a:spcBef>
              <a:spcAft>
                <a:spcPts val="600"/>
              </a:spcAft>
              <a:buClrTx/>
              <a:buSzTx/>
              <a:buFontTx/>
              <a:buNone/>
              <a:tabLst/>
              <a:defRPr/>
            </a:pPr>
            <a:endParaRPr lang="en-US" sz="1200" dirty="0">
              <a:gradFill>
                <a:gsLst>
                  <a:gs pos="0">
                    <a:srgbClr val="000000"/>
                  </a:gs>
                  <a:gs pos="100000">
                    <a:srgbClr val="000000"/>
                  </a:gs>
                </a:gsLst>
                <a:lin ang="5400000" scaled="0"/>
              </a:gradFill>
              <a:latin typeface="+mn-lt"/>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78912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An IoT hub has a default built-in-endpoint (</a:t>
            </a:r>
            <a:r>
              <a:rPr lang="en-US" b="1" i="0" dirty="0">
                <a:solidFill>
                  <a:srgbClr val="171717"/>
                </a:solidFill>
                <a:effectLst/>
                <a:latin typeface="Segoe UI" panose="020B0502040204020203" pitchFamily="34" charset="0"/>
              </a:rPr>
              <a:t>messages/events</a:t>
            </a:r>
            <a:r>
              <a:rPr lang="en-US" b="0" i="0" dirty="0">
                <a:solidFill>
                  <a:srgbClr val="171717"/>
                </a:solidFill>
                <a:effectLst/>
                <a:latin typeface="Segoe UI" panose="020B0502040204020203" pitchFamily="34" charset="0"/>
              </a:rPr>
              <a:t>) that is compatible with Event Hubs. You can create </a:t>
            </a:r>
            <a:r>
              <a:rPr lang="en-US" b="0" i="0" u="none" strike="noStrike" dirty="0">
                <a:effectLst/>
                <a:latin typeface="Segoe UI" panose="020B0502040204020203" pitchFamily="34" charset="0"/>
                <a:hlinkClick r:id="rId3"/>
              </a:rPr>
              <a:t>custom endpoints</a:t>
            </a:r>
            <a:r>
              <a:rPr lang="en-US" b="0" i="0" dirty="0">
                <a:solidFill>
                  <a:srgbClr val="171717"/>
                </a:solidFill>
                <a:effectLst/>
                <a:latin typeface="Segoe UI" panose="020B0502040204020203" pitchFamily="34" charset="0"/>
              </a:rPr>
              <a:t> to route messages to by linking other services in your subscription to the IoT Hub.</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1" u="none" strike="noStrike" dirty="0">
                <a:solidFill>
                  <a:srgbClr val="171717"/>
                </a:solidFill>
                <a:effectLst/>
                <a:latin typeface="Segoe UI" panose="020B0502040204020203" pitchFamily="34" charset="0"/>
              </a:rPr>
              <a:t>Message enrichments</a:t>
            </a:r>
            <a:r>
              <a:rPr lang="en-US" b="0" i="0" u="none" strike="noStrike" dirty="0">
                <a:solidFill>
                  <a:srgbClr val="171717"/>
                </a:solidFill>
                <a:effectLst/>
                <a:latin typeface="Segoe UI" panose="020B0502040204020203" pitchFamily="34" charset="0"/>
              </a:rPr>
              <a:t> describes the ability of Azure IoT Hub to </a:t>
            </a:r>
            <a:r>
              <a:rPr lang="en-US" b="0" i="1" u="none" strike="noStrike" dirty="0">
                <a:solidFill>
                  <a:srgbClr val="171717"/>
                </a:solidFill>
                <a:effectLst/>
                <a:latin typeface="Segoe UI" panose="020B0502040204020203" pitchFamily="34" charset="0"/>
              </a:rPr>
              <a:t>stamp</a:t>
            </a:r>
            <a:r>
              <a:rPr lang="en-US" b="0" i="0" u="none" strike="noStrike" dirty="0">
                <a:solidFill>
                  <a:srgbClr val="171717"/>
                </a:solidFill>
                <a:effectLst/>
                <a:latin typeface="Segoe UI" panose="020B0502040204020203" pitchFamily="34" charset="0"/>
              </a:rPr>
              <a:t> messages with additional information before the messages are sent to the designated endpoi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IoT Hub currently supports the following endpoints:</a:t>
            </a:r>
          </a:p>
          <a:p>
            <a:pPr algn="l">
              <a:buFont typeface="Arial" panose="020B0604020202020204" pitchFamily="34" charset="0"/>
              <a:buChar char="•"/>
            </a:pPr>
            <a:r>
              <a:rPr lang="en-US" b="0" i="0" dirty="0">
                <a:solidFill>
                  <a:srgbClr val="171717"/>
                </a:solidFill>
                <a:effectLst/>
                <a:latin typeface="Segoe UI" panose="020B0502040204020203" pitchFamily="34" charset="0"/>
              </a:rPr>
              <a:t>Built-in endpoint</a:t>
            </a:r>
          </a:p>
          <a:p>
            <a:pPr algn="l">
              <a:buFont typeface="Arial" panose="020B0604020202020204" pitchFamily="34" charset="0"/>
              <a:buChar char="•"/>
            </a:pPr>
            <a:r>
              <a:rPr lang="en-US" b="0" i="0" dirty="0">
                <a:solidFill>
                  <a:srgbClr val="171717"/>
                </a:solidFill>
                <a:effectLst/>
                <a:latin typeface="Segoe UI" panose="020B0502040204020203" pitchFamily="34" charset="0"/>
              </a:rPr>
              <a:t>Azure Storage</a:t>
            </a:r>
          </a:p>
          <a:p>
            <a:pPr algn="l">
              <a:buFont typeface="Arial" panose="020B0604020202020204" pitchFamily="34" charset="0"/>
              <a:buChar char="•"/>
            </a:pPr>
            <a:r>
              <a:rPr lang="en-US" b="0" i="0" dirty="0">
                <a:solidFill>
                  <a:srgbClr val="171717"/>
                </a:solidFill>
                <a:effectLst/>
                <a:latin typeface="Segoe UI" panose="020B0502040204020203" pitchFamily="34" charset="0"/>
              </a:rPr>
              <a:t>Service Bus Queues and Service Bus Topics</a:t>
            </a:r>
          </a:p>
          <a:p>
            <a:pPr algn="l">
              <a:buFont typeface="Arial" panose="020B0604020202020204" pitchFamily="34" charset="0"/>
              <a:buChar char="•"/>
            </a:pPr>
            <a:r>
              <a:rPr lang="en-US" b="0" i="0" dirty="0">
                <a:solidFill>
                  <a:srgbClr val="171717"/>
                </a:solidFill>
                <a:effectLst/>
                <a:latin typeface="Segoe UI" panose="020B0502040204020203" pitchFamily="34" charset="0"/>
              </a:rPr>
              <a:t>Event Hub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There are two storage services IoT Hub can route messages to -- </a:t>
            </a:r>
            <a:r>
              <a:rPr lang="en-US" b="0" i="0" u="none" strike="noStrike" dirty="0">
                <a:effectLst/>
                <a:latin typeface="Segoe UI" panose="020B0502040204020203" pitchFamily="34" charset="0"/>
                <a:hlinkClick r:id="rId4"/>
              </a:rPr>
              <a:t>Azure Blob Storage</a:t>
            </a:r>
            <a:r>
              <a:rPr lang="en-US" b="0" i="0" dirty="0">
                <a:solidFill>
                  <a:srgbClr val="171717"/>
                </a:solidFill>
                <a:effectLst/>
                <a:latin typeface="Segoe UI" panose="020B0502040204020203" pitchFamily="34" charset="0"/>
              </a:rPr>
              <a:t> and </a:t>
            </a:r>
            <a:r>
              <a:rPr lang="en-US" b="0" i="0" u="none" strike="noStrike" dirty="0">
                <a:effectLst/>
                <a:latin typeface="Segoe UI" panose="020B0502040204020203" pitchFamily="34" charset="0"/>
                <a:hlinkClick r:id="rId5"/>
              </a:rPr>
              <a:t>Azure Data Lake Storage Gen2</a:t>
            </a:r>
            <a:r>
              <a:rPr lang="en-US" b="0" i="0" dirty="0">
                <a:solidFill>
                  <a:srgbClr val="171717"/>
                </a:solidFill>
                <a:effectLst/>
                <a:latin typeface="Segoe UI" panose="020B0502040204020203" pitchFamily="34" charset="0"/>
              </a:rPr>
              <a:t> (ADLS Gen2) accounts. Azure Data Lake Storage accounts are </a:t>
            </a:r>
            <a:r>
              <a:rPr lang="en-US" b="0" i="0" u="none" strike="noStrike" dirty="0">
                <a:effectLst/>
                <a:latin typeface="Segoe UI" panose="020B0502040204020203" pitchFamily="34" charset="0"/>
                <a:hlinkClick r:id="rId6"/>
              </a:rPr>
              <a:t>hierarchical namespace</a:t>
            </a:r>
            <a:r>
              <a:rPr lang="en-US" b="0" i="0" dirty="0">
                <a:solidFill>
                  <a:srgbClr val="171717"/>
                </a:solidFill>
                <a:effectLst/>
                <a:latin typeface="Segoe UI" panose="020B0502040204020203" pitchFamily="34" charset="0"/>
              </a:rPr>
              <a:t>-enabled storage accounts built on top of blob storage. Both of these use blobs for their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pPr algn="l"/>
            <a:br>
              <a:rPr lang="en-US" b="1" i="0" dirty="0">
                <a:solidFill>
                  <a:srgbClr val="171717"/>
                </a:solidFill>
                <a:effectLst/>
                <a:latin typeface="Segoe UI" panose="020B0502040204020203" pitchFamily="34" charset="0"/>
              </a:rPr>
            </a:br>
            <a:r>
              <a:rPr lang="en-US" b="1" i="0" dirty="0">
                <a:solidFill>
                  <a:srgbClr val="171717"/>
                </a:solidFill>
                <a:effectLst/>
                <a:latin typeface="Segoe UI" panose="020B0502040204020203" pitchFamily="34" charset="0"/>
              </a:rPr>
              <a:t>Non-telemetry events</a:t>
            </a:r>
          </a:p>
          <a:p>
            <a:pPr algn="l"/>
            <a:r>
              <a:rPr lang="en-US" b="0" i="0" dirty="0">
                <a:solidFill>
                  <a:srgbClr val="171717"/>
                </a:solidFill>
                <a:effectLst/>
                <a:latin typeface="Segoe UI" panose="020B0502040204020203" pitchFamily="34" charset="0"/>
              </a:rPr>
              <a:t>In addition to device telemetry, message routing also enables sending device twin change events, device lifecycle events, and digital twin change events. For example, if a route is created with data source set to </a:t>
            </a:r>
            <a:r>
              <a:rPr lang="en-US" b="1" i="0" dirty="0">
                <a:solidFill>
                  <a:srgbClr val="171717"/>
                </a:solidFill>
                <a:effectLst/>
                <a:latin typeface="Segoe UI" panose="020B0502040204020203" pitchFamily="34" charset="0"/>
              </a:rPr>
              <a:t>device twin change events</a:t>
            </a:r>
            <a:r>
              <a:rPr lang="en-US" b="0" i="0" dirty="0">
                <a:solidFill>
                  <a:srgbClr val="171717"/>
                </a:solidFill>
                <a:effectLst/>
                <a:latin typeface="Segoe UI" panose="020B0502040204020203" pitchFamily="34" charset="0"/>
              </a:rPr>
              <a:t>, IoT Hub sends messages to the endpoint that contain the change in the device twin. Similarly, if a route is created with data source set to </a:t>
            </a:r>
            <a:r>
              <a:rPr lang="en-US" b="1" i="0" dirty="0">
                <a:solidFill>
                  <a:srgbClr val="171717"/>
                </a:solidFill>
                <a:effectLst/>
                <a:latin typeface="Segoe UI" panose="020B0502040204020203" pitchFamily="34" charset="0"/>
              </a:rPr>
              <a:t>device lifecycle events</a:t>
            </a:r>
            <a:r>
              <a:rPr lang="en-US" b="0" i="0" dirty="0">
                <a:solidFill>
                  <a:srgbClr val="171717"/>
                </a:solidFill>
                <a:effectLst/>
                <a:latin typeface="Segoe UI" panose="020B0502040204020203" pitchFamily="34" charset="0"/>
              </a:rPr>
              <a:t>, IoT Hub sends a message indicating whether the device was deleted or crea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171717"/>
              </a:solidFill>
              <a:effectLst/>
              <a:latin typeface="Segoe UI" panose="020B0502040204020203" pitchFamily="34" charset="0"/>
            </a:endParaRPr>
          </a:p>
          <a:p>
            <a:endParaRPr lang="en-US" b="0" i="0" u="none" strike="noStrike" dirty="0">
              <a:solidFill>
                <a:srgbClr val="171717"/>
              </a:solidFill>
              <a:effectLst/>
              <a:latin typeface="Segoe UI" panose="020B0502040204020203" pitchFamily="34" charset="0"/>
            </a:endParaRPr>
          </a:p>
          <a:p>
            <a:endParaRPr lang="en-US" b="0" i="0" u="none" strike="noStrike" dirty="0">
              <a:solidFill>
                <a:srgbClr val="171717"/>
              </a:solidFill>
              <a:effectLst/>
              <a:latin typeface="Segoe UI" panose="020B0502040204020203" pitchFamily="34" charset="0"/>
            </a:endParaRPr>
          </a:p>
          <a:p>
            <a:endParaRPr lang="en-US" b="0" i="0" u="none" strike="noStrike" dirty="0">
              <a:solidFill>
                <a:srgbClr val="171717"/>
              </a:solidFill>
              <a:effectLst/>
              <a:latin typeface="Segoe UI" panose="020B0502040204020203" pitchFamily="34" charset="0"/>
            </a:endParaRPr>
          </a:p>
          <a:p>
            <a:endParaRPr lang="en-US" b="0" i="0" u="none" strike="noStrike" dirty="0">
              <a:solidFill>
                <a:srgbClr val="171717"/>
              </a:solidFill>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57721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en-US" dirty="0"/>
              <a:t>Let’s have a look at the variety of data IoT systems can generate. </a:t>
            </a:r>
          </a:p>
          <a:p>
            <a:r>
              <a:rPr lang="en-US" i="1" dirty="0">
                <a:solidFill>
                  <a:schemeClr val="bg1"/>
                </a:solidFill>
                <a:highlight>
                  <a:srgbClr val="FFFF00"/>
                </a:highlight>
              </a:rPr>
              <a:t>[</a:t>
            </a:r>
            <a:r>
              <a:rPr lang="en-US" i="1" dirty="0">
                <a:solidFill>
                  <a:schemeClr val="bg1"/>
                </a:solidFill>
              </a:rPr>
              <a:t>Click</a:t>
            </a:r>
            <a:r>
              <a:rPr lang="en-US" i="1" dirty="0">
                <a:solidFill>
                  <a:schemeClr val="bg1"/>
                </a:solidFill>
                <a:highlight>
                  <a:srgbClr val="FFFF00"/>
                </a:highlight>
              </a:rPr>
              <a:t>]</a:t>
            </a:r>
            <a:r>
              <a:rPr lang="en-US" dirty="0"/>
              <a:t> First, IoT generates telemetry data. We have mainly JSON documents, even if from time to time, we encounter a lot of other data formats, including column-encoded.</a:t>
            </a:r>
          </a:p>
          <a:p>
            <a:r>
              <a:rPr lang="en-US" i="1" dirty="0">
                <a:solidFill>
                  <a:schemeClr val="bg1"/>
                </a:solidFill>
                <a:highlight>
                  <a:srgbClr val="FFFF00"/>
                </a:highlight>
              </a:rPr>
              <a:t>[</a:t>
            </a:r>
            <a:r>
              <a:rPr lang="en-US" i="1" dirty="0">
                <a:solidFill>
                  <a:schemeClr val="bg1"/>
                </a:solidFill>
              </a:rPr>
              <a:t>Click</a:t>
            </a:r>
            <a:r>
              <a:rPr lang="en-US" i="1" dirty="0">
                <a:solidFill>
                  <a:schemeClr val="bg1"/>
                </a:solidFill>
                <a:highlight>
                  <a:srgbClr val="FFFF00"/>
                </a:highlight>
              </a:rPr>
              <a:t>]</a:t>
            </a:r>
            <a:r>
              <a:rPr lang="en-US" dirty="0"/>
              <a:t> Then, we have all the metadata associated with the data itself, the IoT Device or the system. The values there may change slowly</a:t>
            </a:r>
            <a:r>
              <a:rPr lang="en-US" baseline="30000" dirty="0"/>
              <a:t>1 </a:t>
            </a:r>
            <a:r>
              <a:rPr lang="en-US" dirty="0"/>
              <a:t>over time. These metadata can be precious sources of information for your analytics. </a:t>
            </a:r>
            <a:r>
              <a:rPr lang="en-US" i="1" dirty="0"/>
              <a:t>[Click]</a:t>
            </a:r>
            <a:r>
              <a:rPr lang="en-US" dirty="0"/>
              <a:t> These metadata can also be enriched in the process with reference data or other sources.</a:t>
            </a:r>
          </a:p>
          <a:p>
            <a:r>
              <a:rPr lang="en-US" i="1" dirty="0"/>
              <a:t>[Click]</a:t>
            </a:r>
            <a:r>
              <a:rPr lang="en-US" i="0" dirty="0"/>
              <a:t> The diversity of IoT generated data can be immense: Image &amp; video streams, but also many other formats. IoT Gateways like Azure IoT Hub facilitates file upload from IoT devices, enabling the collection of all kind of unstructured data.</a:t>
            </a:r>
            <a:endParaRPr lang="en-US" dirty="0"/>
          </a:p>
          <a:p>
            <a:endParaRPr lang="en-US" b="1" dirty="0"/>
          </a:p>
          <a:p>
            <a:endParaRPr lang="en-US" b="1" dirty="0"/>
          </a:p>
          <a:p>
            <a:r>
              <a:rPr lang="en-US" b="1" dirty="0"/>
              <a:t>Speaker Notes</a:t>
            </a:r>
          </a:p>
          <a:p>
            <a:r>
              <a:rPr lang="en-US" b="0" dirty="0"/>
              <a:t>1 – Slow changing dimension</a:t>
            </a:r>
          </a:p>
        </p:txBody>
      </p:sp>
    </p:spTree>
    <p:extLst>
      <p:ext uri="{BB962C8B-B14F-4D97-AF65-F5344CB8AC3E}">
        <p14:creationId xmlns:p14="http://schemas.microsoft.com/office/powerpoint/2010/main" val="2757448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dirty="0">
                <a:solidFill>
                  <a:srgbClr val="171717"/>
                </a:solidFill>
                <a:effectLst/>
                <a:latin typeface="Segoe UI" panose="020B0502040204020203" pitchFamily="34" charset="0"/>
              </a:rPr>
              <a:t>Azure IoT Hub integrates with Azure Event Grid so that you can send event notifications to other services and trigger downstream processes.</a:t>
            </a:r>
          </a:p>
          <a:p>
            <a:endParaRPr lang="en-US" b="0" i="0" u="none" strike="noStrike" dirty="0">
              <a:solidFill>
                <a:srgbClr val="171717"/>
              </a:solidFill>
              <a:effectLst/>
              <a:latin typeface="Segoe UI" panose="020B0502040204020203" pitchFamily="34" charset="0"/>
            </a:endParaRPr>
          </a:p>
          <a:p>
            <a:r>
              <a:rPr lang="en-US" b="0" i="0" u="none" strike="noStrike" dirty="0">
                <a:solidFill>
                  <a:srgbClr val="171717"/>
                </a:solidFill>
                <a:effectLst/>
                <a:latin typeface="Segoe UI" panose="020B0502040204020203" pitchFamily="34" charset="0"/>
              </a:rPr>
              <a:t>For example: If I wanted to create an alert to send an email whenever a new device is created, I could create a Logic App and IoT Hub event subscriptions </a:t>
            </a:r>
          </a:p>
          <a:p>
            <a:endParaRPr lang="en-US" b="0" i="0" u="none" strike="noStrike" dirty="0">
              <a:solidFill>
                <a:srgbClr val="171717"/>
              </a:solidFill>
              <a:effectLst/>
              <a:latin typeface="Segoe UI" panose="020B0502040204020203" pitchFamily="34" charset="0"/>
            </a:endParaRPr>
          </a:p>
          <a:p>
            <a:pPr algn="l"/>
            <a:r>
              <a:rPr lang="en-US" b="1" i="0" u="none" strike="noStrike" dirty="0">
                <a:solidFill>
                  <a:srgbClr val="171717"/>
                </a:solidFill>
                <a:effectLst/>
                <a:latin typeface="Segoe UI" panose="020B0502040204020203" pitchFamily="34" charset="0"/>
              </a:rPr>
              <a:t>Filter events</a:t>
            </a:r>
          </a:p>
          <a:p>
            <a:pPr algn="l"/>
            <a:r>
              <a:rPr lang="en-US" b="0" i="0" u="none" strike="noStrike" dirty="0">
                <a:solidFill>
                  <a:srgbClr val="171717"/>
                </a:solidFill>
                <a:effectLst/>
                <a:latin typeface="Segoe UI" panose="020B0502040204020203" pitchFamily="34" charset="0"/>
              </a:rPr>
              <a:t>IoT Hub event subscriptions can filter events based on event type, data content and subject, which is the device name.</a:t>
            </a: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726836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00000"/>
                </a:solidFill>
                <a:latin typeface="Calibri"/>
                <a:ea typeface="Times New Roman" panose="02020603050405020304" pitchFamily="18" charset="0"/>
                <a:cs typeface="Calibri"/>
              </a:rPr>
              <a:t>To address these key customer pain-points, we are expanding the management capabilities provided to you by Azure IoT platform, by introducing the new Device Update for IoT Hub. </a:t>
            </a:r>
          </a:p>
          <a:p>
            <a:endParaRPr lang="en-US" sz="1800" dirty="0">
              <a:solidFill>
                <a:srgbClr val="000000"/>
              </a:solidFill>
              <a:latin typeface="Calibri"/>
              <a:ea typeface="Times New Roman" panose="02020603050405020304" pitchFamily="18" charset="0"/>
              <a:cs typeface="Calibri"/>
            </a:endParaRPr>
          </a:p>
          <a:p>
            <a:r>
              <a:rPr lang="en-US" sz="1800" dirty="0">
                <a:solidFill>
                  <a:srgbClr val="000000"/>
                </a:solidFill>
                <a:effectLst/>
                <a:latin typeface="Calibri"/>
                <a:ea typeface="Times New Roman" panose="02020603050405020304" pitchFamily="18" charset="0"/>
                <a:cs typeface="Calibri"/>
              </a:rPr>
              <a:t>Device Update for IoT Hub is an end-to-end platform for IoT device builders and solution integrators who want their customers to get the most value from their Azure IoT-enabled products. The platform simplifies and accelerates the time-consuming task of keeping every device across an IoT ecosystem up to date with the latest security and feature updates. </a:t>
            </a:r>
            <a:endParaRPr lang="en-US" dirty="0">
              <a:solidFill>
                <a:srgbClr val="000000"/>
              </a:solidFill>
              <a:latin typeface="Calibri"/>
              <a:ea typeface="Times New Roman" panose="02020603050405020304" pitchFamily="18" charset="0"/>
              <a:cs typeface="Calibri"/>
            </a:endParaRPr>
          </a:p>
          <a:p>
            <a:endParaRPr lang="en-US" sz="1800" dirty="0">
              <a:solidFill>
                <a:srgbClr val="000000"/>
              </a:solidFill>
              <a:latin typeface="Calibri"/>
              <a:ea typeface="Times New Roman" panose="02020603050405020304" pitchFamily="18" charset="0"/>
              <a:cs typeface="Calibri"/>
            </a:endParaRPr>
          </a:p>
          <a:p>
            <a:r>
              <a:rPr lang="en-US" sz="1800" dirty="0">
                <a:solidFill>
                  <a:srgbClr val="000000"/>
                </a:solidFill>
                <a:latin typeface="Calibri"/>
                <a:ea typeface="Times New Roman" panose="02020603050405020304" pitchFamily="18" charset="0"/>
                <a:cs typeface="Calibri"/>
              </a:rPr>
              <a:t>----------</a:t>
            </a:r>
          </a:p>
          <a:p>
            <a:endParaRPr lang="en-US" sz="1800" dirty="0">
              <a:solidFill>
                <a:srgbClr val="000000"/>
              </a:solidFill>
              <a:latin typeface="Calibri"/>
              <a:ea typeface="Times New Roman" panose="02020603050405020304" pitchFamily="18" charset="0"/>
              <a:cs typeface="Calibri"/>
            </a:endParaRPr>
          </a:p>
          <a:p>
            <a:r>
              <a:rPr lang="en-US" sz="1800" dirty="0">
                <a:solidFill>
                  <a:srgbClr val="000000"/>
                </a:solidFill>
                <a:effectLst/>
                <a:latin typeface="Calibri"/>
                <a:ea typeface="Times New Roman" panose="02020603050405020304" pitchFamily="18" charset="0"/>
                <a:cs typeface="Calibri"/>
              </a:rPr>
              <a:t>Device Update for IoT Hub provides an on-network caching solution to enable updating of more complex topologies involving internet-isolated leaf and Nested Edge devices and is compatible with open-source solutions. It implements robust security measures for a safe updating experience, while rich management controls and reporting ensure that customers stay in control of the update process.</a:t>
            </a:r>
            <a:r>
              <a:rPr lang="en-US" sz="1800" dirty="0">
                <a:solidFill>
                  <a:srgbClr val="000000"/>
                </a:solidFill>
                <a:latin typeface="Calibri"/>
                <a:ea typeface="Times New Roman" panose="02020603050405020304" pitchFamily="18" charset="0"/>
                <a:cs typeface="Calibri"/>
              </a:rPr>
              <a:t>  </a:t>
            </a:r>
            <a:endParaRPr lang="en-US" dirty="0">
              <a:cs typeface="Calibri"/>
            </a:endParaRPr>
          </a:p>
          <a:p>
            <a:pPr marL="0" marR="0"/>
            <a:endParaRPr lang="en-US" sz="1800" dirty="0">
              <a:effectLst/>
              <a:latin typeface="Times New Roman" panose="02020603050405020304" pitchFamily="18" charset="0"/>
              <a:ea typeface="Times New Roman" panose="02020603050405020304" pitchFamily="18" charset="0"/>
            </a:endParaRPr>
          </a:p>
          <a:p>
            <a:pPr marL="342900" marR="0" lvl="0" indent="-342900">
              <a:buFont typeface="Symbol" panose="05050102010706020507" pitchFamily="18" charset="2"/>
              <a:buChar char=""/>
            </a:pPr>
            <a:r>
              <a:rPr lang="en-US" sz="1800" b="1" dirty="0">
                <a:solidFill>
                  <a:srgbClr val="000000"/>
                </a:solidFill>
                <a:effectLst/>
                <a:latin typeface="Calibri"/>
                <a:ea typeface="Times New Roman" panose="02020603050405020304" pitchFamily="18" charset="0"/>
                <a:cs typeface="Calibri"/>
              </a:rPr>
              <a:t>Device Builders:</a:t>
            </a:r>
            <a:r>
              <a:rPr lang="en-US" sz="1800" dirty="0">
                <a:solidFill>
                  <a:srgbClr val="000000"/>
                </a:solidFill>
                <a:effectLst/>
                <a:latin typeface="Calibri"/>
                <a:ea typeface="Times New Roman" panose="02020603050405020304" pitchFamily="18" charset="0"/>
                <a:cs typeface="Calibri"/>
              </a:rPr>
              <a:t> Whether you or your customers will be responsible for updating the devices you sell, you can make your IoT products more compelling for potential customers by preinstalling Device Update for IoT Hub so keeping devices updated is simple, secure, and reliable.</a:t>
            </a:r>
            <a:endParaRPr lang="en-US" sz="1800" b="0" dirty="0">
              <a:solidFill>
                <a:srgbClr val="000000"/>
              </a:solidFill>
              <a:effectLst/>
              <a:latin typeface="Calibri"/>
              <a:ea typeface="Times New Roman" panose="02020603050405020304" pitchFamily="18" charset="0"/>
              <a:cs typeface="Calibri"/>
            </a:endParaRPr>
          </a:p>
          <a:p>
            <a:pPr marL="342900" indent="-342900">
              <a:buFont typeface="Symbol" panose="05050102010706020507" pitchFamily="18" charset="2"/>
              <a:buChar char=""/>
            </a:pPr>
            <a:r>
              <a:rPr lang="en-US" sz="1800" b="1" dirty="0">
                <a:effectLst/>
                <a:latin typeface="Calibri"/>
                <a:ea typeface="Calibri" panose="020F0502020204030204" pitchFamily="34" charset="0"/>
                <a:cs typeface="Calibri"/>
              </a:rPr>
              <a:t>Solution Integrators &amp; Device Builders: </a:t>
            </a:r>
            <a:r>
              <a:rPr lang="en-US" sz="1800" dirty="0">
                <a:effectLst/>
                <a:latin typeface="Calibri"/>
                <a:ea typeface="Calibri" panose="020F0502020204030204" pitchFamily="34" charset="0"/>
                <a:cs typeface="Calibri"/>
              </a:rPr>
              <a:t>If you manage or deploy updates for customers, Device Update for IoT Hub has the capabilities you need to rapidly deploy over-the-air updates for everything from tiny sensor devices to gateway-level devices.</a:t>
            </a:r>
            <a:r>
              <a:rPr lang="en-US" sz="1800" dirty="0">
                <a:latin typeface="Calibri"/>
                <a:ea typeface="Calibri" panose="020F0502020204030204" pitchFamily="34" charset="0"/>
                <a:cs typeface="Calibri"/>
              </a:rPr>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E6BCA0-944D-48EC-AD7E-A46F6D3C98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55639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a:cs typeface="Segoe UI"/>
              </a:rPr>
              <a:t>Let's take a look at the features that are provided with Device Update-</a:t>
            </a:r>
          </a:p>
          <a:p>
            <a:r>
              <a:rPr lang="en-US" sz="1000" dirty="0">
                <a:latin typeface="Segoe UI"/>
                <a:cs typeface="Segoe UI"/>
              </a:rPr>
              <a:t>Device Update provides APIs for importing, distributing and managing updates, so partners can choose to build their own custom portal and experiences on top of it</a:t>
            </a:r>
            <a:endParaRPr lang="en-US" sz="1000" dirty="0">
              <a:latin typeface="Segoe UI" panose="020B0502040204020203" pitchFamily="34" charset="0"/>
              <a:cs typeface="Segoe UI" panose="020B0502040204020203" pitchFamily="34" charset="0"/>
            </a:endParaRPr>
          </a:p>
          <a:p>
            <a:r>
              <a:rPr lang="en-US" sz="1000" dirty="0">
                <a:latin typeface="Segoe UI"/>
                <a:cs typeface="Segoe UI"/>
              </a:rPr>
              <a:t>We also provide a seamless UX experience in Azure Portal integrated with IoT Hub</a:t>
            </a:r>
          </a:p>
          <a:p>
            <a:r>
              <a:rPr lang="en-US" sz="1000" dirty="0">
                <a:latin typeface="Segoe UI"/>
                <a:cs typeface="Segoe UI"/>
              </a:rPr>
              <a:t>There is broad support for various IoT operating systems like Linux, Azure RTOS and platforms like Azure IoT Edge and Azure Percept. All of our agents are completely open-source so they can be extended to any configuration that you have running in your ecosystem</a:t>
            </a:r>
          </a:p>
          <a:p>
            <a:r>
              <a:rPr lang="en-US" sz="1000" dirty="0">
                <a:latin typeface="Segoe UI"/>
                <a:cs typeface="Segoe UI"/>
              </a:rPr>
              <a:t>A unique offering of Device Update is the in-built support for Microsoft Connected Cache that enables updates for cloud disconnected devices downstream of an Edge gateway as well as in nested topologies </a:t>
            </a:r>
          </a:p>
          <a:p>
            <a:r>
              <a:rPr lang="en-US" sz="1000" dirty="0">
                <a:latin typeface="Segoe UI"/>
                <a:cs typeface="Segoe UI"/>
              </a:rPr>
              <a:t>And lastly, Device update provides robust management and reporting tools that help keep customers informed and in control of the update process</a:t>
            </a:r>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7F40DD-CE06-45C2-8DA7-92D5B712FC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33679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spcBef>
                <a:spcPct val="0"/>
              </a:spcBef>
              <a:spcAft>
                <a:spcPct val="0"/>
              </a:spcAft>
              <a:defRPr/>
            </a:pPr>
            <a:r>
              <a:rPr lang="en-US" altLang="en-US" sz="1800" b="1" dirty="0">
                <a:latin typeface="Segoe UI Semibold"/>
                <a:cs typeface="Segoe UI Semibold"/>
              </a:rPr>
              <a:t>Now let's take a look at how you can get started with Device Update for IoT Hub. </a:t>
            </a:r>
            <a:endParaRPr lang="en-US" altLang="en-US" sz="1800" b="1" dirty="0">
              <a:solidFill>
                <a:srgbClr val="002E50"/>
              </a:solidFill>
              <a:latin typeface="Segoe UI Semibold"/>
              <a:cs typeface="Segoe UI Semibold"/>
            </a:endParaRPr>
          </a:p>
          <a:p>
            <a:pPr>
              <a:spcBef>
                <a:spcPct val="0"/>
              </a:spcBef>
              <a:spcAft>
                <a:spcPct val="0"/>
              </a:spcAft>
              <a:defRPr/>
            </a:pPr>
            <a:r>
              <a:rPr lang="en-US" altLang="en-US" sz="1800" b="1" dirty="0">
                <a:solidFill>
                  <a:srgbClr val="000000"/>
                </a:solidFill>
                <a:latin typeface="Segoe UI Semibold"/>
                <a:cs typeface="Segoe UI Semibold"/>
              </a:rPr>
              <a:t>You can provision the Device Update resource from the Azure Marketplace on a new or existing Azure subscription. Provide access to different users or groups within your organization to the platform. You can connect a Device Update instance to a new or existing IoT Hub. Next, you have to install and provision the device update agent on your IoT device. You can use IoT Hub tags to group various devices which enable you to gradually deploy your update. For example you may group devices based on whether they are test or production, based on the region where they are deployed etc. Next import an update into your Device Update instance and then schedule a deployment to the group of devices you created above. You can then monitor the status to discover which of your devices are compliant with the latest update and which devices are not.   </a:t>
            </a:r>
          </a:p>
          <a:p>
            <a:pPr marL="457200" indent="-457200">
              <a:spcBef>
                <a:spcPct val="0"/>
              </a:spcBef>
              <a:spcAft>
                <a:spcPct val="0"/>
              </a:spcAft>
              <a:buAutoNum type="arabicPeriod"/>
              <a:defRPr/>
            </a:pPr>
            <a:endParaRPr lang="en-US" altLang="en-US" sz="1800" b="1" dirty="0">
              <a:solidFill>
                <a:srgbClr val="50E6FF"/>
              </a:solidFill>
              <a:latin typeface="Segoe UI Semibold"/>
              <a:cs typeface="Segoe UI Semibold"/>
            </a:endParaRPr>
          </a:p>
          <a:p>
            <a:pPr marL="457200" indent="-457200">
              <a:spcBef>
                <a:spcPct val="0"/>
              </a:spcBef>
              <a:spcAft>
                <a:spcPct val="0"/>
              </a:spcAft>
              <a:buAutoNum type="arabicPeriod"/>
              <a:defRPr/>
            </a:pPr>
            <a:endParaRPr lang="en-US" altLang="en-US" sz="1800" b="1" dirty="0">
              <a:solidFill>
                <a:srgbClr val="50E6FF"/>
              </a:solidFill>
              <a:latin typeface="Segoe UI Semibold"/>
            </a:endParaRPr>
          </a:p>
          <a:p>
            <a:pPr marL="457200" indent="-457200">
              <a:spcBef>
                <a:spcPct val="0"/>
              </a:spcBef>
              <a:spcAft>
                <a:spcPct val="0"/>
              </a:spcAft>
              <a:buAutoNum type="arabicPeriod"/>
              <a:defRPr/>
            </a:pPr>
            <a:endParaRPr lang="en-US" altLang="en-US" sz="1800" b="1" dirty="0">
              <a:solidFill>
                <a:srgbClr val="50E6FF"/>
              </a:solidFill>
              <a:latin typeface="Segoe UI Semibold"/>
            </a:endParaRPr>
          </a:p>
          <a:p>
            <a:pPr marL="457200" marR="0" lvl="0" indent="-457200" defTabSz="914400">
              <a:lnSpc>
                <a:spcPct val="100000"/>
              </a:lnSpc>
              <a:spcBef>
                <a:spcPct val="0"/>
              </a:spcBef>
              <a:spcAft>
                <a:spcPct val="0"/>
              </a:spcAft>
              <a:buClrTx/>
              <a:buSzTx/>
              <a:buAutoNum type="arabicPeriod"/>
              <a:tabLst/>
              <a:defRPr/>
            </a:pPr>
            <a:r>
              <a:rPr kumimoji="0" lang="en-US" altLang="en-US" sz="1800" b="1" i="0" u="none" strike="noStrike" kern="1200" cap="none" spc="0" normalizeH="0" baseline="0" noProof="0" dirty="0">
                <a:ln>
                  <a:noFill/>
                </a:ln>
                <a:solidFill>
                  <a:srgbClr val="50E6FF"/>
                </a:solidFill>
                <a:effectLst/>
                <a:uLnTx/>
                <a:uFillTx/>
                <a:latin typeface="Segoe UI Semibold"/>
                <a:ea typeface="+mn-ea"/>
                <a:cs typeface="+mn-cs"/>
              </a:rPr>
              <a:t>Subscribe</a:t>
            </a:r>
            <a:r>
              <a:rPr lang="en-US" altLang="en-US" sz="1800" b="1" dirty="0">
                <a:solidFill>
                  <a:srgbClr val="FFFFFF"/>
                </a:solidFill>
                <a:latin typeface="Segoe UI Semibold"/>
              </a:rPr>
              <a:t> – </a:t>
            </a:r>
            <a:r>
              <a:rPr lang="en-US" altLang="en-US" sz="1800" dirty="0">
                <a:solidFill>
                  <a:srgbClr val="FFFFFF"/>
                </a:solidFill>
                <a:latin typeface="Segoe UI"/>
              </a:rPr>
              <a:t>S</a:t>
            </a:r>
            <a:r>
              <a:rPr kumimoji="0" lang="en-US" altLang="en-US" sz="1800" b="0" i="0" u="none" strike="noStrike" kern="1200" cap="none" spc="0" normalizeH="0" baseline="0" noProof="0" dirty="0">
                <a:ln>
                  <a:noFill/>
                </a:ln>
                <a:solidFill>
                  <a:srgbClr val="FFFFFF"/>
                </a:solidFill>
                <a:effectLst/>
                <a:uLnTx/>
                <a:uFillTx/>
                <a:latin typeface="Segoe UI"/>
                <a:ea typeface="+mn-ea"/>
                <a:cs typeface="+mn-cs"/>
              </a:rPr>
              <a:t>elect a subscription and provision the platform. A free introductory trial is available</a:t>
            </a:r>
            <a:endParaRPr lang="en-US" altLang="en-US" sz="1800" b="0" i="0" u="none" strike="noStrike" kern="1200" cap="none" spc="0" normalizeH="0" baseline="0" noProof="0" dirty="0">
              <a:ln>
                <a:noFill/>
              </a:ln>
              <a:solidFill>
                <a:srgbClr val="FFFFFF"/>
              </a:solidFill>
              <a:effectLst/>
              <a:uLnTx/>
              <a:uFillTx/>
              <a:latin typeface="Segoe UI"/>
              <a:cs typeface="Segoe UI"/>
            </a:endParaRP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mj-lt"/>
              </a:rPr>
              <a:t>Manage access </a:t>
            </a:r>
            <a:r>
              <a:rPr lang="en-US" altLang="en-US" sz="1800" dirty="0">
                <a:solidFill>
                  <a:srgbClr val="FFFFFF"/>
                </a:solidFill>
                <a:latin typeface="Segoe UI"/>
              </a:rPr>
              <a:t>– Select the people you want to have the ability to provision or access the platform</a:t>
            </a:r>
            <a:endParaRPr lang="en-US" altLang="en-US" sz="1800" dirty="0">
              <a:solidFill>
                <a:srgbClr val="FFFFFF"/>
              </a:solidFill>
              <a:latin typeface="Segoe UI"/>
              <a:cs typeface="Segoe UI"/>
            </a:endParaRP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mj-lt"/>
              </a:rPr>
              <a:t>Easily connect </a:t>
            </a:r>
            <a:r>
              <a:rPr lang="en-US" altLang="en-US" sz="1800" dirty="0">
                <a:solidFill>
                  <a:srgbClr val="FFFFFF"/>
                </a:solidFill>
                <a:latin typeface="Segoe UI"/>
              </a:rPr>
              <a:t>– Select the IoT Hub instance you want to manage</a:t>
            </a:r>
            <a:endParaRPr lang="en-US" altLang="en-US" sz="1800" dirty="0">
              <a:solidFill>
                <a:srgbClr val="FFFFFF"/>
              </a:solidFill>
              <a:latin typeface="Segoe UI"/>
              <a:cs typeface="Segoe UI"/>
            </a:endParaRP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mj-lt"/>
              </a:rPr>
              <a:t>Provision devices with Device Update agent </a:t>
            </a:r>
            <a:r>
              <a:rPr lang="en-US" altLang="en-US" sz="1800" dirty="0">
                <a:solidFill>
                  <a:srgbClr val="FFFFFF"/>
                </a:solidFill>
                <a:latin typeface="Segoe UI"/>
              </a:rPr>
              <a:t>– Quickly integrate Device Update for IoT Hub capabilities into your client software</a:t>
            </a:r>
            <a:endParaRPr lang="en-US" altLang="en-US" sz="1800" dirty="0">
              <a:solidFill>
                <a:srgbClr val="FFFFFF"/>
              </a:solidFill>
              <a:latin typeface="Segoe UI"/>
              <a:cs typeface="Segoe UI"/>
            </a:endParaRPr>
          </a:p>
          <a:p>
            <a:pPr marL="457200" indent="-457200" fontAlgn="base">
              <a:spcBef>
                <a:spcPct val="0"/>
              </a:spcBef>
              <a:spcAft>
                <a:spcPct val="0"/>
              </a:spcAft>
              <a:buFont typeface="+mj-lt"/>
              <a:buAutoNum type="arabicPeriod"/>
              <a:defRPr/>
            </a:pPr>
            <a:r>
              <a:rPr lang="en-US" altLang="en-US" sz="1800" b="1" dirty="0">
                <a:solidFill>
                  <a:schemeClr val="accent5"/>
                </a:solidFill>
                <a:latin typeface="Segoe UI Semibold"/>
                <a:cs typeface="Segoe UI Semibold"/>
              </a:rPr>
              <a:t>Group devices </a:t>
            </a:r>
            <a:r>
              <a:rPr lang="en-US" altLang="en-US" sz="1800" dirty="0">
                <a:solidFill>
                  <a:srgbClr val="FFFFFF"/>
                </a:solidFill>
                <a:latin typeface="Segoe UI"/>
              </a:rPr>
              <a:t>– Group devices by class and schedule when updates occur. </a:t>
            </a:r>
            <a:endParaRPr lang="en-US" altLang="en-US" sz="1800" dirty="0">
              <a:solidFill>
                <a:srgbClr val="FFFFFF"/>
              </a:solidFill>
              <a:latin typeface="Segoe UI"/>
              <a:cs typeface="Segoe UI"/>
            </a:endParaRP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Segoe UI Semibold"/>
                <a:cs typeface="Segoe UI Semibold"/>
              </a:rPr>
              <a:t>Import updates </a:t>
            </a:r>
            <a:r>
              <a:rPr lang="en-US" altLang="en-US" sz="1800" b="1" dirty="0">
                <a:solidFill>
                  <a:schemeClr val="bg2"/>
                </a:solidFill>
                <a:latin typeface="+mn-lt"/>
                <a:cs typeface="Calibri"/>
              </a:rPr>
              <a:t>– </a:t>
            </a:r>
            <a:r>
              <a:rPr lang="en-US" altLang="en-US" sz="1800" dirty="0">
                <a:solidFill>
                  <a:schemeClr val="bg2"/>
                </a:solidFill>
                <a:latin typeface="+mn-lt"/>
                <a:cs typeface="Calibri"/>
              </a:rPr>
              <a:t>Import the security or new feature updates you require.</a:t>
            </a: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mj-lt"/>
              </a:rPr>
              <a:t>Deploy and monitor updates </a:t>
            </a:r>
            <a:r>
              <a:rPr lang="en-US" altLang="en-US" sz="1800" dirty="0">
                <a:solidFill>
                  <a:srgbClr val="FFFFFF"/>
                </a:solidFill>
                <a:latin typeface="Segoe UI"/>
              </a:rPr>
              <a:t>– Push security or feature updates to devices and receive real-time status notifications</a:t>
            </a:r>
            <a:endParaRPr lang="en-US" altLang="en-US" sz="1800" dirty="0">
              <a:solidFill>
                <a:srgbClr val="FFFFFF"/>
              </a:solidFill>
              <a:latin typeface="Segoe UI"/>
              <a:cs typeface="Segoe UI"/>
            </a:endParaRPr>
          </a:p>
          <a:p>
            <a:pPr marL="457200" marR="0" lvl="0" indent="-457200" defTabSz="914400" rtl="0" eaLnBrk="1" fontAlgn="base" latinLnBrk="0" hangingPunct="1">
              <a:lnSpc>
                <a:spcPct val="100000"/>
              </a:lnSpc>
              <a:spcBef>
                <a:spcPct val="0"/>
              </a:spcBef>
              <a:spcAft>
                <a:spcPct val="0"/>
              </a:spcAft>
              <a:buClrTx/>
              <a:buSzTx/>
              <a:buFont typeface="+mj-lt"/>
              <a:buAutoNum type="arabicPeriod"/>
              <a:tabLst/>
              <a:defRPr/>
            </a:pPr>
            <a:r>
              <a:rPr lang="en-US" altLang="en-US" sz="1800" b="1" dirty="0">
                <a:solidFill>
                  <a:schemeClr val="accent5"/>
                </a:solidFill>
                <a:latin typeface="+mj-lt"/>
              </a:rPr>
              <a:t>View reporting </a:t>
            </a:r>
            <a:r>
              <a:rPr lang="en-US" altLang="en-US" sz="1800" dirty="0">
                <a:solidFill>
                  <a:srgbClr val="FFFFFF"/>
                </a:solidFill>
                <a:latin typeface="Segoe UI"/>
              </a:rPr>
              <a:t>– Robust reporting capabilities make it easy to keep track of updates and provide up-to-date documentation</a:t>
            </a:r>
            <a:endParaRPr lang="en-US" altLang="en-US" sz="1800" dirty="0">
              <a:solidFill>
                <a:srgbClr val="FFFFFF"/>
              </a:solidFill>
              <a:latin typeface="Segoe UI"/>
              <a:cs typeface="Segoe UI"/>
            </a:endParaRPr>
          </a:p>
          <a:p>
            <a:pPr marL="0" marR="0">
              <a:lnSpc>
                <a:spcPct val="110000"/>
              </a:lnSpc>
              <a:spcBef>
                <a:spcPts val="0"/>
              </a:spcBef>
              <a:spcAft>
                <a:spcPts val="600"/>
              </a:spcAft>
            </a:pPr>
            <a:endParaRPr lang="en-US" sz="18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nSpc>
                <a:spcPct val="110000"/>
              </a:lnSpc>
              <a:spcAft>
                <a:spcPts val="600"/>
              </a:spcAft>
            </a:pPr>
            <a:r>
              <a:rPr lang="en-US" sz="1800" dirty="0">
                <a:solidFill>
                  <a:srgbClr val="000000"/>
                </a:solidFill>
                <a:effectLst/>
                <a:latin typeface="Segoe UI"/>
                <a:ea typeface="Segoe UI" panose="020B0502040204020203" pitchFamily="34" charset="0"/>
                <a:cs typeface="Segoe UI"/>
              </a:rPr>
              <a:t>New users can get started by going to </a:t>
            </a:r>
            <a:r>
              <a:rPr lang="en-US" sz="1800" u="sng" dirty="0">
                <a:solidFill>
                  <a:srgbClr val="0078D4"/>
                </a:solidFill>
                <a:effectLst/>
                <a:latin typeface="Segoe UI"/>
                <a:ea typeface="Segoe UI" panose="020B0502040204020203" pitchFamily="34" charset="0"/>
                <a:cs typeface="Segoe UI"/>
                <a:hlinkClick r:id="rId3"/>
              </a:rPr>
              <a:t>Azure.com</a:t>
            </a:r>
            <a:r>
              <a:rPr lang="en-US" sz="1800" dirty="0">
                <a:solidFill>
                  <a:srgbClr val="000000"/>
                </a:solidFill>
                <a:effectLst/>
                <a:latin typeface="Segoe UI"/>
                <a:ea typeface="Segoe UI" panose="020B0502040204020203" pitchFamily="34" charset="0"/>
                <a:cs typeface="Segoe UI"/>
              </a:rPr>
              <a:t>, which has detailed information about the service. New users who want to try out Device Update for Azure IoT Hub can use a free tier without being charged up to a defined threshold. Solution operators are then able to select a resource group and region and then specify the name of the Device Update for Azure IoT Hub resource instance and the Azure AD directory to be associated with this instance. The user can subsequently see the status of the update being provisioned and then manage the update once provisioning is complete. IoT solution operators and team leaders can select who is given Device Update for Azure IoT Hub provisioning access within their organizations, as well as specifying the users who can manage update instances, try out the functionality, and who can publish or deploy updates.</a:t>
            </a:r>
            <a:r>
              <a:rPr lang="en-US" sz="1800" dirty="0">
                <a:solidFill>
                  <a:srgbClr val="000000"/>
                </a:solidFill>
                <a:latin typeface="Segoe UI"/>
                <a:ea typeface="Segoe UI" panose="020B0502040204020203" pitchFamily="34" charset="0"/>
                <a:cs typeface="Segoe UI"/>
              </a:rPr>
              <a:t> </a:t>
            </a:r>
            <a:endParaRPr lang="en-US" sz="1800" dirty="0">
              <a:effectLst/>
              <a:latin typeface="Segoe UI" panose="020B0502040204020203" pitchFamily="34" charset="0"/>
              <a:ea typeface="MS Mincho" panose="02020609040205080304" pitchFamily="49" charset="-128"/>
              <a:cs typeface="Times New Roman" panose="02020603050405020304" pitchFamily="18" charset="0"/>
            </a:endParaRPr>
          </a:p>
          <a:p>
            <a:endParaRPr lang="en-US" sz="1000" b="0" i="0" dirty="0">
              <a:solidFill>
                <a:srgbClr val="292C33"/>
              </a:solidFill>
              <a:effectLst/>
              <a:latin typeface="Segoe UI" panose="020B0502040204020203" pitchFamily="34" charset="0"/>
              <a:cs typeface="Segoe UI" panose="020B0502040204020203" pitchFamily="34" charset="0"/>
            </a:endParaRPr>
          </a:p>
          <a:p>
            <a:pPr marL="0" marR="0">
              <a:lnSpc>
                <a:spcPct val="110000"/>
              </a:lnSpc>
              <a:spcBef>
                <a:spcPts val="0"/>
              </a:spcBef>
              <a:spcAft>
                <a:spcPts val="600"/>
              </a:spcAft>
            </a:pPr>
            <a:r>
              <a:rPr lang="en-US" sz="1800" b="1" dirty="0">
                <a:solidFill>
                  <a:srgbClr val="000000"/>
                </a:solidFill>
                <a:effectLst/>
                <a:latin typeface="Segoe UI"/>
                <a:ea typeface="Segoe UI" panose="020B0502040204020203" pitchFamily="34" charset="0"/>
                <a:cs typeface="Segoe UI"/>
              </a:rPr>
              <a:t>Included with Device Update for Azure IoT Hub are features</a:t>
            </a:r>
            <a:r>
              <a:rPr lang="en-US" sz="1800" b="1" dirty="0">
                <a:effectLst/>
                <a:latin typeface="Segoe UI"/>
                <a:ea typeface="MS Mincho"/>
                <a:cs typeface="Segoe UI"/>
              </a:rPr>
              <a:t> </a:t>
            </a:r>
            <a:r>
              <a:rPr lang="en-US" sz="1800" b="1" dirty="0">
                <a:solidFill>
                  <a:srgbClr val="000000"/>
                </a:solidFill>
                <a:effectLst/>
                <a:latin typeface="Segoe UI"/>
                <a:ea typeface="Segoe UI" panose="020B0502040204020203" pitchFamily="34" charset="0"/>
                <a:cs typeface="Segoe UI"/>
              </a:rPr>
              <a:t>that allow maximum flexibility for updating devices:</a:t>
            </a:r>
            <a:endParaRPr lang="en-US" sz="1800" b="1" dirty="0">
              <a:effectLst/>
              <a:latin typeface="Segoe UI"/>
              <a:ea typeface="MS Mincho" panose="02020609040205080304" pitchFamily="49" charset="-128"/>
              <a:cs typeface="Segoe UI"/>
            </a:endParaRPr>
          </a:p>
          <a:p>
            <a:pPr marL="342900" marR="0" lvl="0" indent="-342900">
              <a:lnSpc>
                <a:spcPct val="110000"/>
              </a:lnSpc>
              <a:spcBef>
                <a:spcPts val="0"/>
              </a:spcBef>
              <a:spcAft>
                <a:spcPts val="0"/>
              </a:spcAft>
              <a:buFont typeface="Segoe UI" panose="020B0502040204020203" pitchFamily="34" charset="0"/>
              <a:buChar char="•"/>
            </a:pPr>
            <a:r>
              <a:rPr lang="en-US" sz="1800" dirty="0">
                <a:solidFill>
                  <a:srgbClr val="000000"/>
                </a:solidFill>
                <a:effectLst/>
                <a:latin typeface="Segoe UI"/>
                <a:ea typeface="Segoe UI" panose="020B0502040204020203" pitchFamily="34" charset="0"/>
                <a:cs typeface="Segoe UI"/>
              </a:rPr>
              <a:t>Use information in Azure IoT Hub to enable a “cloud scan” or cloud orchestrator, where applicability and workflow is moved to the cloud rather than requiring on-device scans.</a:t>
            </a:r>
            <a:endParaRPr lang="en-US" sz="1800" dirty="0">
              <a:effectLst/>
              <a:latin typeface="Segoe UI"/>
              <a:ea typeface="MS Mincho" panose="02020609040205080304" pitchFamily="49" charset="-128"/>
              <a:cs typeface="Segoe UI"/>
            </a:endParaRPr>
          </a:p>
          <a:p>
            <a:pPr marL="342900" marR="0" lvl="0" indent="-342900">
              <a:lnSpc>
                <a:spcPct val="110000"/>
              </a:lnSpc>
              <a:spcBef>
                <a:spcPts val="0"/>
              </a:spcBef>
              <a:spcAft>
                <a:spcPts val="0"/>
              </a:spcAft>
              <a:buFont typeface="Segoe UI" panose="020B0502040204020203" pitchFamily="34" charset="0"/>
              <a:buChar char="•"/>
            </a:pPr>
            <a:r>
              <a:rPr lang="en-US" sz="1800" dirty="0">
                <a:solidFill>
                  <a:srgbClr val="333333"/>
                </a:solidFill>
                <a:effectLst/>
                <a:latin typeface="Segoe UI"/>
                <a:ea typeface="Segoe UI" panose="020B0502040204020203" pitchFamily="34" charset="0"/>
                <a:cs typeface="Segoe UI"/>
              </a:rPr>
              <a:t>Automatically match updates imported into the system with compatible devices, making it easy to deploy the right updates to the right devices.</a:t>
            </a:r>
            <a:endParaRPr lang="en-US" sz="1800" dirty="0">
              <a:effectLst/>
              <a:latin typeface="Segoe UI"/>
              <a:ea typeface="MS Mincho" panose="02020609040205080304" pitchFamily="49" charset="-128"/>
              <a:cs typeface="Segoe UI"/>
            </a:endParaRPr>
          </a:p>
          <a:p>
            <a:pPr marL="342900" marR="0" lvl="0" indent="-342900">
              <a:lnSpc>
                <a:spcPct val="110000"/>
              </a:lnSpc>
              <a:spcBef>
                <a:spcPts val="0"/>
              </a:spcBef>
              <a:spcAft>
                <a:spcPts val="0"/>
              </a:spcAft>
              <a:buFont typeface="Segoe UI" panose="020B0502040204020203" pitchFamily="34" charset="0"/>
              <a:buChar char="•"/>
            </a:pPr>
            <a:r>
              <a:rPr lang="en-US" sz="1800" dirty="0">
                <a:solidFill>
                  <a:srgbClr val="000000"/>
                </a:solidFill>
                <a:effectLst/>
                <a:latin typeface="Segoe UI"/>
                <a:ea typeface="Segoe UI" panose="020B0502040204020203" pitchFamily="34" charset="0"/>
                <a:cs typeface="Segoe UI"/>
              </a:rPr>
              <a:t>Easily subscribe to Device Update for Azure IoT Hub services through the Azure.com portal and provision update tenants.</a:t>
            </a:r>
            <a:endParaRPr lang="en-US" sz="1800" dirty="0">
              <a:effectLst/>
              <a:latin typeface="Segoe UI"/>
              <a:ea typeface="MS Mincho" panose="02020609040205080304" pitchFamily="49" charset="-128"/>
              <a:cs typeface="Segoe UI"/>
            </a:endParaRPr>
          </a:p>
          <a:p>
            <a:pPr marL="342900" marR="0" lvl="0" indent="-342900">
              <a:lnSpc>
                <a:spcPct val="110000"/>
              </a:lnSpc>
              <a:spcBef>
                <a:spcPts val="0"/>
              </a:spcBef>
              <a:spcAft>
                <a:spcPts val="600"/>
              </a:spcAft>
              <a:buFont typeface="Segoe UI" panose="020B0502040204020203" pitchFamily="34" charset="0"/>
              <a:buChar char="•"/>
            </a:pPr>
            <a:r>
              <a:rPr lang="en-US" sz="1800" dirty="0">
                <a:solidFill>
                  <a:srgbClr val="000000"/>
                </a:solidFill>
                <a:effectLst/>
                <a:latin typeface="Segoe UI"/>
                <a:ea typeface="Segoe UI" panose="020B0502040204020203" pitchFamily="34" charset="0"/>
                <a:cs typeface="Segoe UI"/>
              </a:rPr>
              <a:t>Built-in capability to update cloud disconnected devices using an IoT Edge module called Microsoft Connected Cache. This allows disconnected devices to seamlessly download cloud-hosted update payload.</a:t>
            </a:r>
            <a:endParaRPr lang="en-US" sz="1800" dirty="0">
              <a:effectLst/>
              <a:latin typeface="Segoe UI"/>
              <a:ea typeface="MS Mincho" panose="02020609040205080304" pitchFamily="49" charset="-128"/>
              <a:cs typeface="Segoe UI"/>
            </a:endParaRPr>
          </a:p>
          <a:p>
            <a:endParaRPr lang="en-US" sz="1000" b="0" i="0" dirty="0">
              <a:solidFill>
                <a:srgbClr val="292C33"/>
              </a:solidFill>
              <a:effectLst/>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E6BCA0-944D-48EC-AD7E-A46F6D3C98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784910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27A1F0-49ED-468D-8AED-D4716C3B901C}" type="slidenum">
              <a:rPr lang="en-US" smtClean="0"/>
              <a:t>75</a:t>
            </a:fld>
            <a:endParaRPr lang="en-US"/>
          </a:p>
        </p:txBody>
      </p:sp>
    </p:spTree>
    <p:extLst>
      <p:ext uri="{BB962C8B-B14F-4D97-AF65-F5344CB8AC3E}">
        <p14:creationId xmlns:p14="http://schemas.microsoft.com/office/powerpoint/2010/main" val="17195449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transcript</a:t>
            </a:r>
          </a:p>
          <a:p>
            <a:r>
              <a:rPr lang="en-US" b="0" dirty="0"/>
              <a:t>When you start thinking about how to do it, two questions emerges.</a:t>
            </a:r>
          </a:p>
          <a:p>
            <a:r>
              <a:rPr lang="en-US" b="0" dirty="0"/>
              <a:t>In most IoT architectures, IoT Data goes through a central point – an IoT Gateway like Azure IoT Hub – that can dispatch incoming state and telemetry to downstream storages. The first question you may ask yourself is where can we store our IoT Data? </a:t>
            </a:r>
          </a:p>
          <a:p>
            <a:r>
              <a:rPr lang="en-US" b="0" dirty="0"/>
              <a:t>Then, your IoT Data will probably need to be refined and structured in a specific way, so you can run your analytics on it. Therefore, you’ll need a place to process this IoT Data.</a:t>
            </a:r>
          </a:p>
        </p:txBody>
      </p:sp>
    </p:spTree>
    <p:extLst>
      <p:ext uri="{BB962C8B-B14F-4D97-AF65-F5344CB8AC3E}">
        <p14:creationId xmlns:p14="http://schemas.microsoft.com/office/powerpoint/2010/main" val="13286818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08691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28.emf"/></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4.xml"/><Relationship Id="rId4" Type="http://schemas.openxmlformats.org/officeDocument/2006/relationships/image" Target="../media/image28.e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4.xml"/><Relationship Id="rId4" Type="http://schemas.openxmlformats.org/officeDocument/2006/relationships/image" Target="../media/image28.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6.xml"/><Relationship Id="rId4" Type="http://schemas.openxmlformats.org/officeDocument/2006/relationships/image" Target="../media/image28.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7.xml"/><Relationship Id="rId4" Type="http://schemas.openxmlformats.org/officeDocument/2006/relationships/image" Target="../media/image28.emf"/></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7.xml"/><Relationship Id="rId4" Type="http://schemas.openxmlformats.org/officeDocument/2006/relationships/image" Target="../media/image28.emf"/></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7.xml"/><Relationship Id="rId4" Type="http://schemas.openxmlformats.org/officeDocument/2006/relationships/image" Target="../media/image28.emf"/></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56.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5" Type="http://schemas.openxmlformats.org/officeDocument/2006/relationships/image" Target="../media/image56.png"/><Relationship Id="rId4" Type="http://schemas.openxmlformats.org/officeDocument/2006/relationships/image" Target="../media/image55.png"/></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8.emf"/><Relationship Id="rId1" Type="http://schemas.openxmlformats.org/officeDocument/2006/relationships/slideMaster" Target="../slideMasters/slideMaster11.xml"/><Relationship Id="rId5" Type="http://schemas.openxmlformats.org/officeDocument/2006/relationships/image" Target="../media/image64.png"/><Relationship Id="rId4" Type="http://schemas.openxmlformats.org/officeDocument/2006/relationships/image" Target="../media/image63.sv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1.xml"/><Relationship Id="rId4" Type="http://schemas.openxmlformats.org/officeDocument/2006/relationships/image" Target="../media/image48.emf"/></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1.xml"/><Relationship Id="rId4" Type="http://schemas.openxmlformats.org/officeDocument/2006/relationships/image" Target="../media/image67.pn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1.xml"/><Relationship Id="rId4" Type="http://schemas.openxmlformats.org/officeDocument/2006/relationships/image" Target="../media/image70.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12.xml"/><Relationship Id="rId4" Type="http://schemas.openxmlformats.org/officeDocument/2006/relationships/image" Target="../media/image14.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74.jpeg"/><Relationship Id="rId1" Type="http://schemas.openxmlformats.org/officeDocument/2006/relationships/slideMaster" Target="../slideMasters/slideMaster12.xml"/><Relationship Id="rId4" Type="http://schemas.openxmlformats.org/officeDocument/2006/relationships/image" Target="../media/image25.jpeg"/></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13.xml"/><Relationship Id="rId4" Type="http://schemas.openxmlformats.org/officeDocument/2006/relationships/image" Target="../media/image14.jpe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74.jpeg"/><Relationship Id="rId1" Type="http://schemas.openxmlformats.org/officeDocument/2006/relationships/slideMaster" Target="../slideMasters/slideMaster13.xml"/><Relationship Id="rId4" Type="http://schemas.openxmlformats.org/officeDocument/2006/relationships/image" Target="../media/image25.jpeg"/></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13.xml"/><Relationship Id="rId4" Type="http://schemas.openxmlformats.org/officeDocument/2006/relationships/image" Target="../media/image56.png"/></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Master" Target="../slideMasters/slideMaster14.xml"/><Relationship Id="rId1" Type="http://schemas.openxmlformats.org/officeDocument/2006/relationships/tags" Target="../tags/tag1.xml"/><Relationship Id="rId5" Type="http://schemas.openxmlformats.org/officeDocument/2006/relationships/image" Target="../media/image78.emf"/><Relationship Id="rId4" Type="http://schemas.openxmlformats.org/officeDocument/2006/relationships/oleObject" Target="../embeddings/oleObject1.bin"/></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28.emf"/><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6.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6.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Master" Target="../slideMasters/slideMaster16.xml"/><Relationship Id="rId1" Type="http://schemas.openxmlformats.org/officeDocument/2006/relationships/tags" Target="../tags/tag2.xml"/><Relationship Id="rId5" Type="http://schemas.openxmlformats.org/officeDocument/2006/relationships/image" Target="../media/image78.emf"/><Relationship Id="rId4" Type="http://schemas.openxmlformats.org/officeDocument/2006/relationships/oleObject" Target="../embeddings/oleObject1.bin"/></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6.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28.emf"/><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7.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7.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7.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7.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7.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7.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48.emf"/><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8.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19.xml"/><Relationship Id="rId4" Type="http://schemas.openxmlformats.org/officeDocument/2006/relationships/image" Target="../media/image91.jpe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15.png"/><Relationship Id="rId1" Type="http://schemas.openxmlformats.org/officeDocument/2006/relationships/slideMaster" Target="../slideMasters/slideMaster19.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9.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9.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slideMaster" Target="../slideMasters/slideMaster19.xml"/><Relationship Id="rId4" Type="http://schemas.openxmlformats.org/officeDocument/2006/relationships/image" Target="../media/image101.jpeg"/></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9.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9.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104.png"/><Relationship Id="rId1" Type="http://schemas.openxmlformats.org/officeDocument/2006/relationships/slideMaster" Target="../slideMasters/slideMaster19.xml"/><Relationship Id="rId4" Type="http://schemas.openxmlformats.org/officeDocument/2006/relationships/image" Target="../media/image105.png"/></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Master" Target="../slideMasters/slideMaster20.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Master" Target="../slideMasters/slideMaster20.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9.jpeg"/><Relationship Id="rId1" Type="http://schemas.openxmlformats.org/officeDocument/2006/relationships/slideMaster" Target="../slideMasters/slideMaster20.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image" Target="../media/image110.jpg"/><Relationship Id="rId1" Type="http://schemas.openxmlformats.org/officeDocument/2006/relationships/slideMaster" Target="../slideMasters/slideMaster20.xml"/><Relationship Id="rId4" Type="http://schemas.openxmlformats.org/officeDocument/2006/relationships/image" Target="../media/image112.jpg"/></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113.jpg"/><Relationship Id="rId1"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image" Target="../media/image114.jpg"/><Relationship Id="rId1" Type="http://schemas.openxmlformats.org/officeDocument/2006/relationships/slideMaster" Target="../slideMasters/slideMaster20.xml"/><Relationship Id="rId4" Type="http://schemas.openxmlformats.org/officeDocument/2006/relationships/image" Target="../media/image116.jpg"/></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Master" Target="../slideMasters/slideMaster20.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17.emf"/><Relationship Id="rId1" Type="http://schemas.openxmlformats.org/officeDocument/2006/relationships/slideMaster" Target="../slideMasters/slideMaster20.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Master" Target="../slideMasters/slideMaster20.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Master" Target="../slideMasters/slideMaster20.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9.jpeg"/><Relationship Id="rId1" Type="http://schemas.openxmlformats.org/officeDocument/2006/relationships/slideMaster" Target="../slideMasters/slideMaster20.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Master" Target="../slideMasters/slideMaster2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image" Target="../media/image110.jpg"/><Relationship Id="rId1" Type="http://schemas.openxmlformats.org/officeDocument/2006/relationships/slideMaster" Target="../slideMasters/slideMaster20.xml"/><Relationship Id="rId4" Type="http://schemas.openxmlformats.org/officeDocument/2006/relationships/image" Target="../media/image112.jpg"/></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13.jpg"/><Relationship Id="rId1" Type="http://schemas.openxmlformats.org/officeDocument/2006/relationships/slideMaster" Target="../slideMasters/slideMaster20.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image" Target="../media/image114.jpg"/><Relationship Id="rId1" Type="http://schemas.openxmlformats.org/officeDocument/2006/relationships/slideMaster" Target="../slideMasters/slideMaster20.xml"/><Relationship Id="rId4" Type="http://schemas.openxmlformats.org/officeDocument/2006/relationships/image" Target="../media/image116.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Master" Target="../slideMasters/slideMaster20.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28.emf"/><Relationship Id="rId1" Type="http://schemas.openxmlformats.org/officeDocument/2006/relationships/slideMaster" Target="../slideMasters/slideMaster2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1.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1.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1.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1.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1.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1.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1.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2.xml"/><Relationship Id="rId6" Type="http://schemas.openxmlformats.org/officeDocument/2006/relationships/image" Target="../media/image28.emf"/><Relationship Id="rId5" Type="http://schemas.openxmlformats.org/officeDocument/2006/relationships/image" Target="../media/image56.png"/><Relationship Id="rId4" Type="http://schemas.openxmlformats.org/officeDocument/2006/relationships/image" Target="../media/image55.pn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2.xml"/><Relationship Id="rId6" Type="http://schemas.openxmlformats.org/officeDocument/2006/relationships/image" Target="../media/image28.emf"/><Relationship Id="rId5" Type="http://schemas.openxmlformats.org/officeDocument/2006/relationships/image" Target="../media/image56.png"/><Relationship Id="rId4" Type="http://schemas.openxmlformats.org/officeDocument/2006/relationships/image" Target="../media/image55.pn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2.xml"/><Relationship Id="rId5" Type="http://schemas.openxmlformats.org/officeDocument/2006/relationships/image" Target="../media/image56.png"/><Relationship Id="rId4" Type="http://schemas.openxmlformats.org/officeDocument/2006/relationships/image" Target="../media/image55.pn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Master" Target="../slideMasters/slideMaster22.xml"/><Relationship Id="rId5" Type="http://schemas.openxmlformats.org/officeDocument/2006/relationships/image" Target="../media/image56.png"/><Relationship Id="rId4" Type="http://schemas.openxmlformats.org/officeDocument/2006/relationships/image" Target="../media/image55.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18.png"/><Relationship Id="rId1" Type="http://schemas.openxmlformats.org/officeDocument/2006/relationships/slideMaster" Target="../slideMasters/slideMaster22.xml"/><Relationship Id="rId5" Type="http://schemas.openxmlformats.org/officeDocument/2006/relationships/image" Target="../media/image119.png"/><Relationship Id="rId4" Type="http://schemas.openxmlformats.org/officeDocument/2006/relationships/image" Target="../media/image56.png"/></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22.xml"/><Relationship Id="rId4" Type="http://schemas.openxmlformats.org/officeDocument/2006/relationships/image" Target="../media/image56.png"/></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22.xml"/><Relationship Id="rId4" Type="http://schemas.openxmlformats.org/officeDocument/2006/relationships/image" Target="../media/image56.png"/></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Master" Target="../slideMasters/slideMaster22.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image" Target="../media/image121.png"/><Relationship Id="rId1" Type="http://schemas.openxmlformats.org/officeDocument/2006/relationships/slideMaster" Target="../slideMasters/slideMaster2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58894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37982669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7001155"/>
      </p:ext>
    </p:extLst>
  </p:cSld>
  <p:clrMapOvr>
    <a:masterClrMapping/>
  </p:clrMapOvr>
  <p:transition advClick="0" advTm="20000">
    <p:push dir="u"/>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0561555"/>
      </p:ext>
    </p:extLst>
  </p:cSld>
  <p:clrMapOvr>
    <a:masterClrMapping/>
  </p:clrMapOvr>
  <p:transition advClick="0" advTm="20000">
    <p:push dir="u"/>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794079"/>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45379220"/>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56429"/>
            <a:ext cx="9624683" cy="677108"/>
          </a:xfrm>
        </p:spPr>
        <p:txBody>
          <a:bodyPr wrap="square" anchor="b" anchorCtr="0">
            <a:spAutoFit/>
          </a:bodyPr>
          <a:lstStyle>
            <a:lvl1pPr>
              <a:defRPr sz="4400">
                <a:gradFill flip="none" rotWithShape="1">
                  <a:gsLst>
                    <a:gs pos="100000">
                      <a:srgbClr val="50E6FF"/>
                    </a:gs>
                    <a:gs pos="0">
                      <a:srgbClr val="0078D4"/>
                    </a:gs>
                  </a:gsLst>
                  <a:lin ang="4800000" scaled="0"/>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2" name="Text Placeholder 4">
            <a:extLst>
              <a:ext uri="{FF2B5EF4-FFF2-40B4-BE49-F238E27FC236}">
                <a16:creationId xmlns:a16="http://schemas.microsoft.com/office/drawing/2014/main" id="{CDDFFF5F-F843-4F0E-BA81-1CC563655509}"/>
              </a:ext>
            </a:extLst>
          </p:cNvPr>
          <p:cNvSpPr>
            <a:spLocks noGrp="1"/>
          </p:cNvSpPr>
          <p:nvPr>
            <p:ph type="body" sz="quarter" idx="15" hasCustomPrompt="1"/>
          </p:nvPr>
        </p:nvSpPr>
        <p:spPr>
          <a:xfrm>
            <a:off x="582042" y="2467908"/>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786757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94389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26850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28726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8120084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85646"/>
            <a:ext cx="4162425" cy="338554"/>
          </a:xfrm>
        </p:spPr>
        <p:txBody>
          <a:bodyPr/>
          <a:lstStyle>
            <a:lvl1pPr marL="0" indent="0">
              <a:spcBef>
                <a:spcPts val="1200"/>
              </a:spcBef>
              <a:spcAft>
                <a:spcPts val="1200"/>
              </a:spcAft>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17127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5143013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27452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92700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4180448061"/>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1143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314987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125571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144539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0" y="1236663"/>
            <a:ext cx="12368213" cy="4714875"/>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588963" y="2351088"/>
            <a:ext cx="5986462" cy="2654666"/>
          </a:xfrm>
          <a:solidFill>
            <a:schemeClr val="bg1"/>
          </a:solidFill>
        </p:spPr>
        <p:txBody>
          <a:bodyPr lIns="365760" tIns="274320" rIns="365760" bIns="274320" anchor="ctr">
            <a:noAutofit/>
          </a:bodyPr>
          <a:lstStyle>
            <a:lvl1pPr marL="0" indent="0">
              <a:spcBef>
                <a:spcPts val="0"/>
              </a:spcBef>
              <a:spcAft>
                <a:spcPts val="1200"/>
              </a:spcAft>
              <a:buNone/>
              <a:defRPr sz="2000"/>
            </a:lvl1pPr>
            <a:lvl2pPr marL="0" indent="0">
              <a:spcBef>
                <a:spcPts val="0"/>
              </a:spcBef>
              <a:spcAft>
                <a:spcPts val="1200"/>
              </a:spcAft>
              <a:buNone/>
              <a:defRPr sz="18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41957667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22225" y="10886"/>
            <a:ext cx="12169775" cy="3383280"/>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436563" y="318587"/>
            <a:ext cx="5986462" cy="2654666"/>
          </a:xfrm>
          <a:solidFill>
            <a:schemeClr val="bg1"/>
          </a:solidFill>
        </p:spPr>
        <p:txBody>
          <a:bodyPr lIns="365760" tIns="274320" rIns="365760" bIns="274320" anchor="ctr">
            <a:noAutofit/>
          </a:bodyPr>
          <a:lstStyle>
            <a:lvl1pPr marL="0" indent="0">
              <a:spcBef>
                <a:spcPts val="0"/>
              </a:spcBef>
              <a:spcAft>
                <a:spcPts val="1200"/>
              </a:spcAft>
              <a:buNone/>
              <a:defRPr sz="2000"/>
            </a:lvl1pPr>
            <a:lvl2pPr marL="0" indent="0">
              <a:spcBef>
                <a:spcPts val="0"/>
              </a:spcBef>
              <a:spcAft>
                <a:spcPts val="1200"/>
              </a:spcAft>
              <a:buNone/>
              <a:defRPr sz="18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1" y="3457302"/>
            <a:ext cx="12192000" cy="3383280"/>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36563" y="3859345"/>
            <a:ext cx="5986462" cy="2654666"/>
          </a:xfrm>
          <a:solidFill>
            <a:schemeClr val="bg1"/>
          </a:solidFill>
        </p:spPr>
        <p:txBody>
          <a:bodyPr lIns="365760" tIns="274320" rIns="365760" bIns="274320" anchor="ctr">
            <a:noAutofit/>
          </a:bodyPr>
          <a:lstStyle>
            <a:lvl1pPr marL="0" indent="0">
              <a:spcBef>
                <a:spcPts val="0"/>
              </a:spcBef>
              <a:spcAft>
                <a:spcPts val="1200"/>
              </a:spcAft>
              <a:buNone/>
              <a:defRPr sz="2000"/>
            </a:lvl1pPr>
            <a:lvl2pPr marL="0" indent="0">
              <a:spcBef>
                <a:spcPts val="0"/>
              </a:spcBef>
              <a:spcAft>
                <a:spcPts val="1200"/>
              </a:spcAft>
              <a:buNone/>
              <a:defRPr sz="18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39415447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15268" y="10886"/>
            <a:ext cx="4023360" cy="6829696"/>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542160" y="2914650"/>
            <a:ext cx="29695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6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4086556" y="0"/>
            <a:ext cx="4023360" cy="6840582"/>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556298"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6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6" name="Picture Placeholder 7">
            <a:extLst>
              <a:ext uri="{FF2B5EF4-FFF2-40B4-BE49-F238E27FC236}">
                <a16:creationId xmlns:a16="http://schemas.microsoft.com/office/drawing/2014/main" id="{DF28BA66-4B5D-431B-9E9D-2559C40CA0C6}"/>
              </a:ext>
            </a:extLst>
          </p:cNvPr>
          <p:cNvSpPr>
            <a:spLocks noGrp="1"/>
          </p:cNvSpPr>
          <p:nvPr>
            <p:ph type="pic" sz="quarter" idx="14"/>
          </p:nvPr>
        </p:nvSpPr>
        <p:spPr>
          <a:xfrm>
            <a:off x="8157845" y="0"/>
            <a:ext cx="4023360" cy="6840582"/>
          </a:xfrm>
        </p:spPr>
        <p:txBody>
          <a:bodyPr/>
          <a:lstStyle/>
          <a:p>
            <a:endParaRPr lang="en-US"/>
          </a:p>
        </p:txBody>
      </p:sp>
      <p:sp>
        <p:nvSpPr>
          <p:cNvPr id="7" name="Text Placeholder 9">
            <a:extLst>
              <a:ext uri="{FF2B5EF4-FFF2-40B4-BE49-F238E27FC236}">
                <a16:creationId xmlns:a16="http://schemas.microsoft.com/office/drawing/2014/main" id="{D94FE499-2EF2-4F1F-9F01-C20E274D61D8}"/>
              </a:ext>
            </a:extLst>
          </p:cNvPr>
          <p:cNvSpPr>
            <a:spLocks noGrp="1"/>
          </p:cNvSpPr>
          <p:nvPr>
            <p:ph type="body" sz="quarter" idx="15"/>
          </p:nvPr>
        </p:nvSpPr>
        <p:spPr>
          <a:xfrm>
            <a:off x="8627587"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2000"/>
            </a:lvl1pPr>
            <a:lvl2pPr marL="0" indent="0">
              <a:spcBef>
                <a:spcPts val="0"/>
              </a:spcBef>
              <a:spcAft>
                <a:spcPts val="1200"/>
              </a:spcAft>
              <a:buNone/>
              <a:defRPr sz="16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251019170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03483137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15268" y="10886"/>
            <a:ext cx="4023360" cy="6829696"/>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542160" y="2914650"/>
            <a:ext cx="29695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4086556" y="0"/>
            <a:ext cx="4023360" cy="6840582"/>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556298"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6" name="Picture Placeholder 7">
            <a:extLst>
              <a:ext uri="{FF2B5EF4-FFF2-40B4-BE49-F238E27FC236}">
                <a16:creationId xmlns:a16="http://schemas.microsoft.com/office/drawing/2014/main" id="{DF28BA66-4B5D-431B-9E9D-2559C40CA0C6}"/>
              </a:ext>
            </a:extLst>
          </p:cNvPr>
          <p:cNvSpPr>
            <a:spLocks noGrp="1"/>
          </p:cNvSpPr>
          <p:nvPr>
            <p:ph type="pic" sz="quarter" idx="14"/>
          </p:nvPr>
        </p:nvSpPr>
        <p:spPr>
          <a:xfrm>
            <a:off x="8157845" y="0"/>
            <a:ext cx="4023360" cy="6840582"/>
          </a:xfrm>
        </p:spPr>
        <p:txBody>
          <a:bodyPr/>
          <a:lstStyle/>
          <a:p>
            <a:endParaRPr lang="en-US"/>
          </a:p>
        </p:txBody>
      </p:sp>
      <p:sp>
        <p:nvSpPr>
          <p:cNvPr id="7" name="Text Placeholder 9">
            <a:extLst>
              <a:ext uri="{FF2B5EF4-FFF2-40B4-BE49-F238E27FC236}">
                <a16:creationId xmlns:a16="http://schemas.microsoft.com/office/drawing/2014/main" id="{D94FE499-2EF2-4F1F-9F01-C20E274D61D8}"/>
              </a:ext>
            </a:extLst>
          </p:cNvPr>
          <p:cNvSpPr>
            <a:spLocks noGrp="1"/>
          </p:cNvSpPr>
          <p:nvPr>
            <p:ph type="body" sz="quarter" idx="15"/>
          </p:nvPr>
        </p:nvSpPr>
        <p:spPr>
          <a:xfrm>
            <a:off x="8627587"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2000"/>
            </a:lvl1pPr>
            <a:lvl2pPr marL="0" indent="0">
              <a:spcBef>
                <a:spcPts val="0"/>
              </a:spcBef>
              <a:spcAft>
                <a:spcPts val="1200"/>
              </a:spcAft>
              <a:buNone/>
              <a:defRPr sz="14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9264754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589558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0893558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1315379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75361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5539926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14790381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2907863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406184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414950105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gradFill>
                  <a:gsLst>
                    <a:gs pos="0">
                      <a:schemeClr val="tx1"/>
                    </a:gs>
                    <a:gs pos="100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2"/>
                    </a:gs>
                    <a:gs pos="100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1"/>
                    </a:gs>
                    <a:gs pos="100000">
                      <a:schemeClr val="tx1"/>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310779329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128938431"/>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centered with sub">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BB4BF58-A979-4DEB-B5C0-812DE1E3801E}"/>
              </a:ext>
            </a:extLst>
          </p:cNvPr>
          <p:cNvSpPr>
            <a:spLocks noGrp="1"/>
          </p:cNvSpPr>
          <p:nvPr>
            <p:ph type="pic" sz="quarter" idx="10"/>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557029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1158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7681770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883456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3349161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5161606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9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982194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358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gradFill>
                  <a:gsLst>
                    <a:gs pos="0">
                      <a:schemeClr val="tx1"/>
                    </a:gs>
                    <a:gs pos="100000">
                      <a:schemeClr val="tx1"/>
                    </a:gs>
                  </a:gsLst>
                  <a:lin ang="5400000" scaled="1"/>
                </a:gra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gradFill>
                  <a:gsLst>
                    <a:gs pos="0">
                      <a:schemeClr val="tx2"/>
                    </a:gs>
                    <a:gs pos="100000">
                      <a:schemeClr val="tx2"/>
                    </a:gs>
                  </a:gsLst>
                  <a:lin ang="5400000" scaled="1"/>
                </a:gra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0">
                      <a:schemeClr val="tx1"/>
                    </a:gs>
                    <a:gs pos="100000">
                      <a:schemeClr val="tx1"/>
                    </a:gs>
                  </a:gsLst>
                  <a:lin ang="5400000" scaled="1"/>
                </a:gra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411943119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73017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 grade tex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864896"/>
            <a:ext cx="11653523" cy="923330"/>
          </a:xfrm>
          <a:noFill/>
        </p:spPr>
        <p:txBody>
          <a:bodyPr tIns="91440" bIns="91440" anchor="t" anchorCtr="0">
            <a:spAutoFit/>
          </a:bodyPr>
          <a:lstStyle>
            <a:lvl1pPr>
              <a:defRPr sz="4800" spc="-98" baseline="0">
                <a:gradFill flip="none" rotWithShape="1">
                  <a:gsLst>
                    <a:gs pos="100000">
                      <a:srgbClr val="50E6FF"/>
                    </a:gs>
                    <a:gs pos="0">
                      <a:srgbClr val="0078D4"/>
                    </a:gs>
                  </a:gsLst>
                  <a:lin ang="3600000" scaled="0"/>
                  <a:tileRect/>
                </a:gradFill>
              </a:defRPr>
            </a:lvl1pPr>
          </a:lstStyle>
          <a:p>
            <a:r>
              <a:rPr lang="en-US"/>
              <a:t>Section title</a:t>
            </a:r>
          </a:p>
        </p:txBody>
      </p:sp>
      <p:sp>
        <p:nvSpPr>
          <p:cNvPr id="4" name="Footer Placeholder 1">
            <a:extLst>
              <a:ext uri="{FF2B5EF4-FFF2-40B4-BE49-F238E27FC236}">
                <a16:creationId xmlns:a16="http://schemas.microsoft.com/office/drawing/2014/main" id="{9F11C490-EA2D-CF4C-B93B-C9C44A071C09}"/>
              </a:ext>
            </a:extLst>
          </p:cNvPr>
          <p:cNvSpPr>
            <a:spLocks noGrp="1"/>
          </p:cNvSpPr>
          <p:nvPr>
            <p:ph type="ftr" sz="quarter" idx="10"/>
          </p:nvPr>
        </p:nvSpPr>
        <p:spPr>
          <a:xfrm>
            <a:off x="3456432" y="6400800"/>
            <a:ext cx="5279136" cy="365125"/>
          </a:xfrm>
        </p:spPr>
        <p:txBody>
          <a:bodyPr/>
          <a:lstStyle>
            <a:lvl1pPr>
              <a:defRPr sz="900">
                <a:solidFill>
                  <a:schemeClr val="tx1"/>
                </a:solidFill>
              </a:defRPr>
            </a:lvl1pPr>
          </a:lstStyle>
          <a:p>
            <a:r>
              <a:rPr lang="en-US"/>
              <a:t>MICROSOFT CONFIDENTIAL – NON-DISCLOSURE AGREEMENT REQUIRED</a:t>
            </a:r>
          </a:p>
        </p:txBody>
      </p:sp>
    </p:spTree>
    <p:extLst>
      <p:ext uri="{BB962C8B-B14F-4D97-AF65-F5344CB8AC3E}">
        <p14:creationId xmlns:p14="http://schemas.microsoft.com/office/powerpoint/2010/main" val="77381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66873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mp;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095685"/>
          </a:xfrm>
        </p:spPr>
        <p:txBody>
          <a:bodyPr/>
          <a:lstStyle>
            <a:lvl1pPr>
              <a:buClr>
                <a:schemeClr val="tx1">
                  <a:lumMod val="50000"/>
                  <a:lumOff val="50000"/>
                </a:schemeClr>
              </a:buClr>
              <a:buSzPct val="100000"/>
              <a:defRPr/>
            </a:lvl1pPr>
            <a:lvl2pPr marL="640080">
              <a:buClr>
                <a:schemeClr val="tx1">
                  <a:lumMod val="50000"/>
                  <a:lumOff val="50000"/>
                </a:schemeClr>
              </a:buClr>
              <a:buSzPct val="100000"/>
              <a:defRPr/>
            </a:lvl2pPr>
            <a:lvl3pPr marL="1097280">
              <a:buClr>
                <a:schemeClr val="tx1">
                  <a:lumMod val="50000"/>
                  <a:lumOff val="50000"/>
                </a:schemeClr>
              </a:buClr>
              <a:buSzPct val="100000"/>
              <a:defRPr/>
            </a:lvl3pPr>
            <a:lvl4pPr>
              <a:buClr>
                <a:schemeClr val="tx1">
                  <a:lumMod val="50000"/>
                  <a:lumOff val="50000"/>
                </a:schemeClr>
              </a:buClr>
              <a:buSzPct val="10000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052064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69108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09224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308456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053211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2298323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2284351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75710899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96746649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2310611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120940246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Tree>
    <p:extLst>
      <p:ext uri="{BB962C8B-B14F-4D97-AF65-F5344CB8AC3E}">
        <p14:creationId xmlns:p14="http://schemas.microsoft.com/office/powerpoint/2010/main" val="121113525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9652769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52154284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12140146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gradFill>
                  <a:gsLst>
                    <a:gs pos="0">
                      <a:schemeClr val="tx1"/>
                    </a:gs>
                    <a:gs pos="100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2"/>
                    </a:gs>
                    <a:gs pos="100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1"/>
                    </a:gs>
                    <a:gs pos="100000">
                      <a:schemeClr val="tx1"/>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190794481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gradFill>
                  <a:gsLst>
                    <a:gs pos="0">
                      <a:schemeClr val="tx1"/>
                    </a:gs>
                    <a:gs pos="100000">
                      <a:schemeClr val="tx1"/>
                    </a:gs>
                  </a:gsLst>
                  <a:lin ang="5400000" scaled="1"/>
                </a:gra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gradFill>
                  <a:gsLst>
                    <a:gs pos="0">
                      <a:schemeClr val="tx2"/>
                    </a:gs>
                    <a:gs pos="100000">
                      <a:schemeClr val="tx2"/>
                    </a:gs>
                  </a:gsLst>
                  <a:lin ang="5400000" scaled="1"/>
                </a:gra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0">
                      <a:schemeClr val="tx1"/>
                    </a:gs>
                    <a:gs pos="100000">
                      <a:schemeClr val="tx1"/>
                    </a:gs>
                  </a:gsLst>
                  <a:lin ang="5400000" scaled="1"/>
                </a:gra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66732858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6367491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138491107"/>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2: two columns copy heavy</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8" name="Text Placeholder 4">
            <a:extLst>
              <a:ext uri="{FF2B5EF4-FFF2-40B4-BE49-F238E27FC236}">
                <a16:creationId xmlns:a16="http://schemas.microsoft.com/office/drawing/2014/main" id="{CCC8691F-DADE-4D0A-8115-9B3B796034E0}"/>
              </a:ext>
            </a:extLst>
          </p:cNvPr>
          <p:cNvSpPr>
            <a:spLocks noGrp="1"/>
          </p:cNvSpPr>
          <p:nvPr>
            <p:ph type="body" sz="quarter" idx="11" hasCustomPrompt="1"/>
          </p:nvPr>
        </p:nvSpPr>
        <p:spPr>
          <a:xfrm>
            <a:off x="455995" y="2377543"/>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9" name="Text Placeholder 4">
            <a:extLst>
              <a:ext uri="{FF2B5EF4-FFF2-40B4-BE49-F238E27FC236}">
                <a16:creationId xmlns:a16="http://schemas.microsoft.com/office/drawing/2014/main" id="{AD57A03F-09DB-4FBF-A5BF-1DE6B7FC0CB5}"/>
              </a:ext>
            </a:extLst>
          </p:cNvPr>
          <p:cNvSpPr>
            <a:spLocks noGrp="1"/>
          </p:cNvSpPr>
          <p:nvPr>
            <p:ph type="body" sz="quarter" idx="19" hasCustomPrompt="1"/>
          </p:nvPr>
        </p:nvSpPr>
        <p:spPr>
          <a:xfrm>
            <a:off x="4286808" y="2377543"/>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Tree>
    <p:extLst>
      <p:ext uri="{BB962C8B-B14F-4D97-AF65-F5344CB8AC3E}">
        <p14:creationId xmlns:p14="http://schemas.microsoft.com/office/powerpoint/2010/main" val="274480306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74941343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135552796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80354707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69180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88947930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3299266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513980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gradFill>
                  <a:gsLst>
                    <a:gs pos="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1671083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8569656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3337271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spTree>
    <p:extLst>
      <p:ext uri="{BB962C8B-B14F-4D97-AF65-F5344CB8AC3E}">
        <p14:creationId xmlns:p14="http://schemas.microsoft.com/office/powerpoint/2010/main" val="157455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7" name="Picture Placeholder 27">
            <a:extLst>
              <a:ext uri="{FF2B5EF4-FFF2-40B4-BE49-F238E27FC236}">
                <a16:creationId xmlns:a16="http://schemas.microsoft.com/office/drawing/2014/main" id="{5496F88C-A399-48D0-ABC4-07E2F5BAD15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8" name="Picture Placeholder 27">
            <a:extLst>
              <a:ext uri="{FF2B5EF4-FFF2-40B4-BE49-F238E27FC236}">
                <a16:creationId xmlns:a16="http://schemas.microsoft.com/office/drawing/2014/main" id="{0C21610F-709F-4799-BDC8-F5E07C8E753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10" name="Picture Placeholder 27">
            <a:extLst>
              <a:ext uri="{FF2B5EF4-FFF2-40B4-BE49-F238E27FC236}">
                <a16:creationId xmlns:a16="http://schemas.microsoft.com/office/drawing/2014/main" id="{D45E4476-7B91-4BF1-BEE6-AA780631C750}"/>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11" name="Picture Placeholder 27">
            <a:extLst>
              <a:ext uri="{FF2B5EF4-FFF2-40B4-BE49-F238E27FC236}">
                <a16:creationId xmlns:a16="http://schemas.microsoft.com/office/drawing/2014/main" id="{5AC165B8-0458-4204-A626-058362AA6257}"/>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12" name="Picture Placeholder 27">
            <a:extLst>
              <a:ext uri="{FF2B5EF4-FFF2-40B4-BE49-F238E27FC236}">
                <a16:creationId xmlns:a16="http://schemas.microsoft.com/office/drawing/2014/main" id="{1221D2EB-E466-48FD-BA3C-CBCAA9CB7AF3}"/>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13" name="Picture Placeholder 27">
            <a:extLst>
              <a:ext uri="{FF2B5EF4-FFF2-40B4-BE49-F238E27FC236}">
                <a16:creationId xmlns:a16="http://schemas.microsoft.com/office/drawing/2014/main" id="{D1ABACC9-8C8F-4BA1-B371-EF3BFD1A8D8E}"/>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14" name="Picture Placeholder 27">
            <a:extLst>
              <a:ext uri="{FF2B5EF4-FFF2-40B4-BE49-F238E27FC236}">
                <a16:creationId xmlns:a16="http://schemas.microsoft.com/office/drawing/2014/main" id="{7675766E-F1E6-47EC-A787-5D8F033D48B4}"/>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827581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78037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183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9175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B211B-2461-4B9F-BA8C-284E0DB596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E9AC44-84E1-4E6F-BAEC-645C4BDB9B4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F704E1-8F17-401F-A5DA-78D856867F08}"/>
              </a:ext>
            </a:extLst>
          </p:cNvPr>
          <p:cNvSpPr>
            <a:spLocks noGrp="1"/>
          </p:cNvSpPr>
          <p:nvPr>
            <p:ph type="dt" sz="half" idx="10"/>
          </p:nvPr>
        </p:nvSpPr>
        <p:spPr/>
        <p:txBody>
          <a:bodyPr/>
          <a:lstStyle/>
          <a:p>
            <a:fld id="{359D067C-962C-437E-A0A2-08F853FA38DF}" type="datetimeFigureOut">
              <a:rPr lang="en-US" smtClean="0"/>
              <a:t>3/29/2021</a:t>
            </a:fld>
            <a:endParaRPr lang="en-US"/>
          </a:p>
        </p:txBody>
      </p:sp>
      <p:sp>
        <p:nvSpPr>
          <p:cNvPr id="5" name="Footer Placeholder 4">
            <a:extLst>
              <a:ext uri="{FF2B5EF4-FFF2-40B4-BE49-F238E27FC236}">
                <a16:creationId xmlns:a16="http://schemas.microsoft.com/office/drawing/2014/main" id="{2B9DA1EB-778F-4452-8B63-7001376E22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7BF147-9ACC-436C-9400-E0E719D962DF}"/>
              </a:ext>
            </a:extLst>
          </p:cNvPr>
          <p:cNvSpPr>
            <a:spLocks noGrp="1"/>
          </p:cNvSpPr>
          <p:nvPr>
            <p:ph type="sldNum" sz="quarter" idx="12"/>
          </p:nvPr>
        </p:nvSpPr>
        <p:spPr/>
        <p:txBody>
          <a:bodyPr/>
          <a:lstStyle/>
          <a:p>
            <a:fld id="{4F3D8C6D-7F86-49EE-85D0-46BDCF8324B7}" type="slidenum">
              <a:rPr lang="en-US" smtClean="0"/>
              <a:t>‹#›</a:t>
            </a:fld>
            <a:endParaRPr lang="en-US"/>
          </a:p>
        </p:txBody>
      </p:sp>
    </p:spTree>
    <p:extLst>
      <p:ext uri="{BB962C8B-B14F-4D97-AF65-F5344CB8AC3E}">
        <p14:creationId xmlns:p14="http://schemas.microsoft.com/office/powerpoint/2010/main" val="64209559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93663859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000"/>
            </a:lvl1pPr>
          </a:lstStyle>
          <a:p>
            <a:r>
              <a:rPr lang="en-US"/>
              <a:t>Click to edit Master title style</a:t>
            </a:r>
          </a:p>
        </p:txBody>
      </p:sp>
      <p:sp>
        <p:nvSpPr>
          <p:cNvPr id="3" name="Text Placeholder 2"/>
          <p:cNvSpPr>
            <a:spLocks noGrp="1"/>
          </p:cNvSpPr>
          <p:nvPr>
            <p:ph type="body" sz="quarter" idx="10"/>
          </p:nvPr>
        </p:nvSpPr>
        <p:spPr>
          <a:xfrm>
            <a:off x="269302" y="1187645"/>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701738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136605"/>
            <a:ext cx="9230589" cy="1570127"/>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274761"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275827"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261081"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9282896"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168043632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Microsoft Lear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6077021-9464-44F6-B827-5358FF42B1A1}"/>
              </a:ext>
            </a:extLst>
          </p:cNvPr>
          <p:cNvPicPr>
            <a:picLocks noChangeAspect="1"/>
          </p:cNvPicPr>
          <p:nvPr userDrawn="1"/>
        </p:nvPicPr>
        <p:blipFill>
          <a:blip r:embed="rId2"/>
          <a:srcRect/>
          <a:stretch/>
        </p:blipFill>
        <p:spPr>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4518" y="613556"/>
            <a:ext cx="1366440" cy="292608"/>
          </a:xfrm>
          <a:prstGeom prst="rect">
            <a:avLst/>
          </a:prstGeom>
        </p:spPr>
      </p:pic>
      <p:sp>
        <p:nvSpPr>
          <p:cNvPr id="12" name="Text Placeholder 4">
            <a:extLst>
              <a:ext uri="{FF2B5EF4-FFF2-40B4-BE49-F238E27FC236}">
                <a16:creationId xmlns:a16="http://schemas.microsoft.com/office/drawing/2014/main" id="{5AF0652F-7102-4C27-A256-1E62A5FF6BFC}"/>
              </a:ext>
            </a:extLst>
          </p:cNvPr>
          <p:cNvSpPr txBox="1">
            <a:spLocks/>
          </p:cNvSpPr>
          <p:nvPr userDrawn="1"/>
        </p:nvSpPr>
        <p:spPr>
          <a:xfrm>
            <a:off x="568960" y="6259684"/>
            <a:ext cx="4163498" cy="307777"/>
          </a:xfrm>
          <a:prstGeom prst="rect">
            <a:avLst/>
          </a:prstGeo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0" baseline="0">
                <a:solidFill>
                  <a:srgbClr val="0078D4"/>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Microsoft.com/Learn</a:t>
            </a:r>
          </a:p>
        </p:txBody>
      </p:sp>
    </p:spTree>
    <p:extLst>
      <p:ext uri="{BB962C8B-B14F-4D97-AF65-F5344CB8AC3E}">
        <p14:creationId xmlns:p14="http://schemas.microsoft.com/office/powerpoint/2010/main" val="708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3" name="Image" descr="Image">
            <a:extLst>
              <a:ext uri="{FF2B5EF4-FFF2-40B4-BE49-F238E27FC236}">
                <a16:creationId xmlns:a16="http://schemas.microsoft.com/office/drawing/2014/main" id="{2F454218-0D46-4351-BBBB-D82416BE5B22}"/>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4" name="Image" descr="Image">
            <a:extLst>
              <a:ext uri="{FF2B5EF4-FFF2-40B4-BE49-F238E27FC236}">
                <a16:creationId xmlns:a16="http://schemas.microsoft.com/office/drawing/2014/main" id="{639BE83B-0B32-4FF7-946B-BAF64DA16D80}"/>
              </a:ext>
            </a:extLst>
          </p:cNvPr>
          <p:cNvPicPr>
            <a:picLocks noChangeAspect="1"/>
          </p:cNvPicPr>
          <p:nvPr userDrawn="1"/>
        </p:nvPicPr>
        <p:blipFill>
          <a:blip r:embed="rId3"/>
          <a:stretch>
            <a:fillRect/>
          </a:stretch>
        </p:blipFill>
        <p:spPr>
          <a:xfrm>
            <a:off x="0" y="702520"/>
            <a:ext cx="12190286" cy="6155481"/>
          </a:xfrm>
          <a:prstGeom prst="rect">
            <a:avLst/>
          </a:prstGeom>
          <a:ln w="12700">
            <a:miter lim="400000"/>
          </a:ln>
        </p:spPr>
      </p:pic>
      <p:sp>
        <p:nvSpPr>
          <p:cNvPr id="9" name="Title 1"/>
          <p:cNvSpPr>
            <a:spLocks noGrp="1"/>
          </p:cNvSpPr>
          <p:nvPr>
            <p:ph type="title" hasCustomPrompt="1"/>
          </p:nvPr>
        </p:nvSpPr>
        <p:spPr>
          <a:xfrm>
            <a:off x="584200" y="2979778"/>
            <a:ext cx="68834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68834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2" name="MS logo white - EMF" descr="Microsoft logo white text version">
            <a:extLst>
              <a:ext uri="{FF2B5EF4-FFF2-40B4-BE49-F238E27FC236}">
                <a16:creationId xmlns:a16="http://schemas.microsoft.com/office/drawing/2014/main" id="{FBA90332-A7D9-4353-82A5-431FF1E924E8}"/>
              </a:ext>
            </a:extLst>
          </p:cNvPr>
          <p:cNvPicPr>
            <a:picLocks noChangeAspect="1"/>
          </p:cNvPicPr>
          <p:nvPr userDrawn="1"/>
        </p:nvPicPr>
        <p:blipFill>
          <a:blip r:embed="rId4"/>
          <a:stretch>
            <a:fillRect/>
          </a:stretch>
        </p:blipFill>
        <p:spPr bwMode="invGray">
          <a:xfrm>
            <a:off x="584200" y="585788"/>
            <a:ext cx="1366245" cy="292608"/>
          </a:xfrm>
          <a:prstGeom prst="rect">
            <a:avLst/>
          </a:prstGeom>
        </p:spPr>
      </p:pic>
    </p:spTree>
    <p:extLst>
      <p:ext uri="{BB962C8B-B14F-4D97-AF65-F5344CB8AC3E}">
        <p14:creationId xmlns:p14="http://schemas.microsoft.com/office/powerpoint/2010/main" val="2917535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4704">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033708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416544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48235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904710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7033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80555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47571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340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213225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endParaRPr lang="en-US" dirty="0"/>
          </a:p>
        </p:txBody>
      </p:sp>
    </p:spTree>
    <p:extLst>
      <p:ext uri="{BB962C8B-B14F-4D97-AF65-F5344CB8AC3E}">
        <p14:creationId xmlns:p14="http://schemas.microsoft.com/office/powerpoint/2010/main" val="3209589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578261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82294313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2213175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1642756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0830997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endParaRPr lang="en-US" dirty="0"/>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271928073"/>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805771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28050143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2921765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0764594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934778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148483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248802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3432968017"/>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364742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2675317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1168530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26565325"/>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0137046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21013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47415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8050885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endParaRPr lang="en-US" dirty="0"/>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444440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22996216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10542551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endParaRPr lang="en-US" dirty="0"/>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7708205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19596920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4084061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43A5E"/>
        </a:solidFill>
        <a:effectLst/>
      </p:bgPr>
    </p:bg>
    <p:spTree>
      <p:nvGrpSpPr>
        <p:cNvPr id="1" name=""/>
        <p:cNvGrpSpPr/>
        <p:nvPr/>
      </p:nvGrpSpPr>
      <p:grpSpPr>
        <a:xfrm>
          <a:off x="0" y="0"/>
          <a:ext cx="0" cy="0"/>
          <a:chOff x="0" y="0"/>
          <a:chExt cx="0" cy="0"/>
        </a:xfrm>
      </p:grpSpPr>
      <p:pic>
        <p:nvPicPr>
          <p:cNvPr id="3" name="Image" descr="Image">
            <a:extLst>
              <a:ext uri="{FF2B5EF4-FFF2-40B4-BE49-F238E27FC236}">
                <a16:creationId xmlns:a16="http://schemas.microsoft.com/office/drawing/2014/main" id="{9B76177D-2EF6-4521-94A2-23E08BF9F9D3}"/>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7" name="Image" descr="Image">
            <a:extLst>
              <a:ext uri="{FF2B5EF4-FFF2-40B4-BE49-F238E27FC236}">
                <a16:creationId xmlns:a16="http://schemas.microsoft.com/office/drawing/2014/main" id="{9C455890-8289-4143-86AB-7615AE5D2F0C}"/>
              </a:ext>
            </a:extLst>
          </p:cNvPr>
          <p:cNvPicPr>
            <a:picLocks noChangeAspect="1"/>
          </p:cNvPicPr>
          <p:nvPr userDrawn="1"/>
        </p:nvPicPr>
        <p:blipFill>
          <a:blip r:embed="rId3"/>
          <a:stretch>
            <a:fillRect/>
          </a:stretch>
        </p:blipFill>
        <p:spPr>
          <a:xfrm>
            <a:off x="1714" y="702519"/>
            <a:ext cx="12190286" cy="6155481"/>
          </a:xfrm>
          <a:prstGeom prst="rect">
            <a:avLst/>
          </a:prstGeom>
          <a:ln w="12700">
            <a:miter lim="400000"/>
          </a:ln>
        </p:spPr>
      </p:pic>
      <p:sp>
        <p:nvSpPr>
          <p:cNvPr id="2" name="Title 1"/>
          <p:cNvSpPr>
            <a:spLocks noGrp="1"/>
          </p:cNvSpPr>
          <p:nvPr>
            <p:ph type="title" hasCustomPrompt="1"/>
          </p:nvPr>
        </p:nvSpPr>
        <p:spPr>
          <a:xfrm>
            <a:off x="585216" y="3033223"/>
            <a:ext cx="6882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882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 or subtitle</a:t>
            </a:r>
          </a:p>
        </p:txBody>
      </p:sp>
    </p:spTree>
    <p:extLst>
      <p:ext uri="{BB962C8B-B14F-4D97-AF65-F5344CB8AC3E}">
        <p14:creationId xmlns:p14="http://schemas.microsoft.com/office/powerpoint/2010/main" val="3636009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0">
          <p15:clr>
            <a:srgbClr val="5ACBF0"/>
          </p15:clr>
        </p15:guide>
        <p15:guide id="4" orient="horz" pos="250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43A5E"/>
        </a:solidFill>
        <a:effectLst/>
      </p:bgPr>
    </p:bg>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B9A523E9-3540-4A3B-ADB7-14250A07DF15}"/>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6" name="Image" descr="Image">
            <a:extLst>
              <a:ext uri="{FF2B5EF4-FFF2-40B4-BE49-F238E27FC236}">
                <a16:creationId xmlns:a16="http://schemas.microsoft.com/office/drawing/2014/main" id="{F0EEB245-734B-42B2-842F-C99AEF438844}"/>
              </a:ext>
            </a:extLst>
          </p:cNvPr>
          <p:cNvPicPr>
            <a:picLocks noChangeAspect="1"/>
          </p:cNvPicPr>
          <p:nvPr userDrawn="1"/>
        </p:nvPicPr>
        <p:blipFill>
          <a:blip r:embed="rId3"/>
          <a:stretch>
            <a:fillRect/>
          </a:stretch>
        </p:blipFill>
        <p:spPr>
          <a:xfrm>
            <a:off x="1714" y="702519"/>
            <a:ext cx="12190286" cy="6155481"/>
          </a:xfrm>
          <a:prstGeom prst="rect">
            <a:avLst/>
          </a:prstGeom>
          <a:ln w="12700">
            <a:miter lim="400000"/>
          </a:ln>
        </p:spPr>
      </p:pic>
      <p:sp>
        <p:nvSpPr>
          <p:cNvPr id="2" name="Title 1"/>
          <p:cNvSpPr>
            <a:spLocks noGrp="1"/>
          </p:cNvSpPr>
          <p:nvPr>
            <p:ph type="title" hasCustomPrompt="1"/>
          </p:nvPr>
        </p:nvSpPr>
        <p:spPr>
          <a:xfrm>
            <a:off x="585216" y="3035808"/>
            <a:ext cx="6882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83632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55135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7580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 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99853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43A5E"/>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56176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74611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82351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45756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76095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34315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401906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5426704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568461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26468340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957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9647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10101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28054466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383077353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394600"/>
            <a:ext cx="6392810" cy="1480405"/>
          </a:xfrm>
        </p:spPr>
        <p:txBody>
          <a:bodyPr anchor="t"/>
          <a:lstStyle>
            <a:lvl1pPr marL="0" indent="0">
              <a:spcBef>
                <a:spcPts val="1200"/>
              </a:spcBef>
              <a:spcAft>
                <a:spcPts val="600"/>
              </a:spcAft>
              <a:buNone/>
              <a:defRPr sz="2400">
                <a:solidFill>
                  <a:schemeClr val="accent1">
                    <a:lumMod val="60000"/>
                    <a:lumOff val="40000"/>
                  </a:schemeClr>
                </a:solidFill>
              </a:defRPr>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463715"/>
            <a:ext cx="2851980" cy="553998"/>
          </a:xfrm>
        </p:spPr>
        <p:txBody>
          <a:bodyPr/>
          <a:lstStyle>
            <a:lvl1pPr>
              <a:defRPr>
                <a:solidFill>
                  <a:schemeClr val="accent2"/>
                </a:solidFill>
              </a:defRPr>
            </a:lvl1pPr>
          </a:lstStyle>
          <a:p>
            <a:r>
              <a:rPr lang="en-US"/>
              <a:t>Click to</a:t>
            </a:r>
          </a:p>
        </p:txBody>
      </p:sp>
    </p:spTree>
    <p:extLst>
      <p:ext uri="{BB962C8B-B14F-4D97-AF65-F5344CB8AC3E}">
        <p14:creationId xmlns:p14="http://schemas.microsoft.com/office/powerpoint/2010/main" val="303061462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111677"/>
            <a:ext cx="5958095" cy="1344984"/>
          </a:xfrm>
        </p:spPr>
        <p:txBody>
          <a:bodyPr anchor="t"/>
          <a:lstStyle>
            <a:lvl1pPr marL="0" indent="0">
              <a:spcBef>
                <a:spcPts val="1200"/>
              </a:spcBef>
              <a:spcAft>
                <a:spcPts val="600"/>
              </a:spcAft>
              <a:buNone/>
              <a:defRPr sz="2000"/>
            </a:lvl1pPr>
            <a:lvl2pPr marL="0" indent="0">
              <a:buNone/>
              <a:defRPr sz="1600"/>
            </a:lvl2pPr>
            <a:lvl3pPr marL="0" indent="0">
              <a:buNone/>
              <a:defRPr sz="1200"/>
            </a:lvl3pPr>
            <a:lvl4pPr marL="0" indent="0">
              <a:buNone/>
              <a:defRPr sz="1100"/>
            </a:lvl4pPr>
            <a:lvl5pPr marL="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D4E9B4A3-7849-4797-ACCB-22200180F6BB}"/>
              </a:ext>
            </a:extLst>
          </p:cNvPr>
          <p:cNvSpPr>
            <a:spLocks noGrp="1"/>
          </p:cNvSpPr>
          <p:nvPr>
            <p:ph type="title"/>
          </p:nvPr>
        </p:nvSpPr>
        <p:spPr>
          <a:xfrm>
            <a:off x="4849813" y="457200"/>
            <a:ext cx="6756970" cy="553998"/>
          </a:xfrm>
        </p:spPr>
        <p:txBody>
          <a:bodyPr/>
          <a:lstStyle/>
          <a:p>
            <a:r>
              <a:rPr lang="en-US"/>
              <a:t>Click to edit Master title style</a:t>
            </a:r>
          </a:p>
        </p:txBody>
      </p:sp>
      <p:sp>
        <p:nvSpPr>
          <p:cNvPr id="6" name="Text Placeholder 6">
            <a:extLst>
              <a:ext uri="{FF2B5EF4-FFF2-40B4-BE49-F238E27FC236}">
                <a16:creationId xmlns:a16="http://schemas.microsoft.com/office/drawing/2014/main" id="{0E64CAD8-4ECB-4FA2-B572-862C3C535B48}"/>
              </a:ext>
            </a:extLst>
          </p:cNvPr>
          <p:cNvSpPr>
            <a:spLocks noGrp="1"/>
          </p:cNvSpPr>
          <p:nvPr>
            <p:ph type="body" sz="quarter" idx="14"/>
          </p:nvPr>
        </p:nvSpPr>
        <p:spPr>
          <a:xfrm>
            <a:off x="4849813" y="1031316"/>
            <a:ext cx="6392810" cy="492443"/>
          </a:xfrm>
        </p:spPr>
        <p:txBody>
          <a:bodyPr anchor="t"/>
          <a:lstStyle>
            <a:lvl1pPr marL="0" indent="0">
              <a:spcBef>
                <a:spcPts val="1200"/>
              </a:spcBef>
              <a:spcAft>
                <a:spcPts val="600"/>
              </a:spcAft>
              <a:buNone/>
              <a:defRPr sz="3200" b="1">
                <a:solidFill>
                  <a:schemeClr val="accent1">
                    <a:lumMod val="60000"/>
                    <a:lumOff val="40000"/>
                  </a:schemeClr>
                </a:solidFill>
              </a:defRPr>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p:txBody>
      </p:sp>
    </p:spTree>
    <p:extLst>
      <p:ext uri="{BB962C8B-B14F-4D97-AF65-F5344CB8AC3E}">
        <p14:creationId xmlns:p14="http://schemas.microsoft.com/office/powerpoint/2010/main" val="382330421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46142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275826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226724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376260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243637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57726280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0501506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gradFill>
                  <a:gsLst>
                    <a:gs pos="0">
                      <a:schemeClr val="tx1"/>
                    </a:gs>
                    <a:gs pos="100000">
                      <a:schemeClr val="tx1"/>
                    </a:gs>
                  </a:gsLst>
                  <a:lin ang="5400000" scaled="1"/>
                </a:gra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498799"/>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2"/>
                    </a:gs>
                    <a:gs pos="100000">
                      <a:schemeClr val="tx2"/>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p:spPr>
        <p:txBody>
          <a:bodyPr anchor="ctr" anchorCtr="0">
            <a:noAutofit/>
          </a:bodyPr>
          <a:lstStyle>
            <a:lvl1pPr algn="ctr">
              <a:defRPr>
                <a:gradFill>
                  <a:gsLst>
                    <a:gs pos="0">
                      <a:schemeClr val="bg1"/>
                    </a:gs>
                    <a:gs pos="100000">
                      <a:schemeClr val="bg1"/>
                    </a:gs>
                  </a:gsLst>
                  <a:lin ang="5400000" scaled="1"/>
                </a:gra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9000"/>
            <a:ext cx="4822952" cy="498799"/>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2"/>
                    </a:gs>
                    <a:gs pos="100000">
                      <a:schemeClr val="tx2"/>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57093095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02896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5937378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130013533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79020611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424991152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92939130"/>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244818072"/>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45204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00445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3827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gradFill>
                  <a:gsLst>
                    <a:gs pos="0">
                      <a:schemeClr val="tx2"/>
                    </a:gs>
                    <a:gs pos="100000">
                      <a:schemeClr val="tx2"/>
                    </a:gs>
                  </a:gsLst>
                  <a:lin ang="5400000" scaled="1"/>
                </a:gra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gradFill>
                  <a:gsLst>
                    <a:gs pos="0">
                      <a:schemeClr val="tx2"/>
                    </a:gs>
                    <a:gs pos="100000">
                      <a:schemeClr val="tx2"/>
                    </a:gs>
                  </a:gsLst>
                  <a:lin ang="5400000" scaled="1"/>
                </a:gra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154248605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40438660"/>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40877522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276999"/>
          </a:xfrm>
        </p:spPr>
        <p:txBody>
          <a:bodyPr/>
          <a:lstStyle>
            <a:lvl1pPr marL="0" indent="0" algn="ctr">
              <a:buNone/>
              <a:defRPr kumimoji="0" lang="en-US" sz="18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9180368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3978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041462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014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196162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815C6-564C-4C28-9B39-5913B39208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E393E15-9308-4A69-A434-7502734660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ADEAFB6-B6C0-4761-BCFF-43942C585458}"/>
              </a:ext>
            </a:extLst>
          </p:cNvPr>
          <p:cNvSpPr>
            <a:spLocks noGrp="1"/>
          </p:cNvSpPr>
          <p:nvPr>
            <p:ph type="dt" sz="half" idx="10"/>
          </p:nvPr>
        </p:nvSpPr>
        <p:spPr/>
        <p:txBody>
          <a:bodyPr/>
          <a:lstStyle/>
          <a:p>
            <a:fld id="{AB418EC6-A7C0-45EC-9569-8900DE822755}" type="datetimeFigureOut">
              <a:rPr lang="en-US" smtClean="0"/>
              <a:t>3/29/2021</a:t>
            </a:fld>
            <a:endParaRPr lang="en-US"/>
          </a:p>
        </p:txBody>
      </p:sp>
      <p:sp>
        <p:nvSpPr>
          <p:cNvPr id="5" name="Footer Placeholder 4">
            <a:extLst>
              <a:ext uri="{FF2B5EF4-FFF2-40B4-BE49-F238E27FC236}">
                <a16:creationId xmlns:a16="http://schemas.microsoft.com/office/drawing/2014/main" id="{91C4D7F9-F41F-4B1E-A905-3D4035409A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3BE494-8370-4550-9204-72B7CCBC56AD}"/>
              </a:ext>
            </a:extLst>
          </p:cNvPr>
          <p:cNvSpPr>
            <a:spLocks noGrp="1"/>
          </p:cNvSpPr>
          <p:nvPr>
            <p:ph type="sldNum" sz="quarter" idx="12"/>
          </p:nvPr>
        </p:nvSpPr>
        <p:spPr/>
        <p:txBody>
          <a:bodyPr/>
          <a:lstStyle/>
          <a:p>
            <a:fld id="{D8D1F8D1-C7FB-46BF-B328-D0A207C11741}" type="slidenum">
              <a:rPr lang="en-US" smtClean="0"/>
              <a:t>‹#›</a:t>
            </a:fld>
            <a:endParaRPr lang="en-US"/>
          </a:p>
        </p:txBody>
      </p:sp>
    </p:spTree>
    <p:extLst>
      <p:ext uri="{BB962C8B-B14F-4D97-AF65-F5344CB8AC3E}">
        <p14:creationId xmlns:p14="http://schemas.microsoft.com/office/powerpoint/2010/main" val="305045746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Quote Black">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888EC491-1C24-B94A-9B63-4FBAD642BAE9}"/>
              </a:ext>
            </a:extLst>
          </p:cNvPr>
          <p:cNvSpPr>
            <a:spLocks noGrp="1"/>
          </p:cNvSpPr>
          <p:nvPr>
            <p:ph type="subTitle" idx="1" hasCustomPrompt="1"/>
          </p:nvPr>
        </p:nvSpPr>
        <p:spPr>
          <a:xfrm>
            <a:off x="2611553" y="4137077"/>
            <a:ext cx="6968896" cy="430887"/>
          </a:xfrm>
          <a:prstGeom prst="rect">
            <a:avLst/>
          </a:prstGeom>
        </p:spPr>
        <p:txBody>
          <a:bodyPr wrap="square">
            <a:spAutoFit/>
          </a:bodyPr>
          <a:lstStyle>
            <a:lvl1pPr marL="0" indent="0" algn="ctr">
              <a:lnSpc>
                <a:spcPct val="100000"/>
              </a:lnSpc>
              <a:buNone/>
              <a:defRPr sz="2200" cap="all" spc="440" baseline="0">
                <a:solidFill>
                  <a:schemeClr val="tx1"/>
                </a:solidFill>
                <a:latin typeface="Segoe UI" panose="020B0502040204020203" pitchFamily="34" charset="0"/>
                <a:cs typeface="Segoe UI"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Speaker name or subtitle, 22pt</a:t>
            </a:r>
          </a:p>
        </p:txBody>
      </p:sp>
      <p:sp>
        <p:nvSpPr>
          <p:cNvPr id="5" name="Text Placeholder 4">
            <a:extLst>
              <a:ext uri="{FF2B5EF4-FFF2-40B4-BE49-F238E27FC236}">
                <a16:creationId xmlns:a16="http://schemas.microsoft.com/office/drawing/2014/main" id="{8BAEFE32-6500-6148-82F2-4CE1E691ACC1}"/>
              </a:ext>
            </a:extLst>
          </p:cNvPr>
          <p:cNvSpPr>
            <a:spLocks noGrp="1"/>
          </p:cNvSpPr>
          <p:nvPr>
            <p:ph type="body" sz="quarter" idx="10" hasCustomPrompt="1"/>
          </p:nvPr>
        </p:nvSpPr>
        <p:spPr>
          <a:xfrm>
            <a:off x="2611552" y="2460172"/>
            <a:ext cx="6968897" cy="1349602"/>
          </a:xfrm>
          <a:prstGeom prst="rect">
            <a:avLst/>
          </a:prstGeom>
        </p:spPr>
        <p:txBody>
          <a:bodyPr/>
          <a:lstStyle>
            <a:lvl1pPr marL="0" indent="0" algn="ctr">
              <a:lnSpc>
                <a:spcPct val="120000"/>
              </a:lnSpc>
              <a:buNone/>
              <a:defRPr sz="2200" b="0" i="0" spc="0" baseline="0">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a:t>
            </a:r>
            <a:br>
              <a:rPr lang="en-US"/>
            </a:b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br>
              <a:rPr lang="en-US"/>
            </a:br>
            <a:r>
              <a:rPr lang="en-US" err="1"/>
              <a:t>incididunt</a:t>
            </a:r>
            <a:r>
              <a:rPr lang="en-US"/>
              <a:t> </a:t>
            </a:r>
            <a:r>
              <a:rPr lang="en-US" err="1"/>
              <a:t>ut</a:t>
            </a:r>
            <a:r>
              <a:rPr lang="en-US"/>
              <a:t> </a:t>
            </a:r>
            <a:r>
              <a:rPr lang="en-US" err="1"/>
              <a:t>labore</a:t>
            </a:r>
            <a:r>
              <a:rPr lang="en-US"/>
              <a:t> et dolore magna </a:t>
            </a:r>
            <a:r>
              <a:rPr lang="en-US" err="1"/>
              <a:t>aliqua</a:t>
            </a:r>
            <a:r>
              <a:rPr lang="en-US"/>
              <a:t>.” 22pt</a:t>
            </a:r>
          </a:p>
        </p:txBody>
      </p:sp>
      <p:grpSp>
        <p:nvGrpSpPr>
          <p:cNvPr id="6" name="Group 5">
            <a:extLst>
              <a:ext uri="{FF2B5EF4-FFF2-40B4-BE49-F238E27FC236}">
                <a16:creationId xmlns:a16="http://schemas.microsoft.com/office/drawing/2014/main" id="{C1B6FB3F-86B0-F24A-938A-BA5676A17EBB}"/>
              </a:ext>
            </a:extLst>
          </p:cNvPr>
          <p:cNvGrpSpPr/>
          <p:nvPr userDrawn="1"/>
        </p:nvGrpSpPr>
        <p:grpSpPr>
          <a:xfrm rot="5400000">
            <a:off x="10128268" y="2370357"/>
            <a:ext cx="6748141" cy="2227148"/>
            <a:chOff x="8206313" y="6182284"/>
            <a:chExt cx="12824005" cy="4231313"/>
          </a:xfrm>
        </p:grpSpPr>
        <p:pic>
          <p:nvPicPr>
            <p:cNvPr id="7" name="Image" descr="Image">
              <a:extLst>
                <a:ext uri="{FF2B5EF4-FFF2-40B4-BE49-F238E27FC236}">
                  <a16:creationId xmlns:a16="http://schemas.microsoft.com/office/drawing/2014/main" id="{283D4BED-A46C-904E-83B9-B9B92D512F77}"/>
                </a:ext>
              </a:extLst>
            </p:cNvPr>
            <p:cNvPicPr>
              <a:picLocks noChangeAspect="1"/>
            </p:cNvPicPr>
            <p:nvPr userDrawn="1"/>
          </p:nvPicPr>
          <p:blipFill>
            <a:blip r:embed="rId2"/>
            <a:srcRect b="20208"/>
            <a:stretch>
              <a:fillRect/>
            </a:stretch>
          </p:blipFill>
          <p:spPr>
            <a:xfrm>
              <a:off x="9825738" y="6285642"/>
              <a:ext cx="11204580" cy="2819606"/>
            </a:xfrm>
            <a:prstGeom prst="rect">
              <a:avLst/>
            </a:prstGeom>
            <a:ln w="12700">
              <a:miter lim="400000"/>
            </a:ln>
          </p:spPr>
        </p:pic>
        <p:sp>
          <p:nvSpPr>
            <p:cNvPr id="8" name="R134 G97 B197…">
              <a:extLst>
                <a:ext uri="{FF2B5EF4-FFF2-40B4-BE49-F238E27FC236}">
                  <a16:creationId xmlns:a16="http://schemas.microsoft.com/office/drawing/2014/main" id="{AA8BD064-D5DF-1843-A453-FD6F500426EE}"/>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0" name="R59 G46 B88…">
              <a:extLst>
                <a:ext uri="{FF2B5EF4-FFF2-40B4-BE49-F238E27FC236}">
                  <a16:creationId xmlns:a16="http://schemas.microsoft.com/office/drawing/2014/main" id="{EA6A3093-C04F-2E47-9455-811BD8DDCF06}"/>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1" name="R213 G157 B255…">
              <a:extLst>
                <a:ext uri="{FF2B5EF4-FFF2-40B4-BE49-F238E27FC236}">
                  <a16:creationId xmlns:a16="http://schemas.microsoft.com/office/drawing/2014/main" id="{D0603156-7C79-0B4C-8409-6A14E8974898}"/>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2" name="R161 G133 B210…">
              <a:extLst>
                <a:ext uri="{FF2B5EF4-FFF2-40B4-BE49-F238E27FC236}">
                  <a16:creationId xmlns:a16="http://schemas.microsoft.com/office/drawing/2014/main" id="{287424CE-4273-9340-86EE-3370A10C95EF}"/>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3" name="R0 G120 B212…">
              <a:extLst>
                <a:ext uri="{FF2B5EF4-FFF2-40B4-BE49-F238E27FC236}">
                  <a16:creationId xmlns:a16="http://schemas.microsoft.com/office/drawing/2014/main" id="{437B39D9-C292-2449-908D-C180CDFDEBEE}"/>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4" name="R36 G58 B94…">
              <a:extLst>
                <a:ext uri="{FF2B5EF4-FFF2-40B4-BE49-F238E27FC236}">
                  <a16:creationId xmlns:a16="http://schemas.microsoft.com/office/drawing/2014/main" id="{B872BDC9-2C39-994A-840E-90F111A9AACD}"/>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5" name="R80 G230 B255…">
              <a:extLst>
                <a:ext uri="{FF2B5EF4-FFF2-40B4-BE49-F238E27FC236}">
                  <a16:creationId xmlns:a16="http://schemas.microsoft.com/office/drawing/2014/main" id="{84EF78B7-B61B-C34D-B710-FA636CCC17C3}"/>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6" name="R40 G167 B233…">
              <a:extLst>
                <a:ext uri="{FF2B5EF4-FFF2-40B4-BE49-F238E27FC236}">
                  <a16:creationId xmlns:a16="http://schemas.microsoft.com/office/drawing/2014/main" id="{50FAA26B-811E-2246-9CE3-6C7E763C0A66}"/>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17" name="R0 G133 B117   Hex #008575   C100 M15 Y60 K0   PMS 3285 C">
              <a:extLst>
                <a:ext uri="{FF2B5EF4-FFF2-40B4-BE49-F238E27FC236}">
                  <a16:creationId xmlns:a16="http://schemas.microsoft.com/office/drawing/2014/main" id="{12513E89-44C0-5040-AC07-96B414F9B275}"/>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18" name="R39 G75 B71   Hex #274b47…">
              <a:extLst>
                <a:ext uri="{FF2B5EF4-FFF2-40B4-BE49-F238E27FC236}">
                  <a16:creationId xmlns:a16="http://schemas.microsoft.com/office/drawing/2014/main" id="{ECECA43E-F361-E947-B9A6-8D0C6D47D77D}"/>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19" name="R48 G229 B208…">
              <a:extLst>
                <a:ext uri="{FF2B5EF4-FFF2-40B4-BE49-F238E27FC236}">
                  <a16:creationId xmlns:a16="http://schemas.microsoft.com/office/drawing/2014/main" id="{727421A1-E37E-F14E-80BB-0D5C402D7600}"/>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0" name="R40 G194 B209…">
              <a:extLst>
                <a:ext uri="{FF2B5EF4-FFF2-40B4-BE49-F238E27FC236}">
                  <a16:creationId xmlns:a16="http://schemas.microsoft.com/office/drawing/2014/main" id="{37EE231A-51CE-024E-9CB4-CC8FA2217DD9}"/>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1" name="R16 G124 B16  Hex #107c10  C75 M0 Y100 K0   PMS 362 C">
              <a:extLst>
                <a:ext uri="{FF2B5EF4-FFF2-40B4-BE49-F238E27FC236}">
                  <a16:creationId xmlns:a16="http://schemas.microsoft.com/office/drawing/2014/main" id="{8314D691-744E-6A46-BEEC-11B5BB520BEB}"/>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2" name="R5 G75 B22   Hex #054b16…">
              <a:extLst>
                <a:ext uri="{FF2B5EF4-FFF2-40B4-BE49-F238E27FC236}">
                  <a16:creationId xmlns:a16="http://schemas.microsoft.com/office/drawing/2014/main" id="{3FB4E0BF-EDC8-534C-B6B6-C6101C26E669}"/>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3" name="R155 G240 B11…">
              <a:extLst>
                <a:ext uri="{FF2B5EF4-FFF2-40B4-BE49-F238E27FC236}">
                  <a16:creationId xmlns:a16="http://schemas.microsoft.com/office/drawing/2014/main" id="{C5630AE6-156F-E347-8BD6-948BA75E6474}"/>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4" name="R127 G186 B0…">
              <a:extLst>
                <a:ext uri="{FF2B5EF4-FFF2-40B4-BE49-F238E27FC236}">
                  <a16:creationId xmlns:a16="http://schemas.microsoft.com/office/drawing/2014/main" id="{255A1E7E-AF91-3045-A4AE-F9858A257672}"/>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5" name="R216 G59 B1…">
              <a:extLst>
                <a:ext uri="{FF2B5EF4-FFF2-40B4-BE49-F238E27FC236}">
                  <a16:creationId xmlns:a16="http://schemas.microsoft.com/office/drawing/2014/main" id="{53906A8F-930C-AB4C-A2E4-72FA1727FF32}"/>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6" name="R107 G41 B41…">
              <a:extLst>
                <a:ext uri="{FF2B5EF4-FFF2-40B4-BE49-F238E27FC236}">
                  <a16:creationId xmlns:a16="http://schemas.microsoft.com/office/drawing/2014/main" id="{9D3A9914-F684-3647-846B-A560A548A3BB}"/>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27" name="R255 G147 B73…">
              <a:extLst>
                <a:ext uri="{FF2B5EF4-FFF2-40B4-BE49-F238E27FC236}">
                  <a16:creationId xmlns:a16="http://schemas.microsoft.com/office/drawing/2014/main" id="{D3699238-9EA3-0742-A247-AA0905E926E1}"/>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28" name="R241 G101 B34…">
              <a:extLst>
                <a:ext uri="{FF2B5EF4-FFF2-40B4-BE49-F238E27FC236}">
                  <a16:creationId xmlns:a16="http://schemas.microsoft.com/office/drawing/2014/main" id="{2FA3FB3D-3CE9-0F49-AE9C-B7B03F8580AC}"/>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29" name="R255 G185 B0…">
              <a:extLst>
                <a:ext uri="{FF2B5EF4-FFF2-40B4-BE49-F238E27FC236}">
                  <a16:creationId xmlns:a16="http://schemas.microsoft.com/office/drawing/2014/main" id="{EB556B2B-8EF2-D94C-9B22-63EB5C57180E}"/>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0" name="R106 G75 B22…">
              <a:extLst>
                <a:ext uri="{FF2B5EF4-FFF2-40B4-BE49-F238E27FC236}">
                  <a16:creationId xmlns:a16="http://schemas.microsoft.com/office/drawing/2014/main" id="{7C5425CE-E4CC-AE46-A6A4-AC9D48322CEE}"/>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1" name="R254 G240 B0…">
              <a:extLst>
                <a:ext uri="{FF2B5EF4-FFF2-40B4-BE49-F238E27FC236}">
                  <a16:creationId xmlns:a16="http://schemas.microsoft.com/office/drawing/2014/main" id="{A761C67C-3535-4446-84F6-97297739F793}"/>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2" name="R254 G212 B0…">
              <a:extLst>
                <a:ext uri="{FF2B5EF4-FFF2-40B4-BE49-F238E27FC236}">
                  <a16:creationId xmlns:a16="http://schemas.microsoft.com/office/drawing/2014/main" id="{32CBD316-139C-D445-A34D-8B0C8F310CA6}"/>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3" name="Image" descr="Image">
              <a:extLst>
                <a:ext uri="{FF2B5EF4-FFF2-40B4-BE49-F238E27FC236}">
                  <a16:creationId xmlns:a16="http://schemas.microsoft.com/office/drawing/2014/main" id="{2273861A-65C8-AE4D-B420-3D441ECB9937}"/>
                </a:ext>
              </a:extLst>
            </p:cNvPr>
            <p:cNvPicPr>
              <a:picLocks noChangeAspect="1"/>
            </p:cNvPicPr>
            <p:nvPr userDrawn="1"/>
          </p:nvPicPr>
          <p:blipFill>
            <a:blip r:embed="rId3"/>
            <a:stretch>
              <a:fillRect/>
            </a:stretch>
          </p:blipFill>
          <p:spPr>
            <a:xfrm>
              <a:off x="9825738" y="9911907"/>
              <a:ext cx="11204576" cy="501690"/>
            </a:xfrm>
            <a:prstGeom prst="rect">
              <a:avLst/>
            </a:prstGeom>
            <a:ln w="12700">
              <a:miter lim="400000"/>
            </a:ln>
          </p:spPr>
        </p:pic>
        <p:sp>
          <p:nvSpPr>
            <p:cNvPr id="34" name="R242 G242 B242…">
              <a:extLst>
                <a:ext uri="{FF2B5EF4-FFF2-40B4-BE49-F238E27FC236}">
                  <a16:creationId xmlns:a16="http://schemas.microsoft.com/office/drawing/2014/main" id="{0A99623C-0664-AD42-8EE0-4B9975A379AB}"/>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5" name="R230 G230 B230…">
              <a:extLst>
                <a:ext uri="{FF2B5EF4-FFF2-40B4-BE49-F238E27FC236}">
                  <a16:creationId xmlns:a16="http://schemas.microsoft.com/office/drawing/2014/main" id="{1850ECE4-E22D-7B4B-9987-9A4D957F1D37}"/>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6" name="R210 G210 B210…">
              <a:extLst>
                <a:ext uri="{FF2B5EF4-FFF2-40B4-BE49-F238E27FC236}">
                  <a16:creationId xmlns:a16="http://schemas.microsoft.com/office/drawing/2014/main" id="{3650D9DE-5F16-8F4C-A39D-D99E083E2B9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37" name="R115 G115 B115…">
              <a:extLst>
                <a:ext uri="{FF2B5EF4-FFF2-40B4-BE49-F238E27FC236}">
                  <a16:creationId xmlns:a16="http://schemas.microsoft.com/office/drawing/2014/main" id="{3F4AD3A5-1D60-5946-969A-95BD8F45CC6F}"/>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38" name="R80 G80 B80…">
              <a:extLst>
                <a:ext uri="{FF2B5EF4-FFF2-40B4-BE49-F238E27FC236}">
                  <a16:creationId xmlns:a16="http://schemas.microsoft.com/office/drawing/2014/main" id="{E3CC6CD8-98EE-0842-BE06-00097DF0B4E5}"/>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39" name="R47 G47 B47…">
              <a:extLst>
                <a:ext uri="{FF2B5EF4-FFF2-40B4-BE49-F238E27FC236}">
                  <a16:creationId xmlns:a16="http://schemas.microsoft.com/office/drawing/2014/main" id="{433EC8C7-81B8-774B-9430-DBF85FC0F68D}"/>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0" name="R0 G0 B0…">
              <a:extLst>
                <a:ext uri="{FF2B5EF4-FFF2-40B4-BE49-F238E27FC236}">
                  <a16:creationId xmlns:a16="http://schemas.microsoft.com/office/drawing/2014/main" id="{61AD9472-9E98-2840-850E-217E1959E4DE}"/>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1" name="Primary">
              <a:extLst>
                <a:ext uri="{FF2B5EF4-FFF2-40B4-BE49-F238E27FC236}">
                  <a16:creationId xmlns:a16="http://schemas.microsoft.com/office/drawing/2014/main" id="{3F5C37D3-012C-6A4E-935C-8B7B1AEF0507}"/>
                </a:ext>
              </a:extLst>
            </p:cNvPr>
            <p:cNvSpPr txBox="1"/>
            <p:nvPr userDrawn="1"/>
          </p:nvSpPr>
          <p:spPr>
            <a:xfrm>
              <a:off x="8479813" y="6182284"/>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2" name="Secondary">
              <a:extLst>
                <a:ext uri="{FF2B5EF4-FFF2-40B4-BE49-F238E27FC236}">
                  <a16:creationId xmlns:a16="http://schemas.microsoft.com/office/drawing/2014/main" id="{D3002086-8480-1E44-9E16-9EE0F4861015}"/>
                </a:ext>
              </a:extLst>
            </p:cNvPr>
            <p:cNvSpPr txBox="1"/>
            <p:nvPr userDrawn="1"/>
          </p:nvSpPr>
          <p:spPr>
            <a:xfrm>
              <a:off x="8206313" y="6837392"/>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3" name="Primary">
              <a:extLst>
                <a:ext uri="{FF2B5EF4-FFF2-40B4-BE49-F238E27FC236}">
                  <a16:creationId xmlns:a16="http://schemas.microsoft.com/office/drawing/2014/main" id="{AC8DCEF6-B773-C749-8C01-07E040291577}"/>
                </a:ext>
              </a:extLst>
            </p:cNvPr>
            <p:cNvSpPr txBox="1"/>
            <p:nvPr userDrawn="1"/>
          </p:nvSpPr>
          <p:spPr>
            <a:xfrm>
              <a:off x="8479815" y="7633849"/>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4" name="Secondary">
              <a:extLst>
                <a:ext uri="{FF2B5EF4-FFF2-40B4-BE49-F238E27FC236}">
                  <a16:creationId xmlns:a16="http://schemas.microsoft.com/office/drawing/2014/main" id="{A2D9EB29-1D3C-7C42-950D-320446EBD717}"/>
                </a:ext>
              </a:extLst>
            </p:cNvPr>
            <p:cNvSpPr txBox="1"/>
            <p:nvPr userDrawn="1"/>
          </p:nvSpPr>
          <p:spPr>
            <a:xfrm>
              <a:off x="8206315" y="8332856"/>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Tree>
    <p:extLst>
      <p:ext uri="{BB962C8B-B14F-4D97-AF65-F5344CB8AC3E}">
        <p14:creationId xmlns:p14="http://schemas.microsoft.com/office/powerpoint/2010/main" val="3705562102"/>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54" name="Text Placeholder 6">
            <a:extLst>
              <a:ext uri="{FF2B5EF4-FFF2-40B4-BE49-F238E27FC236}">
                <a16:creationId xmlns:a16="http://schemas.microsoft.com/office/drawing/2014/main" id="{ADB99532-164D-AB4E-B3EA-5D5727D00742}"/>
              </a:ext>
            </a:extLst>
          </p:cNvPr>
          <p:cNvSpPr>
            <a:spLocks noGrp="1"/>
          </p:cNvSpPr>
          <p:nvPr>
            <p:ph type="body" sz="quarter" idx="10" hasCustomPrompt="1"/>
          </p:nvPr>
        </p:nvSpPr>
        <p:spPr>
          <a:xfrm>
            <a:off x="4048121" y="2019300"/>
            <a:ext cx="7564291"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Detail 1, 20-24pt</a:t>
            </a:r>
          </a:p>
          <a:p>
            <a:pPr lvl="0"/>
            <a:r>
              <a:rPr lang="en-US"/>
              <a:t>Detail 2, 20-24pt</a:t>
            </a:r>
          </a:p>
          <a:p>
            <a:pPr lvl="0"/>
            <a:r>
              <a:rPr lang="en-US"/>
              <a:t>Detail 3, 20-24pt</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a:t>Detail 4, 20-24pt</a:t>
            </a:r>
          </a:p>
          <a:p>
            <a:pPr lvl="0"/>
            <a:endParaRPr lang="en-US"/>
          </a:p>
        </p:txBody>
      </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Agenda</a:t>
            </a:r>
          </a:p>
        </p:txBody>
      </p:sp>
      <p:sp>
        <p:nvSpPr>
          <p:cNvPr id="50" name="Text Placeholder 6">
            <a:extLst>
              <a:ext uri="{FF2B5EF4-FFF2-40B4-BE49-F238E27FC236}">
                <a16:creationId xmlns:a16="http://schemas.microsoft.com/office/drawing/2014/main" id="{C6A1F9B0-9726-2C40-B822-434EDCAA2047}"/>
              </a:ext>
            </a:extLst>
          </p:cNvPr>
          <p:cNvSpPr>
            <a:spLocks noGrp="1"/>
          </p:cNvSpPr>
          <p:nvPr>
            <p:ph type="body" sz="quarter" idx="11" hasCustomPrompt="1"/>
          </p:nvPr>
        </p:nvSpPr>
        <p:spPr>
          <a:xfrm>
            <a:off x="594852" y="2019300"/>
            <a:ext cx="2832901"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sz="2000" b="1" spc="0" baseline="0">
                <a:solidFill>
                  <a:srgbClr val="2F2F2F"/>
                </a:solidFill>
                <a:latin typeface="Segoe UI" panose="020B0502040204020203" pitchFamily="34" charset="0"/>
                <a:cs typeface="Segoe UI" panose="020B0502040204020203" pitchFamily="34" charset="0"/>
              </a:defRPr>
            </a:lvl1pPr>
          </a:lstStyle>
          <a:p>
            <a:pPr lvl="0"/>
            <a:r>
              <a:rPr lang="en-US"/>
              <a:t>Agenda item 1</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t>Agenda item 2</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t>Agenda item 3</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t>Agenda item 4</a:t>
            </a:r>
          </a:p>
          <a:p>
            <a:pPr lvl="0"/>
            <a:endParaRPr lang="en-US"/>
          </a:p>
        </p:txBody>
      </p:sp>
      <p:cxnSp>
        <p:nvCxnSpPr>
          <p:cNvPr id="3" name="Straight Connector 2">
            <a:extLst>
              <a:ext uri="{FF2B5EF4-FFF2-40B4-BE49-F238E27FC236}">
                <a16:creationId xmlns:a16="http://schemas.microsoft.com/office/drawing/2014/main" id="{77219F2E-E5C2-F54D-867F-9DA413FD9B1D}"/>
              </a:ext>
            </a:extLst>
          </p:cNvPr>
          <p:cNvCxnSpPr/>
          <p:nvPr userDrawn="1"/>
        </p:nvCxnSpPr>
        <p:spPr>
          <a:xfrm>
            <a:off x="588416" y="1391478"/>
            <a:ext cx="11023996" cy="0"/>
          </a:xfrm>
          <a:prstGeom prst="line">
            <a:avLst/>
          </a:prstGeom>
          <a:noFill/>
          <a:ln w="12700" cap="flat">
            <a:solidFill>
              <a:srgbClr val="0478D4"/>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125212309"/>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288269630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x" preserve="1">
  <p:cSld name="Blank">
    <p:bg>
      <p:bgPr>
        <a:solidFill>
          <a:srgbClr val="F2F2F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29ABB5-4F33-B04C-AFF0-3805612717CB}"/>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4" name="Group 3">
            <a:extLst>
              <a:ext uri="{FF2B5EF4-FFF2-40B4-BE49-F238E27FC236}">
                <a16:creationId xmlns:a16="http://schemas.microsoft.com/office/drawing/2014/main" id="{A441B92B-640D-1E4D-8223-3E513D16942B}"/>
              </a:ext>
            </a:extLst>
          </p:cNvPr>
          <p:cNvGrpSpPr/>
          <p:nvPr userDrawn="1"/>
        </p:nvGrpSpPr>
        <p:grpSpPr>
          <a:xfrm rot="5400000">
            <a:off x="10128268" y="2370357"/>
            <a:ext cx="6748141" cy="2227148"/>
            <a:chOff x="8206313" y="6182284"/>
            <a:chExt cx="12824005" cy="4231313"/>
          </a:xfrm>
        </p:grpSpPr>
        <p:pic>
          <p:nvPicPr>
            <p:cNvPr id="5" name="Image" descr="Image">
              <a:extLst>
                <a:ext uri="{FF2B5EF4-FFF2-40B4-BE49-F238E27FC236}">
                  <a16:creationId xmlns:a16="http://schemas.microsoft.com/office/drawing/2014/main" id="{E44188F6-9A00-9D4D-BC40-4376F3DD1A85}"/>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6" name="R134 G97 B197…">
              <a:extLst>
                <a:ext uri="{FF2B5EF4-FFF2-40B4-BE49-F238E27FC236}">
                  <a16:creationId xmlns:a16="http://schemas.microsoft.com/office/drawing/2014/main" id="{DFC3007F-3588-9D43-A360-DC86C3FACEAD}"/>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7" name="R59 G46 B88…">
              <a:extLst>
                <a:ext uri="{FF2B5EF4-FFF2-40B4-BE49-F238E27FC236}">
                  <a16:creationId xmlns:a16="http://schemas.microsoft.com/office/drawing/2014/main" id="{5FB5AB3C-2F67-9B4F-ABDF-FD740A2264ED}"/>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8" name="R213 G157 B255…">
              <a:extLst>
                <a:ext uri="{FF2B5EF4-FFF2-40B4-BE49-F238E27FC236}">
                  <a16:creationId xmlns:a16="http://schemas.microsoft.com/office/drawing/2014/main" id="{73F0DA44-B96D-6E45-A170-11844A1361FD}"/>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0" name="R161 G133 B210…">
              <a:extLst>
                <a:ext uri="{FF2B5EF4-FFF2-40B4-BE49-F238E27FC236}">
                  <a16:creationId xmlns:a16="http://schemas.microsoft.com/office/drawing/2014/main" id="{B4026D13-5298-2946-8040-74FCAFFCA199}"/>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1" name="R0 G120 B212…">
              <a:extLst>
                <a:ext uri="{FF2B5EF4-FFF2-40B4-BE49-F238E27FC236}">
                  <a16:creationId xmlns:a16="http://schemas.microsoft.com/office/drawing/2014/main" id="{2FEA6EB9-1860-244B-9897-AA5B6FDB4D31}"/>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2" name="R36 G58 B94…">
              <a:extLst>
                <a:ext uri="{FF2B5EF4-FFF2-40B4-BE49-F238E27FC236}">
                  <a16:creationId xmlns:a16="http://schemas.microsoft.com/office/drawing/2014/main" id="{12BD0209-1457-F249-83CC-7155A757C2A7}"/>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3" name="R80 G230 B255…">
              <a:extLst>
                <a:ext uri="{FF2B5EF4-FFF2-40B4-BE49-F238E27FC236}">
                  <a16:creationId xmlns:a16="http://schemas.microsoft.com/office/drawing/2014/main" id="{9E8407FE-D45E-1F4A-8227-7BE2DB23D6EF}"/>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4" name="R40 G167 B233…">
              <a:extLst>
                <a:ext uri="{FF2B5EF4-FFF2-40B4-BE49-F238E27FC236}">
                  <a16:creationId xmlns:a16="http://schemas.microsoft.com/office/drawing/2014/main" id="{E229A4C4-BE9D-0F47-9E21-5CF3345767AB}"/>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15" name="R0 G133 B117   Hex #008575   C100 M15 Y60 K0   PMS 3285 C">
              <a:extLst>
                <a:ext uri="{FF2B5EF4-FFF2-40B4-BE49-F238E27FC236}">
                  <a16:creationId xmlns:a16="http://schemas.microsoft.com/office/drawing/2014/main" id="{D44177AA-FEE3-6241-A3EE-9414C4CED4C1}"/>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16" name="R39 G75 B71   Hex #274b47…">
              <a:extLst>
                <a:ext uri="{FF2B5EF4-FFF2-40B4-BE49-F238E27FC236}">
                  <a16:creationId xmlns:a16="http://schemas.microsoft.com/office/drawing/2014/main" id="{0B5EE5C3-6A13-0548-8D66-6FD18D9AF523}"/>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17" name="R48 G229 B208…">
              <a:extLst>
                <a:ext uri="{FF2B5EF4-FFF2-40B4-BE49-F238E27FC236}">
                  <a16:creationId xmlns:a16="http://schemas.microsoft.com/office/drawing/2014/main" id="{C6388E27-AB2E-0343-86F1-36B8EAFF3D4F}"/>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18" name="R40 G194 B209…">
              <a:extLst>
                <a:ext uri="{FF2B5EF4-FFF2-40B4-BE49-F238E27FC236}">
                  <a16:creationId xmlns:a16="http://schemas.microsoft.com/office/drawing/2014/main" id="{F219F6F1-D84F-684E-AB72-030E4A0AC4DF}"/>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19" name="R16 G124 B16  Hex #107c10  C75 M0 Y100 K0   PMS 362 C">
              <a:extLst>
                <a:ext uri="{FF2B5EF4-FFF2-40B4-BE49-F238E27FC236}">
                  <a16:creationId xmlns:a16="http://schemas.microsoft.com/office/drawing/2014/main" id="{BF17FAA6-BDB6-BC4D-912B-90516EE6FEC1}"/>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0" name="R5 G75 B22   Hex #054b16…">
              <a:extLst>
                <a:ext uri="{FF2B5EF4-FFF2-40B4-BE49-F238E27FC236}">
                  <a16:creationId xmlns:a16="http://schemas.microsoft.com/office/drawing/2014/main" id="{0BBE1C91-D002-1644-AD23-4684A805EFE7}"/>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1" name="R155 G240 B11…">
              <a:extLst>
                <a:ext uri="{FF2B5EF4-FFF2-40B4-BE49-F238E27FC236}">
                  <a16:creationId xmlns:a16="http://schemas.microsoft.com/office/drawing/2014/main" id="{8D369F68-8235-3740-A6CB-D38E711462F5}"/>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2" name="R127 G186 B0…">
              <a:extLst>
                <a:ext uri="{FF2B5EF4-FFF2-40B4-BE49-F238E27FC236}">
                  <a16:creationId xmlns:a16="http://schemas.microsoft.com/office/drawing/2014/main" id="{18A141F0-67EC-CE48-8101-E8BA9B6132D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3" name="R216 G59 B1…">
              <a:extLst>
                <a:ext uri="{FF2B5EF4-FFF2-40B4-BE49-F238E27FC236}">
                  <a16:creationId xmlns:a16="http://schemas.microsoft.com/office/drawing/2014/main" id="{3EEE95DC-3BF8-8743-9244-96CD7DFEE375}"/>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4" name="R107 G41 B41…">
              <a:extLst>
                <a:ext uri="{FF2B5EF4-FFF2-40B4-BE49-F238E27FC236}">
                  <a16:creationId xmlns:a16="http://schemas.microsoft.com/office/drawing/2014/main" id="{D1ECA49C-DD08-EF48-A757-F09DEDA4B3D4}"/>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25" name="R255 G147 B73…">
              <a:extLst>
                <a:ext uri="{FF2B5EF4-FFF2-40B4-BE49-F238E27FC236}">
                  <a16:creationId xmlns:a16="http://schemas.microsoft.com/office/drawing/2014/main" id="{C2EF966E-253F-D140-A67B-C7B7E6C91733}"/>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26" name="R241 G101 B34…">
              <a:extLst>
                <a:ext uri="{FF2B5EF4-FFF2-40B4-BE49-F238E27FC236}">
                  <a16:creationId xmlns:a16="http://schemas.microsoft.com/office/drawing/2014/main" id="{F60DCB26-402B-D04C-948F-DE4813221718}"/>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27" name="R255 G185 B0…">
              <a:extLst>
                <a:ext uri="{FF2B5EF4-FFF2-40B4-BE49-F238E27FC236}">
                  <a16:creationId xmlns:a16="http://schemas.microsoft.com/office/drawing/2014/main" id="{FD7B5561-D5B3-C942-9970-CA280F6C81C4}"/>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28" name="R106 G75 B22…">
              <a:extLst>
                <a:ext uri="{FF2B5EF4-FFF2-40B4-BE49-F238E27FC236}">
                  <a16:creationId xmlns:a16="http://schemas.microsoft.com/office/drawing/2014/main" id="{EA71BF1F-612B-D944-B2AC-6FA71CD5995D}"/>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29" name="R254 G240 B0…">
              <a:extLst>
                <a:ext uri="{FF2B5EF4-FFF2-40B4-BE49-F238E27FC236}">
                  <a16:creationId xmlns:a16="http://schemas.microsoft.com/office/drawing/2014/main" id="{8D4E9CC4-5777-0945-B7E1-C13AA280B1FF}"/>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0" name="R254 G212 B0…">
              <a:extLst>
                <a:ext uri="{FF2B5EF4-FFF2-40B4-BE49-F238E27FC236}">
                  <a16:creationId xmlns:a16="http://schemas.microsoft.com/office/drawing/2014/main" id="{1B023192-B330-3C4A-9210-32EBB85FBE0D}"/>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1" name="Image" descr="Image">
              <a:extLst>
                <a:ext uri="{FF2B5EF4-FFF2-40B4-BE49-F238E27FC236}">
                  <a16:creationId xmlns:a16="http://schemas.microsoft.com/office/drawing/2014/main" id="{5720E2F2-B39E-D543-A24C-26FD0765087E}"/>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2" name="R242 G242 B242…">
              <a:extLst>
                <a:ext uri="{FF2B5EF4-FFF2-40B4-BE49-F238E27FC236}">
                  <a16:creationId xmlns:a16="http://schemas.microsoft.com/office/drawing/2014/main" id="{E0625094-1C8F-EF49-8192-8620088F4330}"/>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3" name="R230 G230 B230…">
              <a:extLst>
                <a:ext uri="{FF2B5EF4-FFF2-40B4-BE49-F238E27FC236}">
                  <a16:creationId xmlns:a16="http://schemas.microsoft.com/office/drawing/2014/main" id="{F82EB461-03B4-394E-80AB-C91B99420037}"/>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4" name="R210 G210 B210…">
              <a:extLst>
                <a:ext uri="{FF2B5EF4-FFF2-40B4-BE49-F238E27FC236}">
                  <a16:creationId xmlns:a16="http://schemas.microsoft.com/office/drawing/2014/main" id="{9470BBE0-8B89-494A-B521-368BA969C1D5}"/>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35" name="R115 G115 B115…">
              <a:extLst>
                <a:ext uri="{FF2B5EF4-FFF2-40B4-BE49-F238E27FC236}">
                  <a16:creationId xmlns:a16="http://schemas.microsoft.com/office/drawing/2014/main" id="{3FCFD05B-8721-764B-A618-EC896F80ECAF}"/>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36" name="R80 G80 B80…">
              <a:extLst>
                <a:ext uri="{FF2B5EF4-FFF2-40B4-BE49-F238E27FC236}">
                  <a16:creationId xmlns:a16="http://schemas.microsoft.com/office/drawing/2014/main" id="{F4833C41-1B8D-9C49-B5DE-4CC8E79A4971}"/>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37" name="R47 G47 B47…">
              <a:extLst>
                <a:ext uri="{FF2B5EF4-FFF2-40B4-BE49-F238E27FC236}">
                  <a16:creationId xmlns:a16="http://schemas.microsoft.com/office/drawing/2014/main" id="{0FBE3A4F-20F7-4049-9215-EB2EC0E60963}"/>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38" name="R0 G0 B0…">
              <a:extLst>
                <a:ext uri="{FF2B5EF4-FFF2-40B4-BE49-F238E27FC236}">
                  <a16:creationId xmlns:a16="http://schemas.microsoft.com/office/drawing/2014/main" id="{2ADE1AE9-0BC1-DF42-A655-C6E581B865C3}"/>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39" name="Primary">
              <a:extLst>
                <a:ext uri="{FF2B5EF4-FFF2-40B4-BE49-F238E27FC236}">
                  <a16:creationId xmlns:a16="http://schemas.microsoft.com/office/drawing/2014/main" id="{C972B520-2845-D648-A744-0A5E6D2E0368}"/>
                </a:ext>
              </a:extLst>
            </p:cNvPr>
            <p:cNvSpPr txBox="1"/>
            <p:nvPr userDrawn="1"/>
          </p:nvSpPr>
          <p:spPr>
            <a:xfrm>
              <a:off x="8479813" y="6182284"/>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0" name="Secondary">
              <a:extLst>
                <a:ext uri="{FF2B5EF4-FFF2-40B4-BE49-F238E27FC236}">
                  <a16:creationId xmlns:a16="http://schemas.microsoft.com/office/drawing/2014/main" id="{AADE4F1F-3EDA-8E46-BB16-FAD3534012B4}"/>
                </a:ext>
              </a:extLst>
            </p:cNvPr>
            <p:cNvSpPr txBox="1"/>
            <p:nvPr userDrawn="1"/>
          </p:nvSpPr>
          <p:spPr>
            <a:xfrm>
              <a:off x="8206313" y="6837392"/>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1" name="Primary">
              <a:extLst>
                <a:ext uri="{FF2B5EF4-FFF2-40B4-BE49-F238E27FC236}">
                  <a16:creationId xmlns:a16="http://schemas.microsoft.com/office/drawing/2014/main" id="{B1888F3B-F42D-044A-BC01-C22A9CBBC329}"/>
                </a:ext>
              </a:extLst>
            </p:cNvPr>
            <p:cNvSpPr txBox="1"/>
            <p:nvPr userDrawn="1"/>
          </p:nvSpPr>
          <p:spPr>
            <a:xfrm>
              <a:off x="8479815" y="7633849"/>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2" name="Secondary">
              <a:extLst>
                <a:ext uri="{FF2B5EF4-FFF2-40B4-BE49-F238E27FC236}">
                  <a16:creationId xmlns:a16="http://schemas.microsoft.com/office/drawing/2014/main" id="{A484FC6A-40AE-C34E-9C4A-852A57731C21}"/>
                </a:ext>
              </a:extLst>
            </p:cNvPr>
            <p:cNvSpPr txBox="1"/>
            <p:nvPr userDrawn="1"/>
          </p:nvSpPr>
          <p:spPr>
            <a:xfrm>
              <a:off x="8206315" y="8332856"/>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Tree>
    <p:extLst>
      <p:ext uri="{BB962C8B-B14F-4D97-AF65-F5344CB8AC3E}">
        <p14:creationId xmlns:p14="http://schemas.microsoft.com/office/powerpoint/2010/main" val="2401024474"/>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ex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54" name="Text Placeholder 6">
            <a:extLst>
              <a:ext uri="{FF2B5EF4-FFF2-40B4-BE49-F238E27FC236}">
                <a16:creationId xmlns:a16="http://schemas.microsoft.com/office/drawing/2014/main" id="{ADB99532-164D-AB4E-B3EA-5D5727D00742}"/>
              </a:ext>
            </a:extLst>
          </p:cNvPr>
          <p:cNvSpPr>
            <a:spLocks noGrp="1"/>
          </p:cNvSpPr>
          <p:nvPr>
            <p:ph type="body" sz="quarter" idx="10" hasCustomPrompt="1"/>
          </p:nvPr>
        </p:nvSpPr>
        <p:spPr>
          <a:xfrm>
            <a:off x="574245" y="2019300"/>
            <a:ext cx="11038167" cy="3381756"/>
          </a:xfrm>
          <a:prstGeom prst="rect">
            <a:avLst/>
          </a:prstGeom>
        </p:spPr>
        <p:txBody>
          <a:bodyPr/>
          <a:lstStyle>
            <a:lvl1pPr marL="0" marR="0" indent="0" algn="l" defTabSz="457109" rtl="0" eaLnBrk="1" fontAlgn="auto" latinLnBrk="0" hangingPunct="1">
              <a:lnSpc>
                <a:spcPct val="100000"/>
              </a:lnSpc>
              <a:spcBef>
                <a:spcPts val="0"/>
              </a:spcBef>
              <a:spcAft>
                <a:spcPts val="0"/>
              </a:spcAft>
              <a:buClrTx/>
              <a:buSzTx/>
              <a:buFont typeface="Arial" panose="020B0604020202020204" pitchFamily="34" charset="0"/>
              <a:buNone/>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Body copy, 20-24pt</a:t>
            </a:r>
          </a:p>
          <a:p>
            <a:pPr lvl="0"/>
            <a:endParaRPr lang="en-US"/>
          </a:p>
        </p:txBody>
      </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Basic text</a:t>
            </a:r>
          </a:p>
        </p:txBody>
      </p:sp>
    </p:spTree>
    <p:extLst>
      <p:ext uri="{BB962C8B-B14F-4D97-AF65-F5344CB8AC3E}">
        <p14:creationId xmlns:p14="http://schemas.microsoft.com/office/powerpoint/2010/main" val="2039125822"/>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ontent Blank">
    <p:bg>
      <p:bgPr>
        <a:solidFill>
          <a:srgbClr val="F2F2F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2"/>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3"/>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54" name="Text Placeholder 6">
            <a:extLst>
              <a:ext uri="{FF2B5EF4-FFF2-40B4-BE49-F238E27FC236}">
                <a16:creationId xmlns:a16="http://schemas.microsoft.com/office/drawing/2014/main" id="{ADB99532-164D-AB4E-B3EA-5D5727D00742}"/>
              </a:ext>
            </a:extLst>
          </p:cNvPr>
          <p:cNvSpPr>
            <a:spLocks noGrp="1"/>
          </p:cNvSpPr>
          <p:nvPr>
            <p:ph type="body" sz="quarter" idx="10" hasCustomPrompt="1"/>
          </p:nvPr>
        </p:nvSpPr>
        <p:spPr>
          <a:xfrm>
            <a:off x="574245" y="2019300"/>
            <a:ext cx="11038167" cy="3381756"/>
          </a:xfrm>
          <a:prstGeom prst="rect">
            <a:avLst/>
          </a:prstGeom>
        </p:spPr>
        <p:txBody>
          <a:bodyPr/>
          <a:lstStyle>
            <a:lvl1pPr marL="0" marR="0" indent="0" algn="l" defTabSz="457109" rtl="0" eaLnBrk="1" fontAlgn="auto" latinLnBrk="0" hangingPunct="1">
              <a:lnSpc>
                <a:spcPct val="100000"/>
              </a:lnSpc>
              <a:spcBef>
                <a:spcPts val="0"/>
              </a:spcBef>
              <a:spcAft>
                <a:spcPts val="0"/>
              </a:spcAft>
              <a:buClrTx/>
              <a:buSzTx/>
              <a:buFont typeface="Arial" panose="020B0604020202020204" pitchFamily="34" charset="0"/>
              <a:buNone/>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Body copy, 20-24pt</a:t>
            </a:r>
          </a:p>
          <a:p>
            <a:pPr lvl="0"/>
            <a:endParaRPr lang="en-US"/>
          </a:p>
        </p:txBody>
      </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Basic text (no background)</a:t>
            </a:r>
          </a:p>
        </p:txBody>
      </p:sp>
    </p:spTree>
    <p:extLst>
      <p:ext uri="{BB962C8B-B14F-4D97-AF65-F5344CB8AC3E}">
        <p14:creationId xmlns:p14="http://schemas.microsoft.com/office/powerpoint/2010/main" val="1337319344"/>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Lis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List</a:t>
            </a:r>
          </a:p>
        </p:txBody>
      </p:sp>
      <p:sp>
        <p:nvSpPr>
          <p:cNvPr id="50" name="Text Placeholder 6">
            <a:extLst>
              <a:ext uri="{FF2B5EF4-FFF2-40B4-BE49-F238E27FC236}">
                <a16:creationId xmlns:a16="http://schemas.microsoft.com/office/drawing/2014/main" id="{F02C43B8-DD0F-C048-9F6E-784256D487F9}"/>
              </a:ext>
            </a:extLst>
          </p:cNvPr>
          <p:cNvSpPr>
            <a:spLocks noGrp="1"/>
          </p:cNvSpPr>
          <p:nvPr>
            <p:ph type="body" sz="quarter" idx="10" hasCustomPrompt="1"/>
          </p:nvPr>
        </p:nvSpPr>
        <p:spPr>
          <a:xfrm>
            <a:off x="574245" y="2019300"/>
            <a:ext cx="11038167"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Bulleted list, 20-24pt</a:t>
            </a:r>
          </a:p>
          <a:p>
            <a:pPr lvl="0"/>
            <a:r>
              <a:rPr lang="en-US"/>
              <a:t>Bulleted list, 20-24pt</a:t>
            </a:r>
          </a:p>
          <a:p>
            <a:pPr lvl="0"/>
            <a:r>
              <a:rPr lang="en-US"/>
              <a:t>Bulleted list, 20-24pt</a:t>
            </a:r>
          </a:p>
          <a:p>
            <a:pPr lvl="0"/>
            <a:endParaRPr lang="en-US"/>
          </a:p>
        </p:txBody>
      </p:sp>
    </p:spTree>
    <p:extLst>
      <p:ext uri="{BB962C8B-B14F-4D97-AF65-F5344CB8AC3E}">
        <p14:creationId xmlns:p14="http://schemas.microsoft.com/office/powerpoint/2010/main" val="48564937"/>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Comparison">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540715"/>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Comparison</a:t>
            </a:r>
          </a:p>
        </p:txBody>
      </p:sp>
      <p:sp>
        <p:nvSpPr>
          <p:cNvPr id="56" name="Text Placeholder 6">
            <a:extLst>
              <a:ext uri="{FF2B5EF4-FFF2-40B4-BE49-F238E27FC236}">
                <a16:creationId xmlns:a16="http://schemas.microsoft.com/office/drawing/2014/main" id="{B9BA9784-2126-1848-8E03-4E7CF943C78F}"/>
              </a:ext>
            </a:extLst>
          </p:cNvPr>
          <p:cNvSpPr>
            <a:spLocks noGrp="1"/>
          </p:cNvSpPr>
          <p:nvPr>
            <p:ph type="body" sz="quarter" idx="11" hasCustomPrompt="1"/>
          </p:nvPr>
        </p:nvSpPr>
        <p:spPr>
          <a:xfrm>
            <a:off x="594852" y="1929473"/>
            <a:ext cx="4884537" cy="424261"/>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sz="2800" b="0" spc="0" baseline="0">
                <a:solidFill>
                  <a:srgbClr val="0478D4"/>
                </a:solidFill>
                <a:latin typeface="+mn-lt"/>
                <a:cs typeface="Segoe UI" panose="020B0502040204020203" pitchFamily="34" charset="0"/>
              </a:defRPr>
            </a:lvl1pPr>
          </a:lstStyle>
          <a:p>
            <a:r>
              <a:rPr lang="en-US" b="1">
                <a:solidFill>
                  <a:srgbClr val="0478D4"/>
                </a:solidFill>
              </a:rPr>
              <a:t>Title 1</a:t>
            </a:r>
          </a:p>
        </p:txBody>
      </p:sp>
      <p:sp>
        <p:nvSpPr>
          <p:cNvPr id="57" name="Text Placeholder 6">
            <a:extLst>
              <a:ext uri="{FF2B5EF4-FFF2-40B4-BE49-F238E27FC236}">
                <a16:creationId xmlns:a16="http://schemas.microsoft.com/office/drawing/2014/main" id="{329F1A02-E026-D042-A41E-F73797D633C7}"/>
              </a:ext>
            </a:extLst>
          </p:cNvPr>
          <p:cNvSpPr>
            <a:spLocks noGrp="1"/>
          </p:cNvSpPr>
          <p:nvPr>
            <p:ph type="body" sz="quarter" idx="10" hasCustomPrompt="1"/>
          </p:nvPr>
        </p:nvSpPr>
        <p:spPr>
          <a:xfrm>
            <a:off x="599622" y="2602607"/>
            <a:ext cx="4879768"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Detail 1, 20-24pt</a:t>
            </a:r>
          </a:p>
          <a:p>
            <a:pPr lvl="0"/>
            <a:r>
              <a:rPr lang="en-US"/>
              <a:t>Detail 2, 20-24pt</a:t>
            </a:r>
          </a:p>
          <a:p>
            <a:pPr lvl="0"/>
            <a:r>
              <a:rPr lang="en-US"/>
              <a:t>Detail 3, 20-24pt</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a:t>Detail 4, 20-24pt</a:t>
            </a:r>
          </a:p>
          <a:p>
            <a:pPr lvl="0"/>
            <a:endParaRPr lang="en-US"/>
          </a:p>
        </p:txBody>
      </p:sp>
      <p:sp>
        <p:nvSpPr>
          <p:cNvPr id="58" name="Text Placeholder 6">
            <a:extLst>
              <a:ext uri="{FF2B5EF4-FFF2-40B4-BE49-F238E27FC236}">
                <a16:creationId xmlns:a16="http://schemas.microsoft.com/office/drawing/2014/main" id="{34192514-DB65-A841-ACF2-B1B1EF984D6E}"/>
              </a:ext>
            </a:extLst>
          </p:cNvPr>
          <p:cNvSpPr>
            <a:spLocks noGrp="1"/>
          </p:cNvSpPr>
          <p:nvPr>
            <p:ph type="body" sz="quarter" idx="12" hasCustomPrompt="1"/>
          </p:nvPr>
        </p:nvSpPr>
        <p:spPr>
          <a:xfrm>
            <a:off x="6626162" y="1929473"/>
            <a:ext cx="4884537" cy="424261"/>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sz="2800" b="0" spc="0" baseline="0">
                <a:solidFill>
                  <a:srgbClr val="0478D4"/>
                </a:solidFill>
                <a:latin typeface="+mn-lt"/>
                <a:cs typeface="Segoe UI" panose="020B0502040204020203" pitchFamily="34" charset="0"/>
              </a:defRPr>
            </a:lvl1pPr>
          </a:lstStyle>
          <a:p>
            <a:r>
              <a:rPr lang="en-US" b="1">
                <a:solidFill>
                  <a:srgbClr val="0478D4"/>
                </a:solidFill>
              </a:rPr>
              <a:t>Title 2</a:t>
            </a:r>
          </a:p>
        </p:txBody>
      </p:sp>
      <p:sp>
        <p:nvSpPr>
          <p:cNvPr id="59" name="Text Placeholder 6">
            <a:extLst>
              <a:ext uri="{FF2B5EF4-FFF2-40B4-BE49-F238E27FC236}">
                <a16:creationId xmlns:a16="http://schemas.microsoft.com/office/drawing/2014/main" id="{6E1033CB-5C19-6745-9098-766E25355ED0}"/>
              </a:ext>
            </a:extLst>
          </p:cNvPr>
          <p:cNvSpPr>
            <a:spLocks noGrp="1"/>
          </p:cNvSpPr>
          <p:nvPr>
            <p:ph type="body" sz="quarter" idx="13" hasCustomPrompt="1"/>
          </p:nvPr>
        </p:nvSpPr>
        <p:spPr>
          <a:xfrm>
            <a:off x="6630931" y="2602607"/>
            <a:ext cx="4879768"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Detail 1, 20-24pt</a:t>
            </a:r>
          </a:p>
          <a:p>
            <a:pPr lvl="0"/>
            <a:r>
              <a:rPr lang="en-US"/>
              <a:t>Detail 2, 20-24pt</a:t>
            </a:r>
          </a:p>
          <a:p>
            <a:pPr lvl="0"/>
            <a:r>
              <a:rPr lang="en-US"/>
              <a:t>Detail 3, 20-24pt</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a:t>Detail 4, 20-24pt</a:t>
            </a:r>
          </a:p>
          <a:p>
            <a:pPr lvl="0"/>
            <a:endParaRPr lang="en-US"/>
          </a:p>
        </p:txBody>
      </p:sp>
      <p:cxnSp>
        <p:nvCxnSpPr>
          <p:cNvPr id="19" name="Straight Connector 18">
            <a:extLst>
              <a:ext uri="{FF2B5EF4-FFF2-40B4-BE49-F238E27FC236}">
                <a16:creationId xmlns:a16="http://schemas.microsoft.com/office/drawing/2014/main" id="{B3F672C9-0DB5-2942-B42D-AA5E1193F82E}"/>
              </a:ext>
            </a:extLst>
          </p:cNvPr>
          <p:cNvCxnSpPr/>
          <p:nvPr userDrawn="1"/>
        </p:nvCxnSpPr>
        <p:spPr>
          <a:xfrm>
            <a:off x="5742450" y="1929473"/>
            <a:ext cx="0" cy="4016807"/>
          </a:xfrm>
          <a:prstGeom prst="line">
            <a:avLst/>
          </a:prstGeom>
          <a:noFill/>
          <a:ln w="12700" cap="flat">
            <a:solidFill>
              <a:srgbClr val="0478D4"/>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105405400"/>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Image Left, List Righ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540715"/>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Image on the left, list on the right, 28pt </a:t>
            </a:r>
          </a:p>
        </p:txBody>
      </p:sp>
      <p:sp>
        <p:nvSpPr>
          <p:cNvPr id="59" name="Text Placeholder 6">
            <a:extLst>
              <a:ext uri="{FF2B5EF4-FFF2-40B4-BE49-F238E27FC236}">
                <a16:creationId xmlns:a16="http://schemas.microsoft.com/office/drawing/2014/main" id="{6E1033CB-5C19-6745-9098-766E25355ED0}"/>
              </a:ext>
            </a:extLst>
          </p:cNvPr>
          <p:cNvSpPr>
            <a:spLocks noGrp="1"/>
          </p:cNvSpPr>
          <p:nvPr>
            <p:ph type="body" sz="quarter" idx="13" hasCustomPrompt="1"/>
          </p:nvPr>
        </p:nvSpPr>
        <p:spPr>
          <a:xfrm>
            <a:off x="4466995" y="1929472"/>
            <a:ext cx="7145414" cy="3867478"/>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sz="3200" spc="0" baseline="0">
                <a:solidFill>
                  <a:srgbClr val="2F2F2F"/>
                </a:solidFill>
                <a:latin typeface="Segoe UI" panose="020B0502040204020203" pitchFamily="34" charset="0"/>
                <a:cs typeface="Segoe UI" panose="020B0502040204020203" pitchFamily="34" charset="0"/>
              </a:defRPr>
            </a:lvl1pPr>
          </a:lstStyle>
          <a:p>
            <a:pPr lvl="0"/>
            <a:r>
              <a:rPr lang="en-US"/>
              <a:t>Detail, 32pt</a:t>
            </a:r>
          </a:p>
          <a:p>
            <a:pPr lvl="0"/>
            <a:r>
              <a:rPr lang="en-US"/>
              <a:t>Detail, 32pt</a:t>
            </a:r>
          </a:p>
          <a:p>
            <a:pPr lvl="0"/>
            <a:r>
              <a:rPr lang="en-US"/>
              <a:t>Detail, 32pt</a:t>
            </a:r>
          </a:p>
        </p:txBody>
      </p:sp>
      <p:sp>
        <p:nvSpPr>
          <p:cNvPr id="52" name="Picture Placeholder 2" descr="Add alt text to all images">
            <a:extLst>
              <a:ext uri="{FF2B5EF4-FFF2-40B4-BE49-F238E27FC236}">
                <a16:creationId xmlns:a16="http://schemas.microsoft.com/office/drawing/2014/main" id="{4C137356-5022-5D4A-9491-CF4D7809CE3D}"/>
              </a:ext>
            </a:extLst>
          </p:cNvPr>
          <p:cNvSpPr>
            <a:spLocks noGrp="1"/>
          </p:cNvSpPr>
          <p:nvPr>
            <p:ph type="pic" sz="quarter" idx="14" hasCustomPrompt="1"/>
          </p:nvPr>
        </p:nvSpPr>
        <p:spPr>
          <a:xfrm>
            <a:off x="588415" y="1904327"/>
            <a:ext cx="3070138" cy="3926816"/>
          </a:xfrm>
          <a:prstGeom prst="rect">
            <a:avLst/>
          </a:prstGeom>
        </p:spPr>
        <p:txBody>
          <a:bodyPr/>
          <a:lstStyle>
            <a:lvl1pPr algn="ctr">
              <a:buNone/>
              <a:defRPr sz="3200" spc="0">
                <a:solidFill>
                  <a:schemeClr val="bg2"/>
                </a:solidFill>
              </a:defRPr>
            </a:lvl1pPr>
          </a:lstStyle>
          <a:p>
            <a:r>
              <a:rPr lang="en-US"/>
              <a:t>Add picture</a:t>
            </a:r>
          </a:p>
        </p:txBody>
      </p:sp>
    </p:spTree>
    <p:extLst>
      <p:ext uri="{BB962C8B-B14F-4D97-AF65-F5344CB8AC3E}">
        <p14:creationId xmlns:p14="http://schemas.microsoft.com/office/powerpoint/2010/main" val="3917034993"/>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List Left, Image Righ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540715"/>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28268" y="2370357"/>
            <a:ext cx="6748141" cy="2227148"/>
            <a:chOff x="8206313" y="6182284"/>
            <a:chExt cx="12824005" cy="4231313"/>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79813" y="6182284"/>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06313" y="6837392"/>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79815" y="7633849"/>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06315" y="8332856"/>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List on the left, image on the right</a:t>
            </a:r>
          </a:p>
        </p:txBody>
      </p:sp>
      <p:sp>
        <p:nvSpPr>
          <p:cNvPr id="59" name="Text Placeholder 6">
            <a:extLst>
              <a:ext uri="{FF2B5EF4-FFF2-40B4-BE49-F238E27FC236}">
                <a16:creationId xmlns:a16="http://schemas.microsoft.com/office/drawing/2014/main" id="{6E1033CB-5C19-6745-9098-766E25355ED0}"/>
              </a:ext>
            </a:extLst>
          </p:cNvPr>
          <p:cNvSpPr>
            <a:spLocks noGrp="1"/>
          </p:cNvSpPr>
          <p:nvPr>
            <p:ph type="body" sz="quarter" idx="13" hasCustomPrompt="1"/>
          </p:nvPr>
        </p:nvSpPr>
        <p:spPr>
          <a:xfrm>
            <a:off x="588415" y="1929472"/>
            <a:ext cx="6755589" cy="3867478"/>
          </a:xfrm>
          <a:prstGeom prst="rect">
            <a:avLst/>
          </a:prstGeom>
        </p:spPr>
        <p:txBody>
          <a:bodyPr/>
          <a:lstStyle>
            <a:lvl1pPr marL="342900" marR="0" indent="-342900" algn="r" defTabSz="457109" rtl="0" eaLnBrk="1" fontAlgn="auto" latinLnBrk="0" hangingPunct="1">
              <a:lnSpc>
                <a:spcPct val="100000"/>
              </a:lnSpc>
              <a:spcBef>
                <a:spcPts val="600"/>
              </a:spcBef>
              <a:spcAft>
                <a:spcPts val="600"/>
              </a:spcAft>
              <a:buClrTx/>
              <a:buSzTx/>
              <a:buFont typeface="Arial" panose="020B0604020202020204" pitchFamily="34" charset="0"/>
              <a:buNone/>
              <a:tabLst/>
              <a:defRPr sz="3200" spc="0" baseline="0">
                <a:solidFill>
                  <a:srgbClr val="2F2F2F"/>
                </a:solidFill>
                <a:latin typeface="Segoe UI" panose="020B0502040204020203" pitchFamily="34" charset="0"/>
                <a:cs typeface="Segoe UI" panose="020B0502040204020203" pitchFamily="34" charset="0"/>
              </a:defRPr>
            </a:lvl1pPr>
          </a:lstStyle>
          <a:p>
            <a:pPr lvl="0"/>
            <a:r>
              <a:rPr lang="en-US"/>
              <a:t>Detail, 32pt</a:t>
            </a:r>
          </a:p>
          <a:p>
            <a:pPr lvl="0"/>
            <a:r>
              <a:rPr lang="en-US"/>
              <a:t>Detail, 32pt</a:t>
            </a:r>
          </a:p>
          <a:p>
            <a:pPr lvl="0"/>
            <a:r>
              <a:rPr lang="en-US"/>
              <a:t>Detail, 32pt</a:t>
            </a:r>
          </a:p>
        </p:txBody>
      </p:sp>
      <p:sp>
        <p:nvSpPr>
          <p:cNvPr id="3" name="Picture Placeholder 2">
            <a:extLst>
              <a:ext uri="{FF2B5EF4-FFF2-40B4-BE49-F238E27FC236}">
                <a16:creationId xmlns:a16="http://schemas.microsoft.com/office/drawing/2014/main" id="{90521DD1-C3DF-A749-8763-9CC63EFC5880}"/>
              </a:ext>
            </a:extLst>
          </p:cNvPr>
          <p:cNvSpPr>
            <a:spLocks noGrp="1"/>
          </p:cNvSpPr>
          <p:nvPr>
            <p:ph type="pic" sz="quarter" idx="14" hasCustomPrompt="1"/>
          </p:nvPr>
        </p:nvSpPr>
        <p:spPr>
          <a:xfrm>
            <a:off x="8506680" y="1904327"/>
            <a:ext cx="3070138" cy="3926816"/>
          </a:xfrm>
          <a:prstGeom prst="rect">
            <a:avLst/>
          </a:prstGeom>
        </p:spPr>
        <p:txBody>
          <a:bodyPr/>
          <a:lstStyle>
            <a:lvl1pPr algn="ctr">
              <a:buNone/>
              <a:defRPr sz="3200" spc="0">
                <a:solidFill>
                  <a:schemeClr val="bg2"/>
                </a:solidFill>
              </a:defRPr>
            </a:lvl1pPr>
          </a:lstStyle>
          <a:p>
            <a:r>
              <a:rPr lang="en-US"/>
              <a:t>Add picture</a:t>
            </a:r>
          </a:p>
        </p:txBody>
      </p:sp>
    </p:spTree>
    <p:extLst>
      <p:ext uri="{BB962C8B-B14F-4D97-AF65-F5344CB8AC3E}">
        <p14:creationId xmlns:p14="http://schemas.microsoft.com/office/powerpoint/2010/main" val="1317311064"/>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2"/>
        </a:solidFill>
        <a:effectLst/>
      </p:bgPr>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6B71AC10-0A8D-FD4F-9144-4780889F385A}"/>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6" name="Image" descr="Image">
            <a:extLst>
              <a:ext uri="{FF2B5EF4-FFF2-40B4-BE49-F238E27FC236}">
                <a16:creationId xmlns:a16="http://schemas.microsoft.com/office/drawing/2014/main" id="{47B816A4-8209-2048-B6D0-289DEAEF5D18}"/>
              </a:ext>
            </a:extLst>
          </p:cNvPr>
          <p:cNvPicPr>
            <a:picLocks noChangeAspect="1"/>
          </p:cNvPicPr>
          <p:nvPr userDrawn="1"/>
        </p:nvPicPr>
        <p:blipFill>
          <a:blip r:embed="rId3"/>
          <a:stretch>
            <a:fillRect/>
          </a:stretch>
        </p:blipFill>
        <p:spPr>
          <a:xfrm>
            <a:off x="0" y="702520"/>
            <a:ext cx="12190286" cy="6155481"/>
          </a:xfrm>
          <a:prstGeom prst="rect">
            <a:avLst/>
          </a:prstGeom>
          <a:ln w="12700">
            <a:miter lim="400000"/>
          </a:ln>
        </p:spPr>
      </p:pic>
      <p:grpSp>
        <p:nvGrpSpPr>
          <p:cNvPr id="10" name="Group 9">
            <a:extLst>
              <a:ext uri="{FF2B5EF4-FFF2-40B4-BE49-F238E27FC236}">
                <a16:creationId xmlns:a16="http://schemas.microsoft.com/office/drawing/2014/main" id="{EF8F013E-6FA7-5C4F-9D0A-EB84443842DB}"/>
              </a:ext>
            </a:extLst>
          </p:cNvPr>
          <p:cNvGrpSpPr/>
          <p:nvPr userDrawn="1"/>
        </p:nvGrpSpPr>
        <p:grpSpPr>
          <a:xfrm rot="5400000">
            <a:off x="10128268" y="2370357"/>
            <a:ext cx="6748141" cy="2227148"/>
            <a:chOff x="8206313" y="6182284"/>
            <a:chExt cx="12824005" cy="4231313"/>
          </a:xfrm>
        </p:grpSpPr>
        <p:pic>
          <p:nvPicPr>
            <p:cNvPr id="11" name="Image" descr="Image">
              <a:extLst>
                <a:ext uri="{FF2B5EF4-FFF2-40B4-BE49-F238E27FC236}">
                  <a16:creationId xmlns:a16="http://schemas.microsoft.com/office/drawing/2014/main" id="{5A4DE547-92A1-044D-B5D4-1665113CC01C}"/>
                </a:ext>
              </a:extLst>
            </p:cNvPr>
            <p:cNvPicPr>
              <a:picLocks noChangeAspect="1"/>
            </p:cNvPicPr>
            <p:nvPr userDrawn="1"/>
          </p:nvPicPr>
          <p:blipFill>
            <a:blip r:embed="rId4"/>
            <a:srcRect b="20208"/>
            <a:stretch>
              <a:fillRect/>
            </a:stretch>
          </p:blipFill>
          <p:spPr>
            <a:xfrm>
              <a:off x="9825738" y="6285642"/>
              <a:ext cx="11204580" cy="2819606"/>
            </a:xfrm>
            <a:prstGeom prst="rect">
              <a:avLst/>
            </a:prstGeom>
            <a:ln w="12700">
              <a:miter lim="400000"/>
            </a:ln>
          </p:spPr>
        </p:pic>
        <p:sp>
          <p:nvSpPr>
            <p:cNvPr id="12" name="R134 G97 B197…">
              <a:extLst>
                <a:ext uri="{FF2B5EF4-FFF2-40B4-BE49-F238E27FC236}">
                  <a16:creationId xmlns:a16="http://schemas.microsoft.com/office/drawing/2014/main" id="{E330689E-2D41-1C46-86F7-9A1160F37829}"/>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4" name="R59 G46 B88…">
              <a:extLst>
                <a:ext uri="{FF2B5EF4-FFF2-40B4-BE49-F238E27FC236}">
                  <a16:creationId xmlns:a16="http://schemas.microsoft.com/office/drawing/2014/main" id="{3F800971-ADAC-4347-B715-B4555CB24FDA}"/>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5" name="R213 G157 B255…">
              <a:extLst>
                <a:ext uri="{FF2B5EF4-FFF2-40B4-BE49-F238E27FC236}">
                  <a16:creationId xmlns:a16="http://schemas.microsoft.com/office/drawing/2014/main" id="{750D3DD1-127E-D647-80C5-7BD0F6E9CF25}"/>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6" name="R161 G133 B210…">
              <a:extLst>
                <a:ext uri="{FF2B5EF4-FFF2-40B4-BE49-F238E27FC236}">
                  <a16:creationId xmlns:a16="http://schemas.microsoft.com/office/drawing/2014/main" id="{ED4CDA45-5E01-3243-A90F-BB3DE2375CAB}"/>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7" name="R0 G120 B212…">
              <a:extLst>
                <a:ext uri="{FF2B5EF4-FFF2-40B4-BE49-F238E27FC236}">
                  <a16:creationId xmlns:a16="http://schemas.microsoft.com/office/drawing/2014/main" id="{85312296-97D8-6840-BB8B-63E20577CA51}"/>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8" name="R36 G58 B94…">
              <a:extLst>
                <a:ext uri="{FF2B5EF4-FFF2-40B4-BE49-F238E27FC236}">
                  <a16:creationId xmlns:a16="http://schemas.microsoft.com/office/drawing/2014/main" id="{B2160F5A-63C0-9846-A61F-4D24B8BDE9E3}"/>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9" name="R80 G230 B255…">
              <a:extLst>
                <a:ext uri="{FF2B5EF4-FFF2-40B4-BE49-F238E27FC236}">
                  <a16:creationId xmlns:a16="http://schemas.microsoft.com/office/drawing/2014/main" id="{89923A7C-BE87-8D42-A3FA-1DCE6B6F31F7}"/>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20" name="R40 G167 B233…">
              <a:extLst>
                <a:ext uri="{FF2B5EF4-FFF2-40B4-BE49-F238E27FC236}">
                  <a16:creationId xmlns:a16="http://schemas.microsoft.com/office/drawing/2014/main" id="{9ABDA324-B076-9A42-BA84-2DA3493FC71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1" name="R0 G133 B117   Hex #008575   C100 M15 Y60 K0   PMS 3285 C">
              <a:extLst>
                <a:ext uri="{FF2B5EF4-FFF2-40B4-BE49-F238E27FC236}">
                  <a16:creationId xmlns:a16="http://schemas.microsoft.com/office/drawing/2014/main" id="{C76ABFD5-F3B6-5344-87FF-F698D4F6A4B0}"/>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2" name="R39 G75 B71   Hex #274b47…">
              <a:extLst>
                <a:ext uri="{FF2B5EF4-FFF2-40B4-BE49-F238E27FC236}">
                  <a16:creationId xmlns:a16="http://schemas.microsoft.com/office/drawing/2014/main" id="{2AFD252E-1AEC-5741-B99C-5DAEA63DDF96}"/>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3" name="R48 G229 B208…">
              <a:extLst>
                <a:ext uri="{FF2B5EF4-FFF2-40B4-BE49-F238E27FC236}">
                  <a16:creationId xmlns:a16="http://schemas.microsoft.com/office/drawing/2014/main" id="{EAA41001-6B52-EF40-96D7-971948EABB98}"/>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4" name="R40 G194 B209…">
              <a:extLst>
                <a:ext uri="{FF2B5EF4-FFF2-40B4-BE49-F238E27FC236}">
                  <a16:creationId xmlns:a16="http://schemas.microsoft.com/office/drawing/2014/main" id="{B1CBFCA2-92F6-BD4A-972E-D3D37F347673}"/>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5" name="R16 G124 B16  Hex #107c10  C75 M0 Y100 K0   PMS 362 C">
              <a:extLst>
                <a:ext uri="{FF2B5EF4-FFF2-40B4-BE49-F238E27FC236}">
                  <a16:creationId xmlns:a16="http://schemas.microsoft.com/office/drawing/2014/main" id="{A2EC5BE3-EB70-0742-A12B-9681FB8CF09D}"/>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6" name="R5 G75 B22   Hex #054b16…">
              <a:extLst>
                <a:ext uri="{FF2B5EF4-FFF2-40B4-BE49-F238E27FC236}">
                  <a16:creationId xmlns:a16="http://schemas.microsoft.com/office/drawing/2014/main" id="{499712BF-D2E0-CD4C-87FA-862BB816B2FB}"/>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7" name="R155 G240 B11…">
              <a:extLst>
                <a:ext uri="{FF2B5EF4-FFF2-40B4-BE49-F238E27FC236}">
                  <a16:creationId xmlns:a16="http://schemas.microsoft.com/office/drawing/2014/main" id="{AFDA10FE-0491-E446-9CEE-FD84CD46EC75}"/>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8" name="R127 G186 B0…">
              <a:extLst>
                <a:ext uri="{FF2B5EF4-FFF2-40B4-BE49-F238E27FC236}">
                  <a16:creationId xmlns:a16="http://schemas.microsoft.com/office/drawing/2014/main" id="{CDE02636-0442-6743-AEE6-BFA7438CE50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9" name="R216 G59 B1…">
              <a:extLst>
                <a:ext uri="{FF2B5EF4-FFF2-40B4-BE49-F238E27FC236}">
                  <a16:creationId xmlns:a16="http://schemas.microsoft.com/office/drawing/2014/main" id="{6604AA48-78A9-814B-BF45-DB637BCCAA4E}"/>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30" name="R107 G41 B41…">
              <a:extLst>
                <a:ext uri="{FF2B5EF4-FFF2-40B4-BE49-F238E27FC236}">
                  <a16:creationId xmlns:a16="http://schemas.microsoft.com/office/drawing/2014/main" id="{BEF89C42-1CE3-4A44-B8E9-D950745167A6}"/>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1" name="R255 G147 B73…">
              <a:extLst>
                <a:ext uri="{FF2B5EF4-FFF2-40B4-BE49-F238E27FC236}">
                  <a16:creationId xmlns:a16="http://schemas.microsoft.com/office/drawing/2014/main" id="{C8CE703B-F93A-884F-87C7-7EF6ADE18CA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2" name="R241 G101 B34…">
              <a:extLst>
                <a:ext uri="{FF2B5EF4-FFF2-40B4-BE49-F238E27FC236}">
                  <a16:creationId xmlns:a16="http://schemas.microsoft.com/office/drawing/2014/main" id="{2B345FC2-522A-ED45-A540-A282F3A59672}"/>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3" name="R255 G185 B0…">
              <a:extLst>
                <a:ext uri="{FF2B5EF4-FFF2-40B4-BE49-F238E27FC236}">
                  <a16:creationId xmlns:a16="http://schemas.microsoft.com/office/drawing/2014/main" id="{61DB5B1C-BA87-E148-8BCA-F7BE00755B1F}"/>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4" name="R106 G75 B22…">
              <a:extLst>
                <a:ext uri="{FF2B5EF4-FFF2-40B4-BE49-F238E27FC236}">
                  <a16:creationId xmlns:a16="http://schemas.microsoft.com/office/drawing/2014/main" id="{7D9C2C93-5FA3-5C4E-864A-5C8EF86A619E}"/>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5" name="R254 G240 B0…">
              <a:extLst>
                <a:ext uri="{FF2B5EF4-FFF2-40B4-BE49-F238E27FC236}">
                  <a16:creationId xmlns:a16="http://schemas.microsoft.com/office/drawing/2014/main" id="{7DDB271E-F25E-C346-BA0E-E2FA851EAE04}"/>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6" name="R254 G212 B0…">
              <a:extLst>
                <a:ext uri="{FF2B5EF4-FFF2-40B4-BE49-F238E27FC236}">
                  <a16:creationId xmlns:a16="http://schemas.microsoft.com/office/drawing/2014/main" id="{FCB4BFC4-7870-CA40-890E-79B2345EFDDE}"/>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7" name="Image" descr="Image">
              <a:extLst>
                <a:ext uri="{FF2B5EF4-FFF2-40B4-BE49-F238E27FC236}">
                  <a16:creationId xmlns:a16="http://schemas.microsoft.com/office/drawing/2014/main" id="{F7CBA398-7286-4B48-A037-01C2789FD183}"/>
                </a:ext>
              </a:extLst>
            </p:cNvPr>
            <p:cNvPicPr>
              <a:picLocks noChangeAspect="1"/>
            </p:cNvPicPr>
            <p:nvPr userDrawn="1"/>
          </p:nvPicPr>
          <p:blipFill>
            <a:blip r:embed="rId5"/>
            <a:stretch>
              <a:fillRect/>
            </a:stretch>
          </p:blipFill>
          <p:spPr>
            <a:xfrm>
              <a:off x="9825738" y="9911907"/>
              <a:ext cx="11204576" cy="501690"/>
            </a:xfrm>
            <a:prstGeom prst="rect">
              <a:avLst/>
            </a:prstGeom>
            <a:ln w="12700">
              <a:miter lim="400000"/>
            </a:ln>
          </p:spPr>
        </p:pic>
        <p:sp>
          <p:nvSpPr>
            <p:cNvPr id="38" name="R242 G242 B242…">
              <a:extLst>
                <a:ext uri="{FF2B5EF4-FFF2-40B4-BE49-F238E27FC236}">
                  <a16:creationId xmlns:a16="http://schemas.microsoft.com/office/drawing/2014/main" id="{A9370A21-4217-F949-B5D0-CA4B1AE096E5}"/>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9" name="R230 G230 B230…">
              <a:extLst>
                <a:ext uri="{FF2B5EF4-FFF2-40B4-BE49-F238E27FC236}">
                  <a16:creationId xmlns:a16="http://schemas.microsoft.com/office/drawing/2014/main" id="{37A7C53A-A05D-2E46-8ACD-6E22AC65B67F}"/>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40" name="R210 G210 B210…">
              <a:extLst>
                <a:ext uri="{FF2B5EF4-FFF2-40B4-BE49-F238E27FC236}">
                  <a16:creationId xmlns:a16="http://schemas.microsoft.com/office/drawing/2014/main" id="{4B72FBD5-F4D3-5446-B0B0-999A325ED83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1" name="R115 G115 B115…">
              <a:extLst>
                <a:ext uri="{FF2B5EF4-FFF2-40B4-BE49-F238E27FC236}">
                  <a16:creationId xmlns:a16="http://schemas.microsoft.com/office/drawing/2014/main" id="{9DCC3AC4-7D4C-0D49-98EA-89E76DC2F3A6}"/>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2" name="R80 G80 B80…">
              <a:extLst>
                <a:ext uri="{FF2B5EF4-FFF2-40B4-BE49-F238E27FC236}">
                  <a16:creationId xmlns:a16="http://schemas.microsoft.com/office/drawing/2014/main" id="{AA230AEE-DB5A-A545-B1EF-145368A79C72}"/>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3" name="R47 G47 B47…">
              <a:extLst>
                <a:ext uri="{FF2B5EF4-FFF2-40B4-BE49-F238E27FC236}">
                  <a16:creationId xmlns:a16="http://schemas.microsoft.com/office/drawing/2014/main" id="{8D6C6E69-FAB2-254E-B990-6CE0F34084ED}"/>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4" name="R0 G0 B0…">
              <a:extLst>
                <a:ext uri="{FF2B5EF4-FFF2-40B4-BE49-F238E27FC236}">
                  <a16:creationId xmlns:a16="http://schemas.microsoft.com/office/drawing/2014/main" id="{A6F71D6F-3E3D-8C4B-85EC-362A9AE0A466}"/>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5" name="Primary">
              <a:extLst>
                <a:ext uri="{FF2B5EF4-FFF2-40B4-BE49-F238E27FC236}">
                  <a16:creationId xmlns:a16="http://schemas.microsoft.com/office/drawing/2014/main" id="{BAD793CC-879C-C349-9E33-94B0E3E443C9}"/>
                </a:ext>
              </a:extLst>
            </p:cNvPr>
            <p:cNvSpPr txBox="1"/>
            <p:nvPr userDrawn="1"/>
          </p:nvSpPr>
          <p:spPr>
            <a:xfrm>
              <a:off x="8479813" y="6182284"/>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6" name="Secondary">
              <a:extLst>
                <a:ext uri="{FF2B5EF4-FFF2-40B4-BE49-F238E27FC236}">
                  <a16:creationId xmlns:a16="http://schemas.microsoft.com/office/drawing/2014/main" id="{0DD59233-A460-A741-9E17-4A2830BACA67}"/>
                </a:ext>
              </a:extLst>
            </p:cNvPr>
            <p:cNvSpPr txBox="1"/>
            <p:nvPr userDrawn="1"/>
          </p:nvSpPr>
          <p:spPr>
            <a:xfrm>
              <a:off x="8206313" y="6837392"/>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7" name="Primary">
              <a:extLst>
                <a:ext uri="{FF2B5EF4-FFF2-40B4-BE49-F238E27FC236}">
                  <a16:creationId xmlns:a16="http://schemas.microsoft.com/office/drawing/2014/main" id="{B259ACDB-AD6E-5F40-9A46-7A59615320F9}"/>
                </a:ext>
              </a:extLst>
            </p:cNvPr>
            <p:cNvSpPr txBox="1"/>
            <p:nvPr userDrawn="1"/>
          </p:nvSpPr>
          <p:spPr>
            <a:xfrm>
              <a:off x="8479815" y="7633849"/>
              <a:ext cx="10905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8" name="Secondary">
              <a:extLst>
                <a:ext uri="{FF2B5EF4-FFF2-40B4-BE49-F238E27FC236}">
                  <a16:creationId xmlns:a16="http://schemas.microsoft.com/office/drawing/2014/main" id="{6F79FA09-BC14-C542-B12D-CB97534E57CF}"/>
                </a:ext>
              </a:extLst>
            </p:cNvPr>
            <p:cNvSpPr txBox="1"/>
            <p:nvPr userDrawn="1"/>
          </p:nvSpPr>
          <p:spPr>
            <a:xfrm>
              <a:off x="8206315" y="8332856"/>
              <a:ext cx="1407394"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ext Placeholder 9">
            <a:extLst>
              <a:ext uri="{FF2B5EF4-FFF2-40B4-BE49-F238E27FC236}">
                <a16:creationId xmlns:a16="http://schemas.microsoft.com/office/drawing/2014/main" id="{D84AE76E-0F8E-4E4F-AA81-912BDA9A432D}"/>
              </a:ext>
            </a:extLst>
          </p:cNvPr>
          <p:cNvSpPr>
            <a:spLocks noGrp="1"/>
          </p:cNvSpPr>
          <p:nvPr>
            <p:ph type="body" sz="quarter" idx="10" hasCustomPrompt="1"/>
          </p:nvPr>
        </p:nvSpPr>
        <p:spPr>
          <a:xfrm>
            <a:off x="584351" y="2644422"/>
            <a:ext cx="7207011" cy="1710033"/>
          </a:xfrm>
          <a:prstGeom prst="rect">
            <a:avLst/>
          </a:prstGeom>
        </p:spPr>
        <p:txBody>
          <a:bodyPr lIns="0" tIns="0" rIns="0" bIns="0">
            <a:normAutofit/>
          </a:bodyPr>
          <a:lstStyle>
            <a:lvl1pPr marL="0" indent="0">
              <a:lnSpc>
                <a:spcPct val="100000"/>
              </a:lnSpc>
              <a:spcAft>
                <a:spcPts val="600"/>
              </a:spcAft>
              <a:buNone/>
              <a:defRPr sz="2000" b="0" i="0" spc="0" baseline="0">
                <a:solidFill>
                  <a:schemeClr val="bg1"/>
                </a:solidFill>
                <a:latin typeface="Segoe UI" panose="020B0502040204020203" pitchFamily="34" charset="0"/>
                <a:cs typeface="Segoe UI" panose="020B0502040204020203" pitchFamily="34" charset="0"/>
              </a:defRPr>
            </a:lvl1pPr>
          </a:lstStyle>
          <a:p>
            <a:pPr lvl="0"/>
            <a:r>
              <a:rPr lang="en-US"/>
              <a:t>Body copy, 20pt</a:t>
            </a:r>
          </a:p>
        </p:txBody>
      </p:sp>
      <p:sp>
        <p:nvSpPr>
          <p:cNvPr id="50" name="Subtitle 2">
            <a:extLst>
              <a:ext uri="{FF2B5EF4-FFF2-40B4-BE49-F238E27FC236}">
                <a16:creationId xmlns:a16="http://schemas.microsoft.com/office/drawing/2014/main" id="{A018086F-C34A-3C41-8B4C-2D6A83134E1B}"/>
              </a:ext>
            </a:extLst>
          </p:cNvPr>
          <p:cNvSpPr>
            <a:spLocks noGrp="1"/>
          </p:cNvSpPr>
          <p:nvPr>
            <p:ph type="subTitle" idx="1" hasCustomPrompt="1"/>
          </p:nvPr>
        </p:nvSpPr>
        <p:spPr>
          <a:xfrm>
            <a:off x="584353" y="533243"/>
            <a:ext cx="5511647" cy="276999"/>
          </a:xfrm>
          <a:prstGeom prst="rect">
            <a:avLst/>
          </a:prstGeom>
        </p:spPr>
        <p:txBody>
          <a:bodyPr lIns="0" tIns="0" rIns="0" bIns="0">
            <a:spAutoFit/>
          </a:bodyPr>
          <a:lstStyle>
            <a:lvl1pPr marL="0" indent="0" algn="l">
              <a:lnSpc>
                <a:spcPct val="100000"/>
              </a:lnSpc>
              <a:spcBef>
                <a:spcPts val="0"/>
              </a:spcBef>
              <a:buNone/>
              <a:defRPr sz="1800" cap="all" spc="280" baseline="0">
                <a:solidFill>
                  <a:schemeClr val="tx1"/>
                </a:solidFill>
                <a:latin typeface="Segoe UI" panose="020B0502040204020203" pitchFamily="34" charset="0"/>
                <a:cs typeface="Segoe UI"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Category, 18pt</a:t>
            </a:r>
          </a:p>
        </p:txBody>
      </p:sp>
      <p:sp>
        <p:nvSpPr>
          <p:cNvPr id="51" name="Title 1">
            <a:extLst>
              <a:ext uri="{FF2B5EF4-FFF2-40B4-BE49-F238E27FC236}">
                <a16:creationId xmlns:a16="http://schemas.microsoft.com/office/drawing/2014/main" id="{D66AECF4-4A52-E344-9154-5AF177201204}"/>
              </a:ext>
            </a:extLst>
          </p:cNvPr>
          <p:cNvSpPr>
            <a:spLocks noGrp="1"/>
          </p:cNvSpPr>
          <p:nvPr>
            <p:ph type="title" hasCustomPrompt="1"/>
          </p:nvPr>
        </p:nvSpPr>
        <p:spPr>
          <a:xfrm>
            <a:off x="588416" y="1629321"/>
            <a:ext cx="5507584" cy="553998"/>
          </a:xfrm>
          <a:prstGeom prst="rect">
            <a:avLst/>
          </a:prstGeom>
        </p:spPr>
        <p:txBody>
          <a:bodyPr wrap="square" lIns="0" tIns="0" rIns="0" bIns="0" anchor="b" anchorCtr="0">
            <a:spAutoFit/>
          </a:bodyPr>
          <a:lstStyle>
            <a:lvl1pPr marL="0" marR="0" indent="0" algn="l" defTabSz="412667" rtl="0" eaLnBrk="1" fontAlgn="auto" latinLnBrk="0" hangingPunct="1">
              <a:lnSpc>
                <a:spcPct val="100000"/>
              </a:lnSpc>
              <a:spcBef>
                <a:spcPts val="0"/>
              </a:spcBef>
              <a:spcAft>
                <a:spcPts val="0"/>
              </a:spcAft>
              <a:buClrTx/>
              <a:buSzTx/>
              <a:buFontTx/>
              <a:buNone/>
              <a:tabLst/>
              <a:defRPr sz="3600" b="0" i="0" kern="1200" spc="-50" baseline="0">
                <a:solidFill>
                  <a:schemeClr val="bg1"/>
                </a:solidFill>
                <a:latin typeface="Segoe UI Semibold" panose="020B0502040204020203" pitchFamily="34" charset="0"/>
                <a:cs typeface="Segoe UI Semibold" panose="020B0502040204020203" pitchFamily="34" charset="0"/>
              </a:defRPr>
            </a:lvl1pPr>
          </a:lstStyle>
          <a:p>
            <a:r>
              <a:rPr lang="en-US"/>
              <a:t>Section title, 36pt</a:t>
            </a:r>
          </a:p>
        </p:txBody>
      </p:sp>
    </p:spTree>
    <p:extLst>
      <p:ext uri="{BB962C8B-B14F-4D97-AF65-F5344CB8AC3E}">
        <p14:creationId xmlns:p14="http://schemas.microsoft.com/office/powerpoint/2010/main" val="1156700770"/>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101638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78256328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057366699"/>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413449527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3072545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Tree>
    <p:extLst>
      <p:ext uri="{BB962C8B-B14F-4D97-AF65-F5344CB8AC3E}">
        <p14:creationId xmlns:p14="http://schemas.microsoft.com/office/powerpoint/2010/main" val="3526945524"/>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43861541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38569004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18145603"/>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08588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9088441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9858808" cy="1794661"/>
          </a:xfrm>
          <a:noFill/>
        </p:spPr>
        <p:txBody>
          <a:bodyPr lIns="146304" tIns="109728" rIns="146304" bIns="109728">
            <a:noAutofit/>
          </a:bodyPr>
          <a:lstStyle>
            <a:lvl1pPr marL="0" indent="0">
              <a:spcBef>
                <a:spcPts val="0"/>
              </a:spcBef>
              <a:buNone/>
              <a:defRPr sz="330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513" spc="-92" baseline="0">
                <a:gradFill>
                  <a:gsLst>
                    <a:gs pos="3333">
                      <a:schemeClr val="tx1"/>
                    </a:gs>
                    <a:gs pos="39000">
                      <a:schemeClr val="tx1"/>
                    </a:gs>
                  </a:gsLst>
                  <a:lin ang="5400000" scaled="0"/>
                </a:gradFill>
              </a:defRPr>
            </a:lvl1pPr>
          </a:lstStyle>
          <a:p>
            <a:r>
              <a:rPr lang="en-US"/>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207201" y="470411"/>
            <a:ext cx="1522404" cy="326167"/>
          </a:xfrm>
          <a:prstGeom prst="rect">
            <a:avLst/>
          </a:prstGeom>
        </p:spPr>
      </p:pic>
      <p:sp>
        <p:nvSpPr>
          <p:cNvPr id="7"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6" name="Text Placeholder 5"/>
          <p:cNvSpPr>
            <a:spLocks noGrp="1"/>
          </p:cNvSpPr>
          <p:nvPr>
            <p:ph type="body" sz="quarter" idx="13" hasCustomPrompt="1"/>
          </p:nvPr>
        </p:nvSpPr>
        <p:spPr>
          <a:xfrm>
            <a:off x="269239" y="470413"/>
            <a:ext cx="3047874" cy="439223"/>
          </a:xfrm>
        </p:spPr>
        <p:txBody>
          <a:bodyPr/>
          <a:lstStyle>
            <a:lvl1pPr marL="0" indent="0">
              <a:buNone/>
              <a:defRPr sz="1838"/>
            </a:lvl1pPr>
          </a:lstStyle>
          <a:p>
            <a:pPr lvl="0"/>
            <a:r>
              <a:rPr lang="en-US"/>
              <a:t>Session Code Here</a:t>
            </a:r>
          </a:p>
        </p:txBody>
      </p:sp>
    </p:spTree>
    <p:extLst>
      <p:ext uri="{BB962C8B-B14F-4D97-AF65-F5344CB8AC3E}">
        <p14:creationId xmlns:p14="http://schemas.microsoft.com/office/powerpoint/2010/main" val="3436838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350">
          <p15:clr>
            <a:srgbClr val="FBAE40"/>
          </p15:clr>
        </p15:guide>
        <p15:guide id="2" pos="3917">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221012" y="6057329"/>
            <a:ext cx="1522404" cy="326167"/>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1177221" y="1728540"/>
            <a:ext cx="7178269" cy="3156826"/>
          </a:xfrm>
          <a:prstGeom prst="rect">
            <a:avLst/>
          </a:prstGeom>
        </p:spPr>
      </p:pic>
    </p:spTree>
    <p:extLst>
      <p:ext uri="{BB962C8B-B14F-4D97-AF65-F5344CB8AC3E}">
        <p14:creationId xmlns:p14="http://schemas.microsoft.com/office/powerpoint/2010/main" val="1902331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339809313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6"/>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07" fontAlgn="base">
              <a:lnSpc>
                <a:spcPct val="90000"/>
              </a:lnSpc>
              <a:spcBef>
                <a:spcPct val="0"/>
              </a:spcBef>
              <a:spcAft>
                <a:spcPct val="0"/>
              </a:spcAft>
              <a:defRPr/>
            </a:pPr>
            <a:endParaRPr lang="en-US" sz="2206"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6616" spc="-92"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9"/>
            <a:ext cx="9860674" cy="1793881"/>
          </a:xfrm>
          <a:noFill/>
        </p:spPr>
        <p:txBody>
          <a:bodyPr lIns="182880" tIns="146304" rIns="182880" bIns="146304">
            <a:noAutofit/>
          </a:bodyPr>
          <a:lstStyle>
            <a:lvl1pPr marL="0" indent="0">
              <a:spcBef>
                <a:spcPts val="0"/>
              </a:spcBef>
              <a:buNone/>
              <a:defRPr sz="3308"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47221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07" fontAlgn="base">
              <a:lnSpc>
                <a:spcPct val="90000"/>
              </a:lnSpc>
              <a:spcBef>
                <a:spcPct val="0"/>
              </a:spcBef>
              <a:spcAft>
                <a:spcPct val="0"/>
              </a:spcAft>
              <a:defRPr/>
            </a:pPr>
            <a:endParaRPr lang="en-US" sz="2206"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6616" spc="-92" baseline="0">
                <a:gradFill>
                  <a:gsLst>
                    <a:gs pos="5833">
                      <a:srgbClr val="FFFFFF"/>
                    </a:gs>
                    <a:gs pos="18000">
                      <a:srgbClr val="FFFFFF"/>
                    </a:gs>
                  </a:gsLst>
                  <a:lin ang="5400000" scaled="0"/>
                </a:gradFill>
              </a:defRPr>
            </a:lvl1pPr>
          </a:lstStyle>
          <a:p>
            <a:r>
              <a:rPr lang="en-US"/>
              <a:t>Video title</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57398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086"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72098774"/>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086"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09065365"/>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086"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19022232"/>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1864633"/>
          </a:xfrm>
        </p:spPr>
        <p:txBody>
          <a:bodyPr/>
          <a:lstStyle>
            <a:lvl1pPr marL="0" indent="0">
              <a:buNone/>
              <a:defRPr>
                <a:gradFill>
                  <a:gsLst>
                    <a:gs pos="1250">
                      <a:schemeClr val="tx2"/>
                    </a:gs>
                    <a:gs pos="99000">
                      <a:schemeClr val="tx2"/>
                    </a:gs>
                  </a:gsLst>
                  <a:lin ang="5400000" scaled="0"/>
                </a:gradFill>
              </a:defRPr>
            </a:lvl1pPr>
            <a:lvl2pPr marL="0" indent="0">
              <a:buFontTx/>
              <a:buNone/>
              <a:defRPr sz="1838"/>
            </a:lvl2pPr>
            <a:lvl3pPr marL="210051" indent="0">
              <a:buNone/>
              <a:defRPr/>
            </a:lvl3pPr>
            <a:lvl4pPr marL="420101" indent="0">
              <a:buNone/>
              <a:defRPr/>
            </a:lvl4pPr>
            <a:lvl5pPr marL="63015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9058688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1864633"/>
          </a:xfrm>
        </p:spPr>
        <p:txBody>
          <a:bodyPr/>
          <a:lstStyle>
            <a:lvl1pPr marL="0" indent="0">
              <a:buNone/>
              <a:defRPr>
                <a:gradFill>
                  <a:gsLst>
                    <a:gs pos="1250">
                      <a:schemeClr val="tx1"/>
                    </a:gs>
                    <a:gs pos="99000">
                      <a:schemeClr val="tx1"/>
                    </a:gs>
                  </a:gsLst>
                  <a:lin ang="5400000" scaled="0"/>
                </a:gradFill>
              </a:defRPr>
            </a:lvl1pPr>
            <a:lvl2pPr marL="0" indent="0">
              <a:buFontTx/>
              <a:buNone/>
              <a:defRPr sz="1838"/>
            </a:lvl2pPr>
            <a:lvl3pPr marL="210051" indent="0">
              <a:buNone/>
              <a:defRPr/>
            </a:lvl3pPr>
            <a:lvl4pPr marL="420101" indent="0">
              <a:buNone/>
              <a:defRPr/>
            </a:lvl4pPr>
            <a:lvl5pPr marL="63015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07590517"/>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2684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3250463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26849"/>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2356529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272016"/>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72016"/>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52171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gradFill>
                  <a:gsLst>
                    <a:gs pos="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4247291933"/>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272016"/>
          </a:xfrm>
        </p:spPr>
        <p:txBody>
          <a:bodyPr wrap="square">
            <a:spAutoFit/>
          </a:bodyPr>
          <a:lstStyle>
            <a:lvl1pPr marL="0" indent="0">
              <a:spcBef>
                <a:spcPts val="1124"/>
              </a:spcBef>
              <a:buClr>
                <a:schemeClr val="tx1"/>
              </a:buClr>
              <a:buFont typeface="Wingdings" pitchFamily="2" charset="2"/>
              <a:buNone/>
              <a:defRPr sz="3308"/>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72016"/>
          </a:xfrm>
        </p:spPr>
        <p:txBody>
          <a:bodyPr wrap="square">
            <a:spAutoFit/>
          </a:bodyPr>
          <a:lstStyle>
            <a:lvl1pPr marL="0" indent="0">
              <a:spcBef>
                <a:spcPts val="1124"/>
              </a:spcBef>
              <a:buClr>
                <a:schemeClr val="tx1"/>
              </a:buClr>
              <a:buFont typeface="Wingdings" pitchFamily="2" charset="2"/>
              <a:buNone/>
              <a:defRPr sz="3308"/>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26115828"/>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34233"/>
          </a:xfrm>
        </p:spPr>
        <p:txBody>
          <a:bodyPr wrap="square">
            <a:spAutoFit/>
          </a:bodyPr>
          <a:lstStyle>
            <a:lvl1pPr marL="264021" indent="-264021">
              <a:spcBef>
                <a:spcPts val="1124"/>
              </a:spcBef>
              <a:buClr>
                <a:schemeClr val="tx1"/>
              </a:buClr>
              <a:buFont typeface="Arial" pitchFamily="34" charset="0"/>
              <a:buChar char="•"/>
              <a:defRPr sz="3308"/>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334233"/>
          </a:xfrm>
        </p:spPr>
        <p:txBody>
          <a:bodyPr wrap="square">
            <a:spAutoFit/>
          </a:bodyPr>
          <a:lstStyle>
            <a:lvl1pPr marL="264021" indent="-264021">
              <a:spcBef>
                <a:spcPts val="1124"/>
              </a:spcBef>
              <a:buClr>
                <a:schemeClr val="tx1"/>
              </a:buClr>
              <a:buFont typeface="Arial" pitchFamily="34" charset="0"/>
              <a:buChar char="•"/>
              <a:defRPr sz="3308"/>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3861082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34233"/>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334233"/>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8981441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33556338"/>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080334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t="-2262"/>
          <a:stretch/>
        </p:blipFill>
        <p:spPr>
          <a:xfrm>
            <a:off x="313" y="-312"/>
            <a:ext cx="12191377" cy="6858623"/>
          </a:xfrm>
          <a:prstGeom prst="rect">
            <a:avLst/>
          </a:prstGeom>
        </p:spPr>
      </p:pic>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166739"/>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298139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07806565"/>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60362827"/>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858" tIns="42858" rIns="42858" bIns="42858" numCol="1" spcCol="0" rtlCol="0" fromWordArt="0" anchor="ctr" anchorCtr="0" forceAA="0" compatLnSpc="1">
            <a:prstTxWarp prst="textNoShape">
              <a:avLst/>
            </a:prstTxWarp>
            <a:noAutofit/>
          </a:bodyPr>
          <a:lstStyle/>
          <a:p>
            <a:pPr algn="ctr" defTabSz="856807" fontAlgn="base">
              <a:spcBef>
                <a:spcPct val="0"/>
              </a:spcBef>
              <a:spcAft>
                <a:spcPct val="0"/>
              </a:spcAft>
              <a:defRPr/>
            </a:pPr>
            <a:endParaRPr lang="en-US" sz="165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837823"/>
          </a:xfrm>
        </p:spPr>
        <p:txBody>
          <a:bodyPr/>
          <a:lstStyle>
            <a:lvl1pPr marL="0" indent="0">
              <a:buNone/>
              <a:defRPr sz="3032">
                <a:gradFill>
                  <a:gsLst>
                    <a:gs pos="1250">
                      <a:srgbClr val="000000"/>
                    </a:gs>
                    <a:gs pos="100000">
                      <a:srgbClr val="000000"/>
                    </a:gs>
                  </a:gsLst>
                  <a:lin ang="5400000" scaled="0"/>
                </a:gradFill>
                <a:latin typeface="Segoe UI" pitchFamily="34" charset="0"/>
                <a:cs typeface="Segoe UI" pitchFamily="34" charset="0"/>
              </a:defRPr>
            </a:lvl1pPr>
            <a:lvl2pPr marL="318432" indent="0">
              <a:buNone/>
              <a:defRPr>
                <a:gradFill>
                  <a:gsLst>
                    <a:gs pos="1250">
                      <a:srgbClr val="000000"/>
                    </a:gs>
                    <a:gs pos="100000">
                      <a:srgbClr val="000000"/>
                    </a:gs>
                  </a:gsLst>
                  <a:lin ang="5400000" scaled="0"/>
                </a:gradFill>
                <a:latin typeface="Segoe UI" pitchFamily="34" charset="0"/>
                <a:cs typeface="Segoe UI" pitchFamily="34" charset="0"/>
              </a:defRPr>
            </a:lvl2pPr>
            <a:lvl3pPr marL="537169" indent="0">
              <a:buNone/>
              <a:defRPr>
                <a:gradFill>
                  <a:gsLst>
                    <a:gs pos="1250">
                      <a:srgbClr val="000000"/>
                    </a:gs>
                    <a:gs pos="100000">
                      <a:srgbClr val="000000"/>
                    </a:gs>
                  </a:gsLst>
                  <a:lin ang="5400000" scaled="0"/>
                </a:gradFill>
                <a:latin typeface="Segoe UI" pitchFamily="34" charset="0"/>
                <a:cs typeface="Segoe UI" pitchFamily="34" charset="0"/>
              </a:defRPr>
            </a:lvl3pPr>
            <a:lvl4pPr marL="748465" indent="0">
              <a:buNone/>
              <a:defRPr>
                <a:gradFill>
                  <a:gsLst>
                    <a:gs pos="1250">
                      <a:srgbClr val="000000"/>
                    </a:gs>
                    <a:gs pos="100000">
                      <a:srgbClr val="000000"/>
                    </a:gs>
                  </a:gsLst>
                  <a:lin ang="5400000" scaled="0"/>
                </a:gradFill>
                <a:latin typeface="Segoe UI" pitchFamily="34" charset="0"/>
                <a:cs typeface="Segoe UI" pitchFamily="34" charset="0"/>
              </a:defRPr>
            </a:lvl4pPr>
            <a:lvl5pPr marL="96571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24726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07107484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259116010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249354"/>
          </a:xfrm>
          <a:prstGeom prst="rect">
            <a:avLst/>
          </a:prstGeom>
        </p:spPr>
        <p:txBody>
          <a:bodyPr/>
          <a:lstStyle>
            <a:lvl1pPr marL="266940" indent="-266940">
              <a:buClr>
                <a:schemeClr val="tx1"/>
              </a:buClr>
              <a:buSzPct val="90000"/>
              <a:buFont typeface="Arial" pitchFamily="34" charset="0"/>
              <a:buChar char="•"/>
              <a:defRPr sz="330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25125" indent="-258187">
              <a:buClr>
                <a:schemeClr val="tx1"/>
              </a:buClr>
              <a:buSzPct val="90000"/>
              <a:buFont typeface="Arial" pitchFamily="34" charset="0"/>
              <a:buChar char="•"/>
              <a:defRPr sz="294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92065" indent="-266940">
              <a:buClr>
                <a:schemeClr val="tx1"/>
              </a:buClr>
              <a:buSzPct val="90000"/>
              <a:buFont typeface="Arial" pitchFamily="34" charset="0"/>
              <a:buChar char="•"/>
              <a:defRPr sz="257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02116" indent="-210051">
              <a:buClr>
                <a:schemeClr val="tx1"/>
              </a:buClr>
              <a:buSzPct val="90000"/>
              <a:buFont typeface="Arial" pitchFamily="34" charset="0"/>
              <a:buChar char="•"/>
              <a:defRPr sz="2206">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12165" indent="-210051">
              <a:buClr>
                <a:schemeClr val="tx1"/>
              </a:buClr>
              <a:buSzPct val="90000"/>
              <a:buFont typeface="Arial" pitchFamily="34" charset="0"/>
              <a:buChar char="•"/>
              <a:defRPr sz="183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400" spc="-4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3748111"/>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622"/>
            </a:lvl1pPr>
          </a:lstStyle>
          <a:p>
            <a:r>
              <a:rPr lang="en-US"/>
              <a:t>Click to edit Master title style</a:t>
            </a:r>
          </a:p>
        </p:txBody>
      </p:sp>
      <p:sp>
        <p:nvSpPr>
          <p:cNvPr id="3" name="Subtitle 2"/>
          <p:cNvSpPr>
            <a:spLocks noGrp="1"/>
          </p:cNvSpPr>
          <p:nvPr>
            <p:ph type="subTitle" idx="1"/>
          </p:nvPr>
        </p:nvSpPr>
        <p:spPr>
          <a:xfrm>
            <a:off x="1524000" y="3602039"/>
            <a:ext cx="9144000" cy="496290"/>
          </a:xfrm>
        </p:spPr>
        <p:txBody>
          <a:bodyPr/>
          <a:lstStyle>
            <a:lvl1pPr marL="0" indent="0" algn="ctr">
              <a:buNone/>
              <a:defRPr sz="2250"/>
            </a:lvl1pPr>
            <a:lvl2pPr marL="428461" indent="0" algn="ctr">
              <a:buNone/>
              <a:defRPr sz="1874"/>
            </a:lvl2pPr>
            <a:lvl3pPr marL="856921" indent="0" algn="ctr">
              <a:buNone/>
              <a:defRPr sz="1688"/>
            </a:lvl3pPr>
            <a:lvl4pPr marL="1285381" indent="0" algn="ctr">
              <a:buNone/>
              <a:defRPr sz="1500"/>
            </a:lvl4pPr>
            <a:lvl5pPr marL="1713842" indent="0" algn="ctr">
              <a:buNone/>
              <a:defRPr sz="1500"/>
            </a:lvl5pPr>
            <a:lvl6pPr marL="2142302" indent="0" algn="ctr">
              <a:buNone/>
              <a:defRPr sz="1500"/>
            </a:lvl6pPr>
            <a:lvl7pPr marL="2570763" indent="0" algn="ctr">
              <a:buNone/>
              <a:defRPr sz="1500"/>
            </a:lvl7pPr>
            <a:lvl8pPr marL="2999222" indent="0" algn="ctr">
              <a:buNone/>
              <a:defRPr sz="1500"/>
            </a:lvl8pPr>
            <a:lvl9pPr marL="3427683" indent="0" algn="ctr">
              <a:buNone/>
              <a:defRPr sz="1500"/>
            </a:lvl9pPr>
          </a:lstStyle>
          <a:p>
            <a:r>
              <a:rPr lang="en-US"/>
              <a:t>Click to edit Master subtitle style</a:t>
            </a:r>
          </a:p>
        </p:txBody>
      </p:sp>
      <p:sp>
        <p:nvSpPr>
          <p:cNvPr id="4" name="Date Placeholder 3"/>
          <p:cNvSpPr>
            <a:spLocks noGrp="1"/>
          </p:cNvSpPr>
          <p:nvPr>
            <p:ph type="dt" sz="half" idx="10"/>
          </p:nvPr>
        </p:nvSpPr>
        <p:spPr>
          <a:xfrm>
            <a:off x="838202" y="6356353"/>
            <a:ext cx="2743200" cy="365125"/>
          </a:xfrm>
          <a:prstGeom prst="rect">
            <a:avLst/>
          </a:prstGeom>
        </p:spPr>
        <p:txBody>
          <a:bodyPr/>
          <a:lstStyle/>
          <a:p>
            <a:pPr defTabSz="857055"/>
            <a:fld id="{FF10745D-BFEF-4546-BEC9-7742E95A3706}" type="datetimeFigureOut">
              <a:rPr lang="en-US" sz="1655" smtClean="0">
                <a:solidFill>
                  <a:srgbClr val="FFFFFF"/>
                </a:solidFill>
              </a:rPr>
              <a:pPr defTabSz="857055"/>
              <a:t>3/29/2021</a:t>
            </a:fld>
            <a:endParaRPr lang="en-US" sz="1655">
              <a:solidFill>
                <a:srgbClr val="FFFFFF"/>
              </a:solidFill>
            </a:endParaRPr>
          </a:p>
        </p:txBody>
      </p:sp>
      <p:sp>
        <p:nvSpPr>
          <p:cNvPr id="5" name="Footer Placeholder 4"/>
          <p:cNvSpPr>
            <a:spLocks noGrp="1"/>
          </p:cNvSpPr>
          <p:nvPr>
            <p:ph type="ftr" sz="quarter" idx="11"/>
          </p:nvPr>
        </p:nvSpPr>
        <p:spPr>
          <a:xfrm>
            <a:off x="4038600" y="6356353"/>
            <a:ext cx="4114800" cy="365125"/>
          </a:xfrm>
          <a:prstGeom prst="rect">
            <a:avLst/>
          </a:prstGeom>
        </p:spPr>
        <p:txBody>
          <a:bodyPr/>
          <a:lstStyle/>
          <a:p>
            <a:pPr defTabSz="857055"/>
            <a:endParaRPr lang="en-US" sz="1655">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857055"/>
            <a:fld id="{17D91851-E457-4236-BE61-7DC395D2A288}" type="slidenum">
              <a:rPr lang="en-US" sz="1655" smtClean="0">
                <a:solidFill>
                  <a:srgbClr val="FFFFFF"/>
                </a:solidFill>
              </a:rPr>
              <a:pPr defTabSz="857055"/>
              <a:t>‹#›</a:t>
            </a:fld>
            <a:endParaRPr lang="en-US" sz="1655">
              <a:solidFill>
                <a:srgbClr val="FFFFFF"/>
              </a:solidFill>
            </a:endParaRPr>
          </a:p>
        </p:txBody>
      </p:sp>
    </p:spTree>
    <p:extLst>
      <p:ext uri="{BB962C8B-B14F-4D97-AF65-F5344CB8AC3E}">
        <p14:creationId xmlns:p14="http://schemas.microsoft.com/office/powerpoint/2010/main" val="337371950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1" y="2008785"/>
            <a:ext cx="5157787" cy="496290"/>
          </a:xfrm>
        </p:spPr>
        <p:txBody>
          <a:bodyPr anchor="b"/>
          <a:lstStyle>
            <a:lvl1pPr marL="0" indent="0">
              <a:buNone/>
              <a:defRPr sz="2250" b="1"/>
            </a:lvl1pPr>
            <a:lvl2pPr marL="428543" indent="0">
              <a:buNone/>
              <a:defRPr sz="1874" b="1"/>
            </a:lvl2pPr>
            <a:lvl3pPr marL="857085" indent="0">
              <a:buNone/>
              <a:defRPr sz="1688" b="1"/>
            </a:lvl3pPr>
            <a:lvl4pPr marL="1285628" indent="0">
              <a:buNone/>
              <a:defRPr sz="1500" b="1"/>
            </a:lvl4pPr>
            <a:lvl5pPr marL="1714171" indent="0">
              <a:buNone/>
              <a:defRPr sz="1500" b="1"/>
            </a:lvl5pPr>
            <a:lvl6pPr marL="2142713" indent="0">
              <a:buNone/>
              <a:defRPr sz="1500" b="1"/>
            </a:lvl6pPr>
            <a:lvl7pPr marL="2571256" indent="0">
              <a:buNone/>
              <a:defRPr sz="1500" b="1"/>
            </a:lvl7pPr>
            <a:lvl8pPr marL="2999798" indent="0">
              <a:buNone/>
              <a:defRPr sz="1500" b="1"/>
            </a:lvl8pPr>
            <a:lvl9pPr marL="3428341" indent="0">
              <a:buNone/>
              <a:defRPr sz="1500" b="1"/>
            </a:lvl9pPr>
          </a:lstStyle>
          <a:p>
            <a:pPr lvl="0"/>
            <a:r>
              <a:rPr lang="en-US"/>
              <a:t>Click to edit Master text styles</a:t>
            </a:r>
          </a:p>
        </p:txBody>
      </p:sp>
      <p:sp>
        <p:nvSpPr>
          <p:cNvPr id="4" name="Content Placeholder 3"/>
          <p:cNvSpPr>
            <a:spLocks noGrp="1"/>
          </p:cNvSpPr>
          <p:nvPr>
            <p:ph sz="half" idx="2"/>
          </p:nvPr>
        </p:nvSpPr>
        <p:spPr>
          <a:xfrm>
            <a:off x="839791" y="2505076"/>
            <a:ext cx="5157787" cy="2435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2008785"/>
            <a:ext cx="5183188" cy="496290"/>
          </a:xfrm>
        </p:spPr>
        <p:txBody>
          <a:bodyPr anchor="b"/>
          <a:lstStyle>
            <a:lvl1pPr marL="0" indent="0">
              <a:buNone/>
              <a:defRPr sz="2250" b="1"/>
            </a:lvl1pPr>
            <a:lvl2pPr marL="428543" indent="0">
              <a:buNone/>
              <a:defRPr sz="1874" b="1"/>
            </a:lvl2pPr>
            <a:lvl3pPr marL="857085" indent="0">
              <a:buNone/>
              <a:defRPr sz="1688" b="1"/>
            </a:lvl3pPr>
            <a:lvl4pPr marL="1285628" indent="0">
              <a:buNone/>
              <a:defRPr sz="1500" b="1"/>
            </a:lvl4pPr>
            <a:lvl5pPr marL="1714171" indent="0">
              <a:buNone/>
              <a:defRPr sz="1500" b="1"/>
            </a:lvl5pPr>
            <a:lvl6pPr marL="2142713" indent="0">
              <a:buNone/>
              <a:defRPr sz="1500" b="1"/>
            </a:lvl6pPr>
            <a:lvl7pPr marL="2571256" indent="0">
              <a:buNone/>
              <a:defRPr sz="1500" b="1"/>
            </a:lvl7pPr>
            <a:lvl8pPr marL="2999798" indent="0">
              <a:buNone/>
              <a:defRPr sz="1500" b="1"/>
            </a:lvl8pPr>
            <a:lvl9pPr marL="3428341"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72200" y="2505076"/>
            <a:ext cx="5183188" cy="2435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1" y="6356352"/>
            <a:ext cx="2743200" cy="365125"/>
          </a:xfrm>
          <a:prstGeom prst="rect">
            <a:avLst/>
          </a:prstGeom>
        </p:spPr>
        <p:txBody>
          <a:bodyPr/>
          <a:lstStyle/>
          <a:p>
            <a:fld id="{F5E1262D-0FBC-4B24-BF93-EB17A44FB349}" type="datetimeFigureOut">
              <a:rPr lang="en-US">
                <a:solidFill>
                  <a:srgbClr val="FFFFFF"/>
                </a:solidFill>
              </a:rPr>
              <a:pPr/>
              <a:t>3/29/2021</a:t>
            </a:fld>
            <a:endParaRPr lang="en-US">
              <a:solidFill>
                <a:srgbClr val="FFFFFF"/>
              </a:solidFill>
            </a:endParaRPr>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endParaRPr lang="en-US">
              <a:solidFill>
                <a:srgbClr val="FFFFFF"/>
              </a:solidFill>
            </a:endParaRPr>
          </a:p>
        </p:txBody>
      </p:sp>
      <p:sp>
        <p:nvSpPr>
          <p:cNvPr id="9" name="Slide Number Placeholder 8"/>
          <p:cNvSpPr>
            <a:spLocks noGrp="1"/>
          </p:cNvSpPr>
          <p:nvPr>
            <p:ph type="sldNum" sz="quarter" idx="12"/>
          </p:nvPr>
        </p:nvSpPr>
        <p:spPr>
          <a:xfrm>
            <a:off x="8610600" y="6356352"/>
            <a:ext cx="2743200" cy="365125"/>
          </a:xfrm>
          <a:prstGeom prst="rect">
            <a:avLst/>
          </a:prstGeom>
        </p:spPr>
        <p:txBody>
          <a:bodyPr/>
          <a:lstStyle/>
          <a:p>
            <a:fld id="{EC354C75-676E-4691-9B79-CBB15BB669AF}"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09459483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327394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2"/>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3"/>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l" defTabSz="932304"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75"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75"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75"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4" y="3183754"/>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1" y="1816159"/>
            <a:ext cx="3474481" cy="4149241"/>
          </a:xfrm>
          <a:prstGeom prst="rect">
            <a:avLst/>
          </a:prstGeom>
        </p:spPr>
      </p:pic>
    </p:spTree>
    <p:extLst>
      <p:ext uri="{BB962C8B-B14F-4D97-AF65-F5344CB8AC3E}">
        <p14:creationId xmlns:p14="http://schemas.microsoft.com/office/powerpoint/2010/main" val="2963826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90"/>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1"/>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2"/>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90"/>
            <a:ext cx="2691631" cy="276999"/>
          </a:xfrm>
          <a:solidFill>
            <a:srgbClr val="E6E6E6">
              <a:alpha val="75000"/>
            </a:srgbClr>
          </a:solidFill>
        </p:spPr>
        <p:txBody>
          <a:bodyPr/>
          <a:lstStyle>
            <a:lvl1pPr marL="0" marR="0" indent="0" algn="r" defTabSz="932575"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111641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9" indent="0">
              <a:buNone/>
              <a:defRPr/>
            </a:lvl2pPr>
            <a:lvl3pPr marL="457117" indent="0">
              <a:buNone/>
              <a:defRPr/>
            </a:lvl3pPr>
            <a:lvl4pPr marL="685677" indent="0">
              <a:buNone/>
              <a:defRPr/>
            </a:lvl4pPr>
            <a:lvl5pPr marL="914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57978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1219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42" indent="0">
              <a:buFont typeface="Wingdings" panose="05000000000000000000" pitchFamily="2" charset="2"/>
              <a:buNone/>
              <a:defRPr sz="2000" b="0"/>
            </a:lvl2pPr>
            <a:lvl3pPr marL="450768" indent="0">
              <a:buFont typeface="Wingdings" panose="05000000000000000000" pitchFamily="2" charset="2"/>
              <a:buNone/>
              <a:tabLst/>
              <a:defRPr sz="1600" b="0"/>
            </a:lvl3pPr>
            <a:lvl4pPr marL="652345" indent="0">
              <a:buFont typeface="Wingdings" panose="05000000000000000000" pitchFamily="2" charset="2"/>
              <a:buNone/>
              <a:defRPr sz="1400" b="0"/>
            </a:lvl4pPr>
            <a:lvl5pPr marL="85392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42" indent="0">
              <a:buFont typeface="Wingdings" panose="05000000000000000000" pitchFamily="2" charset="2"/>
              <a:buNone/>
              <a:defRPr sz="2000" b="0"/>
            </a:lvl2pPr>
            <a:lvl3pPr marL="450768" indent="0">
              <a:buFont typeface="Wingdings" panose="05000000000000000000" pitchFamily="2" charset="2"/>
              <a:buNone/>
              <a:tabLst/>
              <a:defRPr sz="1600" b="0"/>
            </a:lvl3pPr>
            <a:lvl4pPr marL="652345" indent="0">
              <a:buFont typeface="Wingdings" panose="05000000000000000000" pitchFamily="2" charset="2"/>
              <a:buNone/>
              <a:defRPr sz="1400" b="0"/>
            </a:lvl4pPr>
            <a:lvl5pPr marL="85392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93313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2" indent="-231732">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61" indent="-171419">
              <a:buFont typeface="Wingdings" panose="05000000000000000000" pitchFamily="2" charset="2"/>
              <a:buChar char=""/>
              <a:defRPr sz="2000" b="0"/>
            </a:lvl2pPr>
            <a:lvl3pPr marL="639647" indent="-188878">
              <a:buFont typeface="Wingdings" panose="05000000000000000000" pitchFamily="2" charset="2"/>
              <a:buChar char=""/>
              <a:tabLst/>
              <a:defRPr sz="1600" b="0"/>
            </a:lvl3pPr>
            <a:lvl4pPr marL="828526" indent="-176181">
              <a:buFont typeface="Wingdings" panose="05000000000000000000" pitchFamily="2" charset="2"/>
              <a:buChar char=""/>
              <a:defRPr sz="1400" b="0"/>
            </a:lvl4pPr>
            <a:lvl5pPr marL="1023754" indent="-16983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2" indent="-231732">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61" indent="-171419">
              <a:buFont typeface="Wingdings" panose="05000000000000000000" pitchFamily="2" charset="2"/>
              <a:buChar char=""/>
              <a:defRPr sz="2000" b="0"/>
            </a:lvl2pPr>
            <a:lvl3pPr marL="639647" indent="-188878">
              <a:buFont typeface="Wingdings" panose="05000000000000000000" pitchFamily="2" charset="2"/>
              <a:buChar char=""/>
              <a:tabLst/>
              <a:defRPr sz="1600" b="0"/>
            </a:lvl3pPr>
            <a:lvl4pPr marL="828526" indent="-176181">
              <a:buFont typeface="Wingdings" panose="05000000000000000000" pitchFamily="2" charset="2"/>
              <a:buChar char=""/>
              <a:defRPr sz="1400" b="0"/>
            </a:lvl4pPr>
            <a:lvl5pPr marL="1023754" indent="-16983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5101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spTree>
    <p:extLst>
      <p:ext uri="{BB962C8B-B14F-4D97-AF65-F5344CB8AC3E}">
        <p14:creationId xmlns:p14="http://schemas.microsoft.com/office/powerpoint/2010/main" val="1382904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07281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2884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181064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2" y="292102"/>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75"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50"/>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9" indent="0">
              <a:buNone/>
              <a:defRPr/>
            </a:lvl2pPr>
            <a:lvl3pPr marL="457117" indent="0">
              <a:buNone/>
              <a:defRPr/>
            </a:lvl3pPr>
            <a:lvl4pPr marL="661869" indent="0">
              <a:buNone/>
              <a:defRPr/>
            </a:lvl4pPr>
            <a:lvl5pPr marL="855510" indent="0">
              <a:buNone/>
              <a:defRPr/>
            </a:lvl5pPr>
          </a:lstStyle>
          <a:p>
            <a:pPr lvl="0"/>
            <a:r>
              <a:rPr lang="en-US"/>
              <a:t>Edit Master text styles</a:t>
            </a:r>
          </a:p>
        </p:txBody>
      </p:sp>
    </p:spTree>
    <p:extLst>
      <p:ext uri="{BB962C8B-B14F-4D97-AF65-F5344CB8AC3E}">
        <p14:creationId xmlns:p14="http://schemas.microsoft.com/office/powerpoint/2010/main" val="42702759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2"/>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2"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2" y="292102"/>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75"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92409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2"/>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7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1"/>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879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2"/>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7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9649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2"/>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7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165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809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9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0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1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808"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77376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73637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23"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1165350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67123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3/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68071803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useBgFill="1">
        <p:nvSpPr>
          <p:cNvPr id="12" name="Rectangle: Top Corners Rounded 11"/>
          <p:cNvSpPr/>
          <p:nvPr userDrawn="1"/>
        </p:nvSpPr>
        <p:spPr bwMode="auto">
          <a:xfrm rot="16200000">
            <a:off x="10934847"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304"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49" indent="0">
              <a:buNone/>
              <a:defRPr sz="2353">
                <a:solidFill>
                  <a:schemeClr val="bg1"/>
                </a:solidFill>
                <a:latin typeface="+mn-lt"/>
              </a:defRPr>
            </a:lvl2pPr>
            <a:lvl3pPr marL="520608" indent="0">
              <a:buNone/>
              <a:tabLst/>
              <a:defRPr sz="1961">
                <a:solidFill>
                  <a:schemeClr val="bg1"/>
                </a:solidFill>
                <a:latin typeface="+mn-lt"/>
              </a:defRPr>
            </a:lvl3pPr>
            <a:lvl4pPr marL="685679" indent="0">
              <a:buNone/>
              <a:defRPr>
                <a:solidFill>
                  <a:schemeClr val="bg1"/>
                </a:solidFill>
                <a:latin typeface="+mn-lt"/>
              </a:defRPr>
            </a:lvl4pPr>
            <a:lvl5pPr marL="863448"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1"/>
            <a:ext cx="3780246" cy="1231218"/>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3" y="1604088"/>
            <a:ext cx="3780245" cy="246257"/>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9" indent="0">
              <a:buNone/>
              <a:defRPr sz="2353">
                <a:solidFill>
                  <a:schemeClr val="bg1"/>
                </a:solidFill>
                <a:latin typeface="+mn-lt"/>
              </a:defRPr>
            </a:lvl2pPr>
            <a:lvl3pPr marL="520608" indent="0">
              <a:buNone/>
              <a:tabLst/>
              <a:defRPr sz="1961">
                <a:solidFill>
                  <a:schemeClr val="bg1"/>
                </a:solidFill>
                <a:latin typeface="+mn-lt"/>
              </a:defRPr>
            </a:lvl3pPr>
            <a:lvl4pPr marL="685679" indent="0">
              <a:buNone/>
              <a:defRPr>
                <a:solidFill>
                  <a:schemeClr val="bg1"/>
                </a:solidFill>
                <a:latin typeface="+mn-lt"/>
              </a:defRPr>
            </a:lvl4pPr>
            <a:lvl5pPr marL="863448"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151064"/>
            <a:ext cx="3329638" cy="215451"/>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049" indent="0">
              <a:buNone/>
              <a:defRPr sz="2353">
                <a:solidFill>
                  <a:schemeClr val="bg1"/>
                </a:solidFill>
                <a:latin typeface="+mn-lt"/>
              </a:defRPr>
            </a:lvl2pPr>
            <a:lvl3pPr marL="520608" indent="0">
              <a:buNone/>
              <a:tabLst/>
              <a:defRPr sz="1961">
                <a:solidFill>
                  <a:schemeClr val="bg1"/>
                </a:solidFill>
                <a:latin typeface="+mn-lt"/>
              </a:defRPr>
            </a:lvl3pPr>
            <a:lvl4pPr marL="685679" indent="0">
              <a:buNone/>
              <a:defRPr>
                <a:solidFill>
                  <a:schemeClr val="bg1"/>
                </a:solidFill>
                <a:latin typeface="+mn-lt"/>
              </a:defRPr>
            </a:lvl4pPr>
            <a:lvl5pPr marL="863448"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3"/>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1"/>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p:spPr>
        <p:txBody>
          <a:bodyPr vert="horz" wrap="square" lIns="89629" tIns="44813" rIns="89629" bIns="44813" numCol="1" anchor="t" anchorCtr="0" compatLnSpc="1">
            <a:prstTxWarp prst="textNoShape">
              <a:avLst/>
            </a:prstTxWarp>
          </a:bodyPr>
          <a:lstStyle/>
          <a:p>
            <a:pPr marL="0" marR="0" lvl="0" indent="0" defTabSz="9142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25788104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20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9" indent="0">
              <a:spcBef>
                <a:spcPts val="0"/>
              </a:spcBef>
              <a:spcAft>
                <a:spcPts val="1273"/>
              </a:spcAft>
              <a:buNone/>
              <a:defRPr sz="1961"/>
            </a:lvl4pPr>
            <a:lvl5pPr marL="896225"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8" y="6431031"/>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2072464535"/>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359385" y="90604"/>
            <a:ext cx="11428379" cy="615609"/>
          </a:xfrm>
          <a:prstGeom prst="rect">
            <a:avLst/>
          </a:prstGeom>
        </p:spPr>
        <p:txBody>
          <a:bodyPr anchor="t"/>
          <a:lstStyle>
            <a:lvl1pPr>
              <a:defRPr sz="4000"/>
            </a:lvl1pPr>
          </a:lstStyle>
          <a:p>
            <a:r>
              <a:rPr lang="en-US"/>
              <a:t>Click to edit Master title style</a:t>
            </a:r>
          </a:p>
        </p:txBody>
      </p:sp>
      <p:sp>
        <p:nvSpPr>
          <p:cNvPr id="4" name="Text Placeholder 2"/>
          <p:cNvSpPr>
            <a:spLocks noGrp="1"/>
          </p:cNvSpPr>
          <p:nvPr>
            <p:ph type="body" sz="quarter" idx="11"/>
          </p:nvPr>
        </p:nvSpPr>
        <p:spPr>
          <a:xfrm>
            <a:off x="359385" y="719397"/>
            <a:ext cx="11428379" cy="596144"/>
          </a:xfrm>
          <a:prstGeom prst="rect">
            <a:avLst/>
          </a:prstGeom>
        </p:spPr>
        <p:txBody>
          <a:bodyPr vert="horz" wrap="square" lIns="91440" tIns="45720" rIns="91440" bIns="45720" rtlCol="0" anchor="t">
            <a:noAutofit/>
          </a:bodyPr>
          <a:lstStyle>
            <a:lvl1pPr marL="0" indent="0">
              <a:buFontTx/>
              <a:buNone/>
              <a:defRPr lang="en-US" sz="2600" b="0" cap="none" spc="-100" dirty="0" smtClean="0">
                <a:ln w="3175">
                  <a:noFill/>
                </a:ln>
                <a:solidFill>
                  <a:schemeClr val="accent1"/>
                </a:solidFill>
                <a:effectLst/>
                <a:latin typeface="+mj-lt"/>
                <a:cs typeface="Segoe UI" pitchFamily="34" charset="0"/>
              </a:defRPr>
            </a:lvl1pPr>
            <a:lvl2pPr>
              <a:defRPr lang="en-US" sz="1567" dirty="0" smtClean="0"/>
            </a:lvl2pPr>
            <a:lvl3pPr>
              <a:defRPr lang="en-US" sz="1567" dirty="0" smtClean="0"/>
            </a:lvl3pPr>
            <a:lvl4pPr>
              <a:defRPr lang="en-US" sz="1371" dirty="0" smtClean="0"/>
            </a:lvl4pPr>
            <a:lvl5pPr>
              <a:defRPr lang="en-US" sz="1371" dirty="0"/>
            </a:lvl5pPr>
          </a:lstStyle>
          <a:p>
            <a:pPr lvl="0">
              <a:spcBef>
                <a:spcPct val="0"/>
              </a:spcBef>
              <a:buNone/>
            </a:pPr>
            <a:r>
              <a:rPr lang="en-US"/>
              <a:t>Edit Master text styles</a:t>
            </a:r>
          </a:p>
        </p:txBody>
      </p:sp>
      <p:sp>
        <p:nvSpPr>
          <p:cNvPr id="5" name="Text Placeholder 11"/>
          <p:cNvSpPr>
            <a:spLocks noGrp="1"/>
          </p:cNvSpPr>
          <p:nvPr>
            <p:ph type="body" sz="quarter" idx="13" hasCustomPrompt="1"/>
          </p:nvPr>
        </p:nvSpPr>
        <p:spPr>
          <a:xfrm>
            <a:off x="1" y="6734889"/>
            <a:ext cx="7848600" cy="123111"/>
          </a:xfrm>
          <a:prstGeom prst="rect">
            <a:avLst/>
          </a:prstGeom>
        </p:spPr>
        <p:txBody>
          <a:bodyPr anchor="b"/>
          <a:lstStyle>
            <a:lvl1pPr marL="0" indent="0">
              <a:buNone/>
              <a:defRPr sz="800">
                <a:solidFill>
                  <a:schemeClr val="tx1">
                    <a:lumMod val="50000"/>
                  </a:schemeClr>
                </a:solidFill>
              </a:defRPr>
            </a:lvl1pPr>
          </a:lstStyle>
          <a:p>
            <a:pPr lvl="0"/>
            <a:r>
              <a:rPr lang="en-US" sz="800"/>
              <a:t>Source:</a:t>
            </a:r>
            <a:endParaRPr lang="en-US"/>
          </a:p>
        </p:txBody>
      </p:sp>
    </p:spTree>
    <p:extLst>
      <p:ext uri="{BB962C8B-B14F-4D97-AF65-F5344CB8AC3E}">
        <p14:creationId xmlns:p14="http://schemas.microsoft.com/office/powerpoint/2010/main" val="29275282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2" name="Title 1"/>
          <p:cNvSpPr>
            <a:spLocks noGrp="1"/>
          </p:cNvSpPr>
          <p:nvPr>
            <p:ph type="title"/>
          </p:nvPr>
        </p:nvSpPr>
        <p:spPr>
          <a:xfrm>
            <a:off x="411970" y="3059668"/>
            <a:ext cx="11311107" cy="738664"/>
          </a:xfrm>
        </p:spPr>
        <p:txBody>
          <a:bodyPr anchor="ctr" anchorCtr="0"/>
          <a:lstStyle>
            <a:lvl1pPr>
              <a:defRPr sz="4801" b="0">
                <a:latin typeface="+mn-lt"/>
              </a:defRPr>
            </a:lvl1pPr>
          </a:lstStyle>
          <a:p>
            <a:r>
              <a:rPr lang="en-US"/>
              <a:t>Click to edit Master title style</a:t>
            </a:r>
          </a:p>
        </p:txBody>
      </p:sp>
      <p:grpSp>
        <p:nvGrpSpPr>
          <p:cNvPr id="17" name="Group 16"/>
          <p:cNvGrpSpPr/>
          <p:nvPr userDrawn="1"/>
        </p:nvGrpSpPr>
        <p:grpSpPr>
          <a:xfrm>
            <a:off x="10493815" y="6287141"/>
            <a:ext cx="1229262" cy="261833"/>
            <a:chOff x="3321050" y="454025"/>
            <a:chExt cx="5910263" cy="1258888"/>
          </a:xfrm>
        </p:grpSpPr>
        <p:sp>
          <p:nvSpPr>
            <p:cNvPr id="18" name="Freeform 3"/>
            <p:cNvSpPr>
              <a:spLocks noChangeArrowheads="1"/>
            </p:cNvSpPr>
            <p:nvPr/>
          </p:nvSpPr>
          <p:spPr bwMode="auto">
            <a:xfrm>
              <a:off x="4960938" y="704850"/>
              <a:ext cx="817562" cy="757238"/>
            </a:xfrm>
            <a:custGeom>
              <a:avLst/>
              <a:gdLst>
                <a:gd name="T0" fmla="*/ 1917 w 2272"/>
                <a:gd name="T1" fmla="*/ 489 h 2104"/>
                <a:gd name="T2" fmla="*/ 1917 w 2272"/>
                <a:gd name="T3" fmla="*/ 2103 h 2104"/>
                <a:gd name="T4" fmla="*/ 2271 w 2272"/>
                <a:gd name="T5" fmla="*/ 2103 h 2104"/>
                <a:gd name="T6" fmla="*/ 2271 w 2272"/>
                <a:gd name="T7" fmla="*/ 0 h 2104"/>
                <a:gd name="T8" fmla="*/ 2271 w 2272"/>
                <a:gd name="T9" fmla="*/ 0 h 2104"/>
                <a:gd name="T10" fmla="*/ 1771 w 2272"/>
                <a:gd name="T11" fmla="*/ 0 h 2104"/>
                <a:gd name="T12" fmla="*/ 1135 w 2272"/>
                <a:gd name="T13" fmla="*/ 1561 h 2104"/>
                <a:gd name="T14" fmla="*/ 521 w 2272"/>
                <a:gd name="T15" fmla="*/ 0 h 2104"/>
                <a:gd name="T16" fmla="*/ 0 w 2272"/>
                <a:gd name="T17" fmla="*/ 0 h 2104"/>
                <a:gd name="T18" fmla="*/ 0 w 2272"/>
                <a:gd name="T19" fmla="*/ 2103 h 2104"/>
                <a:gd name="T20" fmla="*/ 344 w 2272"/>
                <a:gd name="T21" fmla="*/ 2103 h 2104"/>
                <a:gd name="T22" fmla="*/ 344 w 2272"/>
                <a:gd name="T23" fmla="*/ 489 h 2104"/>
                <a:gd name="T24" fmla="*/ 354 w 2272"/>
                <a:gd name="T25" fmla="*/ 489 h 2104"/>
                <a:gd name="T26" fmla="*/ 1000 w 2272"/>
                <a:gd name="T27" fmla="*/ 2103 h 2104"/>
                <a:gd name="T28" fmla="*/ 1260 w 2272"/>
                <a:gd name="T29" fmla="*/ 2103 h 2104"/>
                <a:gd name="T30" fmla="*/ 1906 w 2272"/>
                <a:gd name="T31" fmla="*/ 489 h 2104"/>
                <a:gd name="T32" fmla="*/ 1917 w 2272"/>
                <a:gd name="T33" fmla="*/ 489 h 2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72" h="2104">
                  <a:moveTo>
                    <a:pt x="1917" y="489"/>
                  </a:moveTo>
                  <a:lnTo>
                    <a:pt x="1917" y="2103"/>
                  </a:lnTo>
                  <a:lnTo>
                    <a:pt x="2271" y="2103"/>
                  </a:lnTo>
                  <a:lnTo>
                    <a:pt x="2271" y="0"/>
                  </a:lnTo>
                  <a:lnTo>
                    <a:pt x="2271" y="0"/>
                  </a:lnTo>
                  <a:lnTo>
                    <a:pt x="1771" y="0"/>
                  </a:lnTo>
                  <a:lnTo>
                    <a:pt x="1135" y="1561"/>
                  </a:lnTo>
                  <a:lnTo>
                    <a:pt x="521" y="0"/>
                  </a:lnTo>
                  <a:lnTo>
                    <a:pt x="0" y="0"/>
                  </a:lnTo>
                  <a:lnTo>
                    <a:pt x="0" y="2103"/>
                  </a:lnTo>
                  <a:lnTo>
                    <a:pt x="344" y="2103"/>
                  </a:lnTo>
                  <a:lnTo>
                    <a:pt x="344" y="489"/>
                  </a:lnTo>
                  <a:lnTo>
                    <a:pt x="354" y="489"/>
                  </a:lnTo>
                  <a:lnTo>
                    <a:pt x="1000" y="2103"/>
                  </a:lnTo>
                  <a:lnTo>
                    <a:pt x="1260" y="2103"/>
                  </a:lnTo>
                  <a:lnTo>
                    <a:pt x="1906" y="489"/>
                  </a:lnTo>
                  <a:lnTo>
                    <a:pt x="1917" y="489"/>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9" name="Freeform 4"/>
            <p:cNvSpPr>
              <a:spLocks noChangeArrowheads="1"/>
            </p:cNvSpPr>
            <p:nvPr/>
          </p:nvSpPr>
          <p:spPr bwMode="auto">
            <a:xfrm>
              <a:off x="5889625" y="688975"/>
              <a:ext cx="153988" cy="773113"/>
            </a:xfrm>
            <a:custGeom>
              <a:avLst/>
              <a:gdLst>
                <a:gd name="T0" fmla="*/ 209 w 428"/>
                <a:gd name="T1" fmla="*/ 0 h 2146"/>
                <a:gd name="T2" fmla="*/ 209 w 428"/>
                <a:gd name="T3" fmla="*/ 0 h 2146"/>
                <a:gd name="T4" fmla="*/ 63 w 428"/>
                <a:gd name="T5" fmla="*/ 52 h 2146"/>
                <a:gd name="T6" fmla="*/ 0 w 428"/>
                <a:gd name="T7" fmla="*/ 208 h 2146"/>
                <a:gd name="T8" fmla="*/ 63 w 428"/>
                <a:gd name="T9" fmla="*/ 344 h 2146"/>
                <a:gd name="T10" fmla="*/ 209 w 428"/>
                <a:gd name="T11" fmla="*/ 406 h 2146"/>
                <a:gd name="T12" fmla="*/ 365 w 428"/>
                <a:gd name="T13" fmla="*/ 344 h 2146"/>
                <a:gd name="T14" fmla="*/ 427 w 428"/>
                <a:gd name="T15" fmla="*/ 208 h 2146"/>
                <a:gd name="T16" fmla="*/ 365 w 428"/>
                <a:gd name="T17" fmla="*/ 62 h 2146"/>
                <a:gd name="T18" fmla="*/ 209 w 428"/>
                <a:gd name="T19" fmla="*/ 0 h 2146"/>
                <a:gd name="T20" fmla="*/ 386 w 428"/>
                <a:gd name="T21" fmla="*/ 635 h 2146"/>
                <a:gd name="T22" fmla="*/ 386 w 428"/>
                <a:gd name="T23" fmla="*/ 635 h 2146"/>
                <a:gd name="T24" fmla="*/ 32 w 428"/>
                <a:gd name="T25" fmla="*/ 635 h 2146"/>
                <a:gd name="T26" fmla="*/ 32 w 428"/>
                <a:gd name="T27" fmla="*/ 2145 h 2146"/>
                <a:gd name="T28" fmla="*/ 386 w 428"/>
                <a:gd name="T29" fmla="*/ 2145 h 2146"/>
                <a:gd name="T30" fmla="*/ 386 w 428"/>
                <a:gd name="T31" fmla="*/ 635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8" h="2146">
                  <a:moveTo>
                    <a:pt x="209" y="0"/>
                  </a:moveTo>
                  <a:lnTo>
                    <a:pt x="209" y="0"/>
                  </a:lnTo>
                  <a:cubicBezTo>
                    <a:pt x="157" y="0"/>
                    <a:pt x="104" y="21"/>
                    <a:pt x="63" y="52"/>
                  </a:cubicBezTo>
                  <a:cubicBezTo>
                    <a:pt x="21" y="94"/>
                    <a:pt x="0" y="146"/>
                    <a:pt x="0" y="208"/>
                  </a:cubicBezTo>
                  <a:cubicBezTo>
                    <a:pt x="0" y="260"/>
                    <a:pt x="21" y="312"/>
                    <a:pt x="63" y="344"/>
                  </a:cubicBezTo>
                  <a:cubicBezTo>
                    <a:pt x="104" y="385"/>
                    <a:pt x="157" y="406"/>
                    <a:pt x="209" y="406"/>
                  </a:cubicBezTo>
                  <a:cubicBezTo>
                    <a:pt x="271" y="406"/>
                    <a:pt x="323" y="385"/>
                    <a:pt x="365" y="344"/>
                  </a:cubicBezTo>
                  <a:cubicBezTo>
                    <a:pt x="407" y="312"/>
                    <a:pt x="427" y="260"/>
                    <a:pt x="427" y="208"/>
                  </a:cubicBezTo>
                  <a:cubicBezTo>
                    <a:pt x="427" y="146"/>
                    <a:pt x="407" y="94"/>
                    <a:pt x="365" y="62"/>
                  </a:cubicBezTo>
                  <a:cubicBezTo>
                    <a:pt x="323" y="21"/>
                    <a:pt x="271" y="0"/>
                    <a:pt x="209" y="0"/>
                  </a:cubicBezTo>
                  <a:close/>
                  <a:moveTo>
                    <a:pt x="386" y="635"/>
                  </a:moveTo>
                  <a:lnTo>
                    <a:pt x="386" y="635"/>
                  </a:lnTo>
                  <a:cubicBezTo>
                    <a:pt x="32" y="635"/>
                    <a:pt x="32" y="635"/>
                    <a:pt x="32" y="635"/>
                  </a:cubicBezTo>
                  <a:cubicBezTo>
                    <a:pt x="32" y="2145"/>
                    <a:pt x="32" y="2145"/>
                    <a:pt x="32" y="2145"/>
                  </a:cubicBezTo>
                  <a:cubicBezTo>
                    <a:pt x="386" y="2145"/>
                    <a:pt x="386" y="2145"/>
                    <a:pt x="386" y="2145"/>
                  </a:cubicBezTo>
                  <a:cubicBezTo>
                    <a:pt x="386" y="635"/>
                    <a:pt x="386" y="635"/>
                    <a:pt x="386" y="635"/>
                  </a:cubicBezTo>
                  <a:close/>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0" name="Freeform 5"/>
            <p:cNvSpPr>
              <a:spLocks noChangeArrowheads="1"/>
            </p:cNvSpPr>
            <p:nvPr/>
          </p:nvSpPr>
          <p:spPr bwMode="auto">
            <a:xfrm>
              <a:off x="6119813" y="906463"/>
              <a:ext cx="423862" cy="566737"/>
            </a:xfrm>
            <a:custGeom>
              <a:avLst/>
              <a:gdLst>
                <a:gd name="T0" fmla="*/ 801 w 1177"/>
                <a:gd name="T1" fmla="*/ 0 h 1573"/>
                <a:gd name="T2" fmla="*/ 801 w 1177"/>
                <a:gd name="T3" fmla="*/ 0 h 1573"/>
                <a:gd name="T4" fmla="*/ 375 w 1177"/>
                <a:gd name="T5" fmla="*/ 104 h 1573"/>
                <a:gd name="T6" fmla="*/ 94 w 1177"/>
                <a:gd name="T7" fmla="*/ 396 h 1573"/>
                <a:gd name="T8" fmla="*/ 0 w 1177"/>
                <a:gd name="T9" fmla="*/ 822 h 1573"/>
                <a:gd name="T10" fmla="*/ 94 w 1177"/>
                <a:gd name="T11" fmla="*/ 1207 h 1573"/>
                <a:gd name="T12" fmla="*/ 354 w 1177"/>
                <a:gd name="T13" fmla="*/ 1478 h 1573"/>
                <a:gd name="T14" fmla="*/ 738 w 1177"/>
                <a:gd name="T15" fmla="*/ 1572 h 1573"/>
                <a:gd name="T16" fmla="*/ 1165 w 1177"/>
                <a:gd name="T17" fmla="*/ 1478 h 1573"/>
                <a:gd name="T18" fmla="*/ 1176 w 1177"/>
                <a:gd name="T19" fmla="*/ 1468 h 1573"/>
                <a:gd name="T20" fmla="*/ 1176 w 1177"/>
                <a:gd name="T21" fmla="*/ 1145 h 1573"/>
                <a:gd name="T22" fmla="*/ 1155 w 1177"/>
                <a:gd name="T23" fmla="*/ 1155 h 1573"/>
                <a:gd name="T24" fmla="*/ 988 w 1177"/>
                <a:gd name="T25" fmla="*/ 1249 h 1573"/>
                <a:gd name="T26" fmla="*/ 811 w 1177"/>
                <a:gd name="T27" fmla="*/ 1280 h 1573"/>
                <a:gd name="T28" fmla="*/ 488 w 1177"/>
                <a:gd name="T29" fmla="*/ 1155 h 1573"/>
                <a:gd name="T30" fmla="*/ 364 w 1177"/>
                <a:gd name="T31" fmla="*/ 791 h 1573"/>
                <a:gd name="T32" fmla="*/ 488 w 1177"/>
                <a:gd name="T33" fmla="*/ 427 h 1573"/>
                <a:gd name="T34" fmla="*/ 822 w 1177"/>
                <a:gd name="T35" fmla="*/ 292 h 1573"/>
                <a:gd name="T36" fmla="*/ 1155 w 1177"/>
                <a:gd name="T37" fmla="*/ 406 h 1573"/>
                <a:gd name="T38" fmla="*/ 1176 w 1177"/>
                <a:gd name="T39" fmla="*/ 417 h 1573"/>
                <a:gd name="T40" fmla="*/ 1176 w 1177"/>
                <a:gd name="T41" fmla="*/ 73 h 1573"/>
                <a:gd name="T42" fmla="*/ 1165 w 1177"/>
                <a:gd name="T43" fmla="*/ 73 h 1573"/>
                <a:gd name="T44" fmla="*/ 999 w 1177"/>
                <a:gd name="T45" fmla="*/ 21 h 1573"/>
                <a:gd name="T46" fmla="*/ 801 w 1177"/>
                <a:gd name="T47"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7" h="1573">
                  <a:moveTo>
                    <a:pt x="801" y="0"/>
                  </a:moveTo>
                  <a:lnTo>
                    <a:pt x="801" y="0"/>
                  </a:lnTo>
                  <a:cubicBezTo>
                    <a:pt x="645" y="0"/>
                    <a:pt x="499" y="31"/>
                    <a:pt x="375" y="104"/>
                  </a:cubicBezTo>
                  <a:cubicBezTo>
                    <a:pt x="250" y="167"/>
                    <a:pt x="156" y="271"/>
                    <a:pt x="94" y="396"/>
                  </a:cubicBezTo>
                  <a:cubicBezTo>
                    <a:pt x="31" y="520"/>
                    <a:pt x="0" y="666"/>
                    <a:pt x="0" y="822"/>
                  </a:cubicBezTo>
                  <a:cubicBezTo>
                    <a:pt x="0" y="968"/>
                    <a:pt x="31" y="1093"/>
                    <a:pt x="94" y="1207"/>
                  </a:cubicBezTo>
                  <a:cubicBezTo>
                    <a:pt x="156" y="1322"/>
                    <a:pt x="239" y="1416"/>
                    <a:pt x="354" y="1478"/>
                  </a:cubicBezTo>
                  <a:cubicBezTo>
                    <a:pt x="467" y="1541"/>
                    <a:pt x="593" y="1572"/>
                    <a:pt x="738" y="1572"/>
                  </a:cubicBezTo>
                  <a:cubicBezTo>
                    <a:pt x="905" y="1572"/>
                    <a:pt x="1051" y="1541"/>
                    <a:pt x="1165" y="1478"/>
                  </a:cubicBezTo>
                  <a:cubicBezTo>
                    <a:pt x="1176" y="1468"/>
                    <a:pt x="1176" y="1468"/>
                    <a:pt x="1176" y="1468"/>
                  </a:cubicBezTo>
                  <a:cubicBezTo>
                    <a:pt x="1176" y="1145"/>
                    <a:pt x="1176" y="1145"/>
                    <a:pt x="1176" y="1145"/>
                  </a:cubicBezTo>
                  <a:cubicBezTo>
                    <a:pt x="1155" y="1155"/>
                    <a:pt x="1155" y="1155"/>
                    <a:pt x="1155" y="1155"/>
                  </a:cubicBezTo>
                  <a:cubicBezTo>
                    <a:pt x="1103" y="1197"/>
                    <a:pt x="1051" y="1228"/>
                    <a:pt x="988" y="1249"/>
                  </a:cubicBezTo>
                  <a:cubicBezTo>
                    <a:pt x="926" y="1270"/>
                    <a:pt x="863" y="1280"/>
                    <a:pt x="811" y="1280"/>
                  </a:cubicBezTo>
                  <a:cubicBezTo>
                    <a:pt x="676" y="1280"/>
                    <a:pt x="561" y="1239"/>
                    <a:pt x="488" y="1155"/>
                  </a:cubicBezTo>
                  <a:cubicBezTo>
                    <a:pt x="406" y="1062"/>
                    <a:pt x="364" y="947"/>
                    <a:pt x="364" y="791"/>
                  </a:cubicBezTo>
                  <a:cubicBezTo>
                    <a:pt x="364" y="645"/>
                    <a:pt x="406" y="520"/>
                    <a:pt x="488" y="427"/>
                  </a:cubicBezTo>
                  <a:cubicBezTo>
                    <a:pt x="572" y="333"/>
                    <a:pt x="686" y="292"/>
                    <a:pt x="822" y="292"/>
                  </a:cubicBezTo>
                  <a:cubicBezTo>
                    <a:pt x="936" y="292"/>
                    <a:pt x="1051" y="333"/>
                    <a:pt x="1155" y="406"/>
                  </a:cubicBezTo>
                  <a:cubicBezTo>
                    <a:pt x="1176" y="417"/>
                    <a:pt x="1176" y="417"/>
                    <a:pt x="1176" y="417"/>
                  </a:cubicBezTo>
                  <a:cubicBezTo>
                    <a:pt x="1176" y="73"/>
                    <a:pt x="1176" y="73"/>
                    <a:pt x="1176" y="73"/>
                  </a:cubicBezTo>
                  <a:cubicBezTo>
                    <a:pt x="1165" y="73"/>
                    <a:pt x="1165" y="73"/>
                    <a:pt x="1165" y="73"/>
                  </a:cubicBezTo>
                  <a:cubicBezTo>
                    <a:pt x="1124" y="52"/>
                    <a:pt x="1072" y="31"/>
                    <a:pt x="999" y="21"/>
                  </a:cubicBezTo>
                  <a:cubicBezTo>
                    <a:pt x="936" y="0"/>
                    <a:pt x="874" y="0"/>
                    <a:pt x="801" y="0"/>
                  </a:cubicBez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1" name="Freeform 6"/>
            <p:cNvSpPr>
              <a:spLocks noChangeArrowheads="1"/>
            </p:cNvSpPr>
            <p:nvPr/>
          </p:nvSpPr>
          <p:spPr bwMode="auto">
            <a:xfrm>
              <a:off x="6635750" y="911225"/>
              <a:ext cx="315913" cy="550863"/>
            </a:xfrm>
            <a:custGeom>
              <a:avLst/>
              <a:gdLst>
                <a:gd name="T0" fmla="*/ 354 w 876"/>
                <a:gd name="T1" fmla="*/ 282 h 1532"/>
                <a:gd name="T2" fmla="*/ 354 w 876"/>
                <a:gd name="T3" fmla="*/ 282 h 1532"/>
                <a:gd name="T4" fmla="*/ 354 w 876"/>
                <a:gd name="T5" fmla="*/ 21 h 1532"/>
                <a:gd name="T6" fmla="*/ 0 w 876"/>
                <a:gd name="T7" fmla="*/ 21 h 1532"/>
                <a:gd name="T8" fmla="*/ 0 w 876"/>
                <a:gd name="T9" fmla="*/ 1531 h 1532"/>
                <a:gd name="T10" fmla="*/ 354 w 876"/>
                <a:gd name="T11" fmla="*/ 1531 h 1532"/>
                <a:gd name="T12" fmla="*/ 354 w 876"/>
                <a:gd name="T13" fmla="*/ 760 h 1532"/>
                <a:gd name="T14" fmla="*/ 448 w 876"/>
                <a:gd name="T15" fmla="*/ 438 h 1532"/>
                <a:gd name="T16" fmla="*/ 677 w 876"/>
                <a:gd name="T17" fmla="*/ 313 h 1532"/>
                <a:gd name="T18" fmla="*/ 781 w 876"/>
                <a:gd name="T19" fmla="*/ 334 h 1532"/>
                <a:gd name="T20" fmla="*/ 865 w 876"/>
                <a:gd name="T21" fmla="*/ 365 h 1532"/>
                <a:gd name="T22" fmla="*/ 875 w 876"/>
                <a:gd name="T23" fmla="*/ 375 h 1532"/>
                <a:gd name="T24" fmla="*/ 875 w 876"/>
                <a:gd name="T25" fmla="*/ 21 h 1532"/>
                <a:gd name="T26" fmla="*/ 875 w 876"/>
                <a:gd name="T27" fmla="*/ 21 h 1532"/>
                <a:gd name="T28" fmla="*/ 729 w 876"/>
                <a:gd name="T29" fmla="*/ 0 h 1532"/>
                <a:gd name="T30" fmla="*/ 729 w 876"/>
                <a:gd name="T31" fmla="*/ 0 h 1532"/>
                <a:gd name="T32" fmla="*/ 500 w 876"/>
                <a:gd name="T33" fmla="*/ 84 h 1532"/>
                <a:gd name="T34" fmla="*/ 365 w 876"/>
                <a:gd name="T35" fmla="*/ 282 h 1532"/>
                <a:gd name="T36" fmla="*/ 354 w 876"/>
                <a:gd name="T37" fmla="*/ 282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6" h="1532">
                  <a:moveTo>
                    <a:pt x="354" y="282"/>
                  </a:moveTo>
                  <a:lnTo>
                    <a:pt x="354" y="282"/>
                  </a:lnTo>
                  <a:cubicBezTo>
                    <a:pt x="354" y="21"/>
                    <a:pt x="354" y="21"/>
                    <a:pt x="354" y="21"/>
                  </a:cubicBezTo>
                  <a:cubicBezTo>
                    <a:pt x="0" y="21"/>
                    <a:pt x="0" y="21"/>
                    <a:pt x="0" y="21"/>
                  </a:cubicBezTo>
                  <a:cubicBezTo>
                    <a:pt x="0" y="1531"/>
                    <a:pt x="0" y="1531"/>
                    <a:pt x="0" y="1531"/>
                  </a:cubicBezTo>
                  <a:cubicBezTo>
                    <a:pt x="354" y="1531"/>
                    <a:pt x="354" y="1531"/>
                    <a:pt x="354" y="1531"/>
                  </a:cubicBezTo>
                  <a:cubicBezTo>
                    <a:pt x="354" y="760"/>
                    <a:pt x="354" y="760"/>
                    <a:pt x="354" y="760"/>
                  </a:cubicBezTo>
                  <a:cubicBezTo>
                    <a:pt x="354" y="624"/>
                    <a:pt x="386" y="520"/>
                    <a:pt x="448" y="438"/>
                  </a:cubicBezTo>
                  <a:cubicBezTo>
                    <a:pt x="500" y="355"/>
                    <a:pt x="584" y="313"/>
                    <a:pt x="677" y="313"/>
                  </a:cubicBezTo>
                  <a:cubicBezTo>
                    <a:pt x="709" y="313"/>
                    <a:pt x="740" y="323"/>
                    <a:pt x="781" y="334"/>
                  </a:cubicBezTo>
                  <a:cubicBezTo>
                    <a:pt x="823" y="344"/>
                    <a:pt x="844" y="355"/>
                    <a:pt x="865" y="365"/>
                  </a:cubicBezTo>
                  <a:cubicBezTo>
                    <a:pt x="875" y="375"/>
                    <a:pt x="875" y="375"/>
                    <a:pt x="875" y="375"/>
                  </a:cubicBezTo>
                  <a:cubicBezTo>
                    <a:pt x="875" y="21"/>
                    <a:pt x="875" y="21"/>
                    <a:pt x="875" y="21"/>
                  </a:cubicBezTo>
                  <a:lnTo>
                    <a:pt x="875" y="21"/>
                  </a:lnTo>
                  <a:cubicBezTo>
                    <a:pt x="844" y="0"/>
                    <a:pt x="792" y="0"/>
                    <a:pt x="729" y="0"/>
                  </a:cubicBezTo>
                  <a:lnTo>
                    <a:pt x="729" y="0"/>
                  </a:lnTo>
                  <a:cubicBezTo>
                    <a:pt x="646" y="0"/>
                    <a:pt x="563" y="21"/>
                    <a:pt x="500" y="84"/>
                  </a:cubicBezTo>
                  <a:cubicBezTo>
                    <a:pt x="438" y="136"/>
                    <a:pt x="396" y="198"/>
                    <a:pt x="365" y="282"/>
                  </a:cubicBezTo>
                  <a:lnTo>
                    <a:pt x="354" y="282"/>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2" name="Freeform 7"/>
            <p:cNvSpPr>
              <a:spLocks noChangeArrowheads="1"/>
            </p:cNvSpPr>
            <p:nvPr/>
          </p:nvSpPr>
          <p:spPr bwMode="auto">
            <a:xfrm>
              <a:off x="6962775" y="906463"/>
              <a:ext cx="555625" cy="566737"/>
            </a:xfrm>
            <a:custGeom>
              <a:avLst/>
              <a:gdLst>
                <a:gd name="T0" fmla="*/ 791 w 1542"/>
                <a:gd name="T1" fmla="*/ 0 h 1573"/>
                <a:gd name="T2" fmla="*/ 791 w 1542"/>
                <a:gd name="T3" fmla="*/ 0 h 1573"/>
                <a:gd name="T4" fmla="*/ 208 w 1542"/>
                <a:gd name="T5" fmla="*/ 208 h 1573"/>
                <a:gd name="T6" fmla="*/ 0 w 1542"/>
                <a:gd name="T7" fmla="*/ 801 h 1573"/>
                <a:gd name="T8" fmla="*/ 197 w 1542"/>
                <a:gd name="T9" fmla="*/ 1364 h 1573"/>
                <a:gd name="T10" fmla="*/ 760 w 1542"/>
                <a:gd name="T11" fmla="*/ 1572 h 1573"/>
                <a:gd name="T12" fmla="*/ 1333 w 1542"/>
                <a:gd name="T13" fmla="*/ 1353 h 1573"/>
                <a:gd name="T14" fmla="*/ 1541 w 1542"/>
                <a:gd name="T15" fmla="*/ 770 h 1573"/>
                <a:gd name="T16" fmla="*/ 1343 w 1542"/>
                <a:gd name="T17" fmla="*/ 208 h 1573"/>
                <a:gd name="T18" fmla="*/ 791 w 1542"/>
                <a:gd name="T19" fmla="*/ 0 h 1573"/>
                <a:gd name="T20" fmla="*/ 781 w 1542"/>
                <a:gd name="T21" fmla="*/ 1280 h 1573"/>
                <a:gd name="T22" fmla="*/ 781 w 1542"/>
                <a:gd name="T23" fmla="*/ 1280 h 1573"/>
                <a:gd name="T24" fmla="*/ 468 w 1542"/>
                <a:gd name="T25" fmla="*/ 1155 h 1573"/>
                <a:gd name="T26" fmla="*/ 364 w 1542"/>
                <a:gd name="T27" fmla="*/ 791 h 1573"/>
                <a:gd name="T28" fmla="*/ 468 w 1542"/>
                <a:gd name="T29" fmla="*/ 417 h 1573"/>
                <a:gd name="T30" fmla="*/ 770 w 1542"/>
                <a:gd name="T31" fmla="*/ 292 h 1573"/>
                <a:gd name="T32" fmla="*/ 1062 w 1542"/>
                <a:gd name="T33" fmla="*/ 417 h 1573"/>
                <a:gd name="T34" fmla="*/ 1177 w 1542"/>
                <a:gd name="T35" fmla="*/ 780 h 1573"/>
                <a:gd name="T36" fmla="*/ 1072 w 1542"/>
                <a:gd name="T37" fmla="*/ 1155 h 1573"/>
                <a:gd name="T38" fmla="*/ 781 w 1542"/>
                <a:gd name="T39" fmla="*/ 128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42" h="1573">
                  <a:moveTo>
                    <a:pt x="791" y="0"/>
                  </a:moveTo>
                  <a:lnTo>
                    <a:pt x="791" y="0"/>
                  </a:lnTo>
                  <a:cubicBezTo>
                    <a:pt x="541" y="0"/>
                    <a:pt x="343" y="73"/>
                    <a:pt x="208" y="208"/>
                  </a:cubicBezTo>
                  <a:cubicBezTo>
                    <a:pt x="62" y="354"/>
                    <a:pt x="0" y="551"/>
                    <a:pt x="0" y="801"/>
                  </a:cubicBezTo>
                  <a:cubicBezTo>
                    <a:pt x="0" y="1041"/>
                    <a:pt x="62" y="1228"/>
                    <a:pt x="197" y="1364"/>
                  </a:cubicBezTo>
                  <a:cubicBezTo>
                    <a:pt x="343" y="1499"/>
                    <a:pt x="520" y="1572"/>
                    <a:pt x="760" y="1572"/>
                  </a:cubicBezTo>
                  <a:cubicBezTo>
                    <a:pt x="1000" y="1572"/>
                    <a:pt x="1187" y="1499"/>
                    <a:pt x="1333" y="1353"/>
                  </a:cubicBezTo>
                  <a:cubicBezTo>
                    <a:pt x="1468" y="1207"/>
                    <a:pt x="1541" y="1009"/>
                    <a:pt x="1541" y="770"/>
                  </a:cubicBezTo>
                  <a:cubicBezTo>
                    <a:pt x="1541" y="530"/>
                    <a:pt x="1479" y="344"/>
                    <a:pt x="1343" y="208"/>
                  </a:cubicBezTo>
                  <a:cubicBezTo>
                    <a:pt x="1208" y="63"/>
                    <a:pt x="1020" y="0"/>
                    <a:pt x="791" y="0"/>
                  </a:cubicBezTo>
                  <a:close/>
                  <a:moveTo>
                    <a:pt x="781" y="1280"/>
                  </a:moveTo>
                  <a:lnTo>
                    <a:pt x="781" y="1280"/>
                  </a:lnTo>
                  <a:cubicBezTo>
                    <a:pt x="645" y="1280"/>
                    <a:pt x="541" y="1239"/>
                    <a:pt x="468" y="1155"/>
                  </a:cubicBezTo>
                  <a:cubicBezTo>
                    <a:pt x="395" y="1072"/>
                    <a:pt x="364" y="947"/>
                    <a:pt x="364" y="791"/>
                  </a:cubicBezTo>
                  <a:cubicBezTo>
                    <a:pt x="364" y="634"/>
                    <a:pt x="395" y="509"/>
                    <a:pt x="468" y="417"/>
                  </a:cubicBezTo>
                  <a:cubicBezTo>
                    <a:pt x="541" y="333"/>
                    <a:pt x="645" y="292"/>
                    <a:pt x="770" y="292"/>
                  </a:cubicBezTo>
                  <a:cubicBezTo>
                    <a:pt x="895" y="292"/>
                    <a:pt x="1000" y="333"/>
                    <a:pt x="1062" y="417"/>
                  </a:cubicBezTo>
                  <a:cubicBezTo>
                    <a:pt x="1135" y="500"/>
                    <a:pt x="1177" y="624"/>
                    <a:pt x="1177" y="780"/>
                  </a:cubicBezTo>
                  <a:cubicBezTo>
                    <a:pt x="1177" y="947"/>
                    <a:pt x="1145" y="1072"/>
                    <a:pt x="1072" y="1155"/>
                  </a:cubicBezTo>
                  <a:cubicBezTo>
                    <a:pt x="1010" y="1239"/>
                    <a:pt x="906" y="1280"/>
                    <a:pt x="781" y="1280"/>
                  </a:cubicBezTo>
                  <a:close/>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3" name="Freeform 8"/>
            <p:cNvSpPr>
              <a:spLocks noChangeArrowheads="1"/>
            </p:cNvSpPr>
            <p:nvPr/>
          </p:nvSpPr>
          <p:spPr bwMode="auto">
            <a:xfrm>
              <a:off x="7577138" y="906463"/>
              <a:ext cx="360362" cy="566737"/>
            </a:xfrm>
            <a:custGeom>
              <a:avLst/>
              <a:gdLst>
                <a:gd name="T0" fmla="*/ 583 w 1001"/>
                <a:gd name="T1" fmla="*/ 0 h 1573"/>
                <a:gd name="T2" fmla="*/ 583 w 1001"/>
                <a:gd name="T3" fmla="*/ 0 h 1573"/>
                <a:gd name="T4" fmla="*/ 167 w 1001"/>
                <a:gd name="T5" fmla="*/ 125 h 1573"/>
                <a:gd name="T6" fmla="*/ 0 w 1001"/>
                <a:gd name="T7" fmla="*/ 458 h 1573"/>
                <a:gd name="T8" fmla="*/ 42 w 1001"/>
                <a:gd name="T9" fmla="*/ 645 h 1573"/>
                <a:gd name="T10" fmla="*/ 146 w 1001"/>
                <a:gd name="T11" fmla="*/ 780 h 1573"/>
                <a:gd name="T12" fmla="*/ 364 w 1001"/>
                <a:gd name="T13" fmla="*/ 905 h 1573"/>
                <a:gd name="T14" fmla="*/ 542 w 1001"/>
                <a:gd name="T15" fmla="*/ 989 h 1573"/>
                <a:gd name="T16" fmla="*/ 625 w 1001"/>
                <a:gd name="T17" fmla="*/ 1062 h 1573"/>
                <a:gd name="T18" fmla="*/ 646 w 1001"/>
                <a:gd name="T19" fmla="*/ 1145 h 1573"/>
                <a:gd name="T20" fmla="*/ 417 w 1001"/>
                <a:gd name="T21" fmla="*/ 1291 h 1573"/>
                <a:gd name="T22" fmla="*/ 219 w 1001"/>
                <a:gd name="T23" fmla="*/ 1259 h 1573"/>
                <a:gd name="T24" fmla="*/ 21 w 1001"/>
                <a:gd name="T25" fmla="*/ 1155 h 1573"/>
                <a:gd name="T26" fmla="*/ 0 w 1001"/>
                <a:gd name="T27" fmla="*/ 1145 h 1573"/>
                <a:gd name="T28" fmla="*/ 0 w 1001"/>
                <a:gd name="T29" fmla="*/ 1489 h 1573"/>
                <a:gd name="T30" fmla="*/ 10 w 1001"/>
                <a:gd name="T31" fmla="*/ 1489 h 1573"/>
                <a:gd name="T32" fmla="*/ 198 w 1001"/>
                <a:gd name="T33" fmla="*/ 1551 h 1573"/>
                <a:gd name="T34" fmla="*/ 396 w 1001"/>
                <a:gd name="T35" fmla="*/ 1572 h 1573"/>
                <a:gd name="T36" fmla="*/ 844 w 1001"/>
                <a:gd name="T37" fmla="*/ 1447 h 1573"/>
                <a:gd name="T38" fmla="*/ 1000 w 1001"/>
                <a:gd name="T39" fmla="*/ 1103 h 1573"/>
                <a:gd name="T40" fmla="*/ 917 w 1001"/>
                <a:gd name="T41" fmla="*/ 843 h 1573"/>
                <a:gd name="T42" fmla="*/ 614 w 1001"/>
                <a:gd name="T43" fmla="*/ 655 h 1573"/>
                <a:gd name="T44" fmla="*/ 406 w 1001"/>
                <a:gd name="T45" fmla="*/ 541 h 1573"/>
                <a:gd name="T46" fmla="*/ 364 w 1001"/>
                <a:gd name="T47" fmla="*/ 427 h 1573"/>
                <a:gd name="T48" fmla="*/ 417 w 1001"/>
                <a:gd name="T49" fmla="*/ 323 h 1573"/>
                <a:gd name="T50" fmla="*/ 562 w 1001"/>
                <a:gd name="T51" fmla="*/ 281 h 1573"/>
                <a:gd name="T52" fmla="*/ 750 w 1001"/>
                <a:gd name="T53" fmla="*/ 302 h 1573"/>
                <a:gd name="T54" fmla="*/ 906 w 1001"/>
                <a:gd name="T55" fmla="*/ 375 h 1573"/>
                <a:gd name="T56" fmla="*/ 927 w 1001"/>
                <a:gd name="T57" fmla="*/ 385 h 1573"/>
                <a:gd name="T58" fmla="*/ 927 w 1001"/>
                <a:gd name="T59" fmla="*/ 63 h 1573"/>
                <a:gd name="T60" fmla="*/ 917 w 1001"/>
                <a:gd name="T61" fmla="*/ 63 h 1573"/>
                <a:gd name="T62" fmla="*/ 760 w 1001"/>
                <a:gd name="T63" fmla="*/ 21 h 1573"/>
                <a:gd name="T64" fmla="*/ 583 w 1001"/>
                <a:gd name="T65"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573">
                  <a:moveTo>
                    <a:pt x="583" y="0"/>
                  </a:moveTo>
                  <a:lnTo>
                    <a:pt x="583" y="0"/>
                  </a:lnTo>
                  <a:cubicBezTo>
                    <a:pt x="406" y="0"/>
                    <a:pt x="271" y="42"/>
                    <a:pt x="167" y="125"/>
                  </a:cubicBezTo>
                  <a:cubicBezTo>
                    <a:pt x="52" y="208"/>
                    <a:pt x="0" y="323"/>
                    <a:pt x="0" y="458"/>
                  </a:cubicBezTo>
                  <a:cubicBezTo>
                    <a:pt x="0" y="530"/>
                    <a:pt x="10" y="593"/>
                    <a:pt x="42" y="645"/>
                  </a:cubicBezTo>
                  <a:cubicBezTo>
                    <a:pt x="62" y="697"/>
                    <a:pt x="94" y="749"/>
                    <a:pt x="146" y="780"/>
                  </a:cubicBezTo>
                  <a:cubicBezTo>
                    <a:pt x="187" y="822"/>
                    <a:pt x="260" y="864"/>
                    <a:pt x="364" y="905"/>
                  </a:cubicBezTo>
                  <a:cubicBezTo>
                    <a:pt x="448" y="937"/>
                    <a:pt x="500" y="968"/>
                    <a:pt x="542" y="989"/>
                  </a:cubicBezTo>
                  <a:cubicBezTo>
                    <a:pt x="583" y="1009"/>
                    <a:pt x="604" y="1030"/>
                    <a:pt x="625" y="1062"/>
                  </a:cubicBezTo>
                  <a:cubicBezTo>
                    <a:pt x="635" y="1082"/>
                    <a:pt x="646" y="1103"/>
                    <a:pt x="646" y="1145"/>
                  </a:cubicBezTo>
                  <a:cubicBezTo>
                    <a:pt x="646" y="1239"/>
                    <a:pt x="573" y="1291"/>
                    <a:pt x="417" y="1291"/>
                  </a:cubicBezTo>
                  <a:cubicBezTo>
                    <a:pt x="354" y="1291"/>
                    <a:pt x="292" y="1280"/>
                    <a:pt x="219" y="1259"/>
                  </a:cubicBezTo>
                  <a:cubicBezTo>
                    <a:pt x="146" y="1228"/>
                    <a:pt x="73" y="1197"/>
                    <a:pt x="21" y="1155"/>
                  </a:cubicBezTo>
                  <a:cubicBezTo>
                    <a:pt x="0" y="1145"/>
                    <a:pt x="0" y="1145"/>
                    <a:pt x="0" y="1145"/>
                  </a:cubicBezTo>
                  <a:cubicBezTo>
                    <a:pt x="0" y="1489"/>
                    <a:pt x="0" y="1489"/>
                    <a:pt x="0" y="1489"/>
                  </a:cubicBezTo>
                  <a:cubicBezTo>
                    <a:pt x="10" y="1489"/>
                    <a:pt x="10" y="1489"/>
                    <a:pt x="10" y="1489"/>
                  </a:cubicBezTo>
                  <a:cubicBezTo>
                    <a:pt x="62" y="1520"/>
                    <a:pt x="125" y="1530"/>
                    <a:pt x="198" y="1551"/>
                  </a:cubicBezTo>
                  <a:cubicBezTo>
                    <a:pt x="271" y="1562"/>
                    <a:pt x="344" y="1572"/>
                    <a:pt x="396" y="1572"/>
                  </a:cubicBezTo>
                  <a:cubicBezTo>
                    <a:pt x="583" y="1572"/>
                    <a:pt x="729" y="1530"/>
                    <a:pt x="844" y="1447"/>
                  </a:cubicBezTo>
                  <a:cubicBezTo>
                    <a:pt x="948" y="1364"/>
                    <a:pt x="1000" y="1239"/>
                    <a:pt x="1000" y="1103"/>
                  </a:cubicBezTo>
                  <a:cubicBezTo>
                    <a:pt x="1000" y="999"/>
                    <a:pt x="969" y="916"/>
                    <a:pt x="917" y="843"/>
                  </a:cubicBezTo>
                  <a:cubicBezTo>
                    <a:pt x="854" y="770"/>
                    <a:pt x="760" y="707"/>
                    <a:pt x="614" y="655"/>
                  </a:cubicBezTo>
                  <a:cubicBezTo>
                    <a:pt x="500" y="614"/>
                    <a:pt x="437" y="572"/>
                    <a:pt x="406" y="541"/>
                  </a:cubicBezTo>
                  <a:cubicBezTo>
                    <a:pt x="375" y="520"/>
                    <a:pt x="364" y="479"/>
                    <a:pt x="364" y="427"/>
                  </a:cubicBezTo>
                  <a:cubicBezTo>
                    <a:pt x="364" y="385"/>
                    <a:pt x="375" y="354"/>
                    <a:pt x="417" y="323"/>
                  </a:cubicBezTo>
                  <a:cubicBezTo>
                    <a:pt x="448" y="292"/>
                    <a:pt x="500" y="281"/>
                    <a:pt x="562" y="281"/>
                  </a:cubicBezTo>
                  <a:cubicBezTo>
                    <a:pt x="625" y="281"/>
                    <a:pt x="687" y="292"/>
                    <a:pt x="750" y="302"/>
                  </a:cubicBezTo>
                  <a:cubicBezTo>
                    <a:pt x="812" y="323"/>
                    <a:pt x="864" y="354"/>
                    <a:pt x="906" y="375"/>
                  </a:cubicBezTo>
                  <a:cubicBezTo>
                    <a:pt x="927" y="385"/>
                    <a:pt x="927" y="385"/>
                    <a:pt x="927" y="385"/>
                  </a:cubicBezTo>
                  <a:cubicBezTo>
                    <a:pt x="927" y="63"/>
                    <a:pt x="927" y="63"/>
                    <a:pt x="927" y="63"/>
                  </a:cubicBezTo>
                  <a:cubicBezTo>
                    <a:pt x="917" y="63"/>
                    <a:pt x="917" y="63"/>
                    <a:pt x="917" y="63"/>
                  </a:cubicBezTo>
                  <a:cubicBezTo>
                    <a:pt x="875" y="42"/>
                    <a:pt x="823" y="31"/>
                    <a:pt x="760" y="21"/>
                  </a:cubicBezTo>
                  <a:cubicBezTo>
                    <a:pt x="687" y="0"/>
                    <a:pt x="635" y="0"/>
                    <a:pt x="583" y="0"/>
                  </a:cubicBez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4" name="Freeform 9"/>
            <p:cNvSpPr>
              <a:spLocks noChangeArrowheads="1"/>
            </p:cNvSpPr>
            <p:nvPr/>
          </p:nvSpPr>
          <p:spPr bwMode="auto">
            <a:xfrm>
              <a:off x="7993063" y="906463"/>
              <a:ext cx="558800" cy="566737"/>
            </a:xfrm>
            <a:custGeom>
              <a:avLst/>
              <a:gdLst>
                <a:gd name="T0" fmla="*/ 802 w 1553"/>
                <a:gd name="T1" fmla="*/ 0 h 1573"/>
                <a:gd name="T2" fmla="*/ 802 w 1553"/>
                <a:gd name="T3" fmla="*/ 0 h 1573"/>
                <a:gd name="T4" fmla="*/ 208 w 1553"/>
                <a:gd name="T5" fmla="*/ 208 h 1573"/>
                <a:gd name="T6" fmla="*/ 0 w 1553"/>
                <a:gd name="T7" fmla="*/ 801 h 1573"/>
                <a:gd name="T8" fmla="*/ 208 w 1553"/>
                <a:gd name="T9" fmla="*/ 1364 h 1573"/>
                <a:gd name="T10" fmla="*/ 761 w 1553"/>
                <a:gd name="T11" fmla="*/ 1572 h 1573"/>
                <a:gd name="T12" fmla="*/ 1333 w 1553"/>
                <a:gd name="T13" fmla="*/ 1353 h 1573"/>
                <a:gd name="T14" fmla="*/ 1552 w 1553"/>
                <a:gd name="T15" fmla="*/ 770 h 1573"/>
                <a:gd name="T16" fmla="*/ 1344 w 1553"/>
                <a:gd name="T17" fmla="*/ 208 h 1573"/>
                <a:gd name="T18" fmla="*/ 802 w 1553"/>
                <a:gd name="T19" fmla="*/ 0 h 1573"/>
                <a:gd name="T20" fmla="*/ 781 w 1553"/>
                <a:gd name="T21" fmla="*/ 1280 h 1573"/>
                <a:gd name="T22" fmla="*/ 781 w 1553"/>
                <a:gd name="T23" fmla="*/ 1280 h 1573"/>
                <a:gd name="T24" fmla="*/ 479 w 1553"/>
                <a:gd name="T25" fmla="*/ 1155 h 1573"/>
                <a:gd name="T26" fmla="*/ 365 w 1553"/>
                <a:gd name="T27" fmla="*/ 791 h 1573"/>
                <a:gd name="T28" fmla="*/ 479 w 1553"/>
                <a:gd name="T29" fmla="*/ 417 h 1573"/>
                <a:gd name="T30" fmla="*/ 781 w 1553"/>
                <a:gd name="T31" fmla="*/ 292 h 1573"/>
                <a:gd name="T32" fmla="*/ 1073 w 1553"/>
                <a:gd name="T33" fmla="*/ 417 h 1573"/>
                <a:gd name="T34" fmla="*/ 1177 w 1553"/>
                <a:gd name="T35" fmla="*/ 780 h 1573"/>
                <a:gd name="T36" fmla="*/ 1083 w 1553"/>
                <a:gd name="T37" fmla="*/ 1155 h 1573"/>
                <a:gd name="T38" fmla="*/ 781 w 1553"/>
                <a:gd name="T39" fmla="*/ 128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53" h="1573">
                  <a:moveTo>
                    <a:pt x="802" y="0"/>
                  </a:moveTo>
                  <a:lnTo>
                    <a:pt x="802" y="0"/>
                  </a:lnTo>
                  <a:cubicBezTo>
                    <a:pt x="552" y="0"/>
                    <a:pt x="354" y="73"/>
                    <a:pt x="208" y="208"/>
                  </a:cubicBezTo>
                  <a:cubicBezTo>
                    <a:pt x="73" y="354"/>
                    <a:pt x="0" y="551"/>
                    <a:pt x="0" y="801"/>
                  </a:cubicBezTo>
                  <a:cubicBezTo>
                    <a:pt x="0" y="1041"/>
                    <a:pt x="73" y="1228"/>
                    <a:pt x="208" y="1364"/>
                  </a:cubicBezTo>
                  <a:cubicBezTo>
                    <a:pt x="344" y="1499"/>
                    <a:pt x="531" y="1572"/>
                    <a:pt x="761" y="1572"/>
                  </a:cubicBezTo>
                  <a:cubicBezTo>
                    <a:pt x="1000" y="1572"/>
                    <a:pt x="1198" y="1499"/>
                    <a:pt x="1333" y="1353"/>
                  </a:cubicBezTo>
                  <a:cubicBezTo>
                    <a:pt x="1479" y="1207"/>
                    <a:pt x="1552" y="1009"/>
                    <a:pt x="1552" y="770"/>
                  </a:cubicBezTo>
                  <a:cubicBezTo>
                    <a:pt x="1552" y="530"/>
                    <a:pt x="1479" y="344"/>
                    <a:pt x="1344" y="208"/>
                  </a:cubicBezTo>
                  <a:cubicBezTo>
                    <a:pt x="1219" y="63"/>
                    <a:pt x="1031" y="0"/>
                    <a:pt x="802" y="0"/>
                  </a:cubicBezTo>
                  <a:close/>
                  <a:moveTo>
                    <a:pt x="781" y="1280"/>
                  </a:moveTo>
                  <a:lnTo>
                    <a:pt x="781" y="1280"/>
                  </a:lnTo>
                  <a:cubicBezTo>
                    <a:pt x="656" y="1280"/>
                    <a:pt x="552" y="1239"/>
                    <a:pt x="479" y="1155"/>
                  </a:cubicBezTo>
                  <a:cubicBezTo>
                    <a:pt x="406" y="1072"/>
                    <a:pt x="365" y="947"/>
                    <a:pt x="365" y="791"/>
                  </a:cubicBezTo>
                  <a:cubicBezTo>
                    <a:pt x="365" y="634"/>
                    <a:pt x="406" y="509"/>
                    <a:pt x="479" y="417"/>
                  </a:cubicBezTo>
                  <a:cubicBezTo>
                    <a:pt x="552" y="333"/>
                    <a:pt x="646" y="292"/>
                    <a:pt x="781" y="292"/>
                  </a:cubicBezTo>
                  <a:cubicBezTo>
                    <a:pt x="906" y="292"/>
                    <a:pt x="1000" y="333"/>
                    <a:pt x="1073" y="417"/>
                  </a:cubicBezTo>
                  <a:cubicBezTo>
                    <a:pt x="1146" y="500"/>
                    <a:pt x="1177" y="624"/>
                    <a:pt x="1177" y="780"/>
                  </a:cubicBezTo>
                  <a:cubicBezTo>
                    <a:pt x="1177" y="947"/>
                    <a:pt x="1146" y="1072"/>
                    <a:pt x="1083" y="1155"/>
                  </a:cubicBezTo>
                  <a:cubicBezTo>
                    <a:pt x="1011" y="1239"/>
                    <a:pt x="917" y="1280"/>
                    <a:pt x="781" y="1280"/>
                  </a:cubicBezTo>
                  <a:close/>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5" name="Freeform 10"/>
            <p:cNvSpPr>
              <a:spLocks noChangeArrowheads="1"/>
            </p:cNvSpPr>
            <p:nvPr/>
          </p:nvSpPr>
          <p:spPr bwMode="auto">
            <a:xfrm>
              <a:off x="8562975" y="647700"/>
              <a:ext cx="668338" cy="825500"/>
            </a:xfrm>
            <a:custGeom>
              <a:avLst/>
              <a:gdLst>
                <a:gd name="T0" fmla="*/ 1855 w 1856"/>
                <a:gd name="T1" fmla="*/ 1042 h 2292"/>
                <a:gd name="T2" fmla="*/ 1855 w 1856"/>
                <a:gd name="T3" fmla="*/ 1042 h 2292"/>
                <a:gd name="T4" fmla="*/ 1855 w 1856"/>
                <a:gd name="T5" fmla="*/ 750 h 2292"/>
                <a:gd name="T6" fmla="*/ 1490 w 1856"/>
                <a:gd name="T7" fmla="*/ 750 h 2292"/>
                <a:gd name="T8" fmla="*/ 1490 w 1856"/>
                <a:gd name="T9" fmla="*/ 302 h 2292"/>
                <a:gd name="T10" fmla="*/ 1480 w 1856"/>
                <a:gd name="T11" fmla="*/ 313 h 2292"/>
                <a:gd name="T12" fmla="*/ 1146 w 1856"/>
                <a:gd name="T13" fmla="*/ 407 h 2292"/>
                <a:gd name="T14" fmla="*/ 1136 w 1856"/>
                <a:gd name="T15" fmla="*/ 417 h 2292"/>
                <a:gd name="T16" fmla="*/ 1136 w 1856"/>
                <a:gd name="T17" fmla="*/ 750 h 2292"/>
                <a:gd name="T18" fmla="*/ 605 w 1856"/>
                <a:gd name="T19" fmla="*/ 750 h 2292"/>
                <a:gd name="T20" fmla="*/ 605 w 1856"/>
                <a:gd name="T21" fmla="*/ 563 h 2292"/>
                <a:gd name="T22" fmla="*/ 667 w 1856"/>
                <a:gd name="T23" fmla="*/ 365 h 2292"/>
                <a:gd name="T24" fmla="*/ 834 w 1856"/>
                <a:gd name="T25" fmla="*/ 292 h 2292"/>
                <a:gd name="T26" fmla="*/ 990 w 1856"/>
                <a:gd name="T27" fmla="*/ 334 h 2292"/>
                <a:gd name="T28" fmla="*/ 1000 w 1856"/>
                <a:gd name="T29" fmla="*/ 334 h 2292"/>
                <a:gd name="T30" fmla="*/ 1000 w 1856"/>
                <a:gd name="T31" fmla="*/ 32 h 2292"/>
                <a:gd name="T32" fmla="*/ 990 w 1856"/>
                <a:gd name="T33" fmla="*/ 32 h 2292"/>
                <a:gd name="T34" fmla="*/ 792 w 1856"/>
                <a:gd name="T35" fmla="*/ 0 h 2292"/>
                <a:gd name="T36" fmla="*/ 511 w 1856"/>
                <a:gd name="T37" fmla="*/ 73 h 2292"/>
                <a:gd name="T38" fmla="*/ 313 w 1856"/>
                <a:gd name="T39" fmla="*/ 261 h 2292"/>
                <a:gd name="T40" fmla="*/ 250 w 1856"/>
                <a:gd name="T41" fmla="*/ 542 h 2292"/>
                <a:gd name="T42" fmla="*/ 250 w 1856"/>
                <a:gd name="T43" fmla="*/ 750 h 2292"/>
                <a:gd name="T44" fmla="*/ 0 w 1856"/>
                <a:gd name="T45" fmla="*/ 750 h 2292"/>
                <a:gd name="T46" fmla="*/ 0 w 1856"/>
                <a:gd name="T47" fmla="*/ 1042 h 2292"/>
                <a:gd name="T48" fmla="*/ 250 w 1856"/>
                <a:gd name="T49" fmla="*/ 1042 h 2292"/>
                <a:gd name="T50" fmla="*/ 250 w 1856"/>
                <a:gd name="T51" fmla="*/ 2260 h 2292"/>
                <a:gd name="T52" fmla="*/ 605 w 1856"/>
                <a:gd name="T53" fmla="*/ 2260 h 2292"/>
                <a:gd name="T54" fmla="*/ 605 w 1856"/>
                <a:gd name="T55" fmla="*/ 1042 h 2292"/>
                <a:gd name="T56" fmla="*/ 1136 w 1856"/>
                <a:gd name="T57" fmla="*/ 1042 h 2292"/>
                <a:gd name="T58" fmla="*/ 1136 w 1856"/>
                <a:gd name="T59" fmla="*/ 1812 h 2292"/>
                <a:gd name="T60" fmla="*/ 1584 w 1856"/>
                <a:gd name="T61" fmla="*/ 2291 h 2292"/>
                <a:gd name="T62" fmla="*/ 1740 w 1856"/>
                <a:gd name="T63" fmla="*/ 2281 h 2292"/>
                <a:gd name="T64" fmla="*/ 1844 w 1856"/>
                <a:gd name="T65" fmla="*/ 2239 h 2292"/>
                <a:gd name="T66" fmla="*/ 1855 w 1856"/>
                <a:gd name="T67" fmla="*/ 2239 h 2292"/>
                <a:gd name="T68" fmla="*/ 1855 w 1856"/>
                <a:gd name="T69" fmla="*/ 1947 h 2292"/>
                <a:gd name="T70" fmla="*/ 1834 w 1856"/>
                <a:gd name="T71" fmla="*/ 1958 h 2292"/>
                <a:gd name="T72" fmla="*/ 1761 w 1856"/>
                <a:gd name="T73" fmla="*/ 1989 h 2292"/>
                <a:gd name="T74" fmla="*/ 1698 w 1856"/>
                <a:gd name="T75" fmla="*/ 1999 h 2292"/>
                <a:gd name="T76" fmla="*/ 1542 w 1856"/>
                <a:gd name="T77" fmla="*/ 1947 h 2292"/>
                <a:gd name="T78" fmla="*/ 1490 w 1856"/>
                <a:gd name="T79" fmla="*/ 1749 h 2292"/>
                <a:gd name="T80" fmla="*/ 1490 w 1856"/>
                <a:gd name="T81" fmla="*/ 1042 h 2292"/>
                <a:gd name="T82" fmla="*/ 1855 w 1856"/>
                <a:gd name="T83" fmla="*/ 1042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2292">
                  <a:moveTo>
                    <a:pt x="1855" y="1042"/>
                  </a:moveTo>
                  <a:lnTo>
                    <a:pt x="1855" y="1042"/>
                  </a:lnTo>
                  <a:cubicBezTo>
                    <a:pt x="1855" y="750"/>
                    <a:pt x="1855" y="750"/>
                    <a:pt x="1855" y="750"/>
                  </a:cubicBezTo>
                  <a:cubicBezTo>
                    <a:pt x="1490" y="750"/>
                    <a:pt x="1490" y="750"/>
                    <a:pt x="1490" y="750"/>
                  </a:cubicBezTo>
                  <a:cubicBezTo>
                    <a:pt x="1490" y="302"/>
                    <a:pt x="1490" y="302"/>
                    <a:pt x="1490" y="302"/>
                  </a:cubicBezTo>
                  <a:cubicBezTo>
                    <a:pt x="1480" y="313"/>
                    <a:pt x="1480" y="313"/>
                    <a:pt x="1480" y="313"/>
                  </a:cubicBezTo>
                  <a:cubicBezTo>
                    <a:pt x="1146" y="407"/>
                    <a:pt x="1146" y="407"/>
                    <a:pt x="1146" y="407"/>
                  </a:cubicBezTo>
                  <a:cubicBezTo>
                    <a:pt x="1136" y="417"/>
                    <a:pt x="1136" y="417"/>
                    <a:pt x="1136" y="417"/>
                  </a:cubicBezTo>
                  <a:cubicBezTo>
                    <a:pt x="1136" y="750"/>
                    <a:pt x="1136" y="750"/>
                    <a:pt x="1136" y="750"/>
                  </a:cubicBezTo>
                  <a:cubicBezTo>
                    <a:pt x="605" y="750"/>
                    <a:pt x="605" y="750"/>
                    <a:pt x="605" y="750"/>
                  </a:cubicBezTo>
                  <a:cubicBezTo>
                    <a:pt x="605" y="563"/>
                    <a:pt x="605" y="563"/>
                    <a:pt x="605" y="563"/>
                  </a:cubicBezTo>
                  <a:cubicBezTo>
                    <a:pt x="605" y="479"/>
                    <a:pt x="625" y="407"/>
                    <a:pt x="667" y="365"/>
                  </a:cubicBezTo>
                  <a:cubicBezTo>
                    <a:pt x="709" y="323"/>
                    <a:pt x="761" y="292"/>
                    <a:pt x="834" y="292"/>
                  </a:cubicBezTo>
                  <a:cubicBezTo>
                    <a:pt x="875" y="292"/>
                    <a:pt x="938" y="302"/>
                    <a:pt x="990" y="334"/>
                  </a:cubicBezTo>
                  <a:cubicBezTo>
                    <a:pt x="1000" y="334"/>
                    <a:pt x="1000" y="334"/>
                    <a:pt x="1000" y="334"/>
                  </a:cubicBezTo>
                  <a:cubicBezTo>
                    <a:pt x="1000" y="32"/>
                    <a:pt x="1000" y="32"/>
                    <a:pt x="1000" y="32"/>
                  </a:cubicBezTo>
                  <a:cubicBezTo>
                    <a:pt x="990" y="32"/>
                    <a:pt x="990" y="32"/>
                    <a:pt x="990" y="32"/>
                  </a:cubicBezTo>
                  <a:cubicBezTo>
                    <a:pt x="948" y="11"/>
                    <a:pt x="875" y="0"/>
                    <a:pt x="792" y="0"/>
                  </a:cubicBezTo>
                  <a:cubicBezTo>
                    <a:pt x="688" y="0"/>
                    <a:pt x="594" y="32"/>
                    <a:pt x="511" y="73"/>
                  </a:cubicBezTo>
                  <a:cubicBezTo>
                    <a:pt x="428" y="115"/>
                    <a:pt x="365" y="177"/>
                    <a:pt x="313" y="261"/>
                  </a:cubicBezTo>
                  <a:cubicBezTo>
                    <a:pt x="271" y="344"/>
                    <a:pt x="250" y="438"/>
                    <a:pt x="250" y="542"/>
                  </a:cubicBezTo>
                  <a:cubicBezTo>
                    <a:pt x="250" y="750"/>
                    <a:pt x="250" y="750"/>
                    <a:pt x="250" y="750"/>
                  </a:cubicBezTo>
                  <a:cubicBezTo>
                    <a:pt x="0" y="750"/>
                    <a:pt x="0" y="750"/>
                    <a:pt x="0" y="750"/>
                  </a:cubicBezTo>
                  <a:cubicBezTo>
                    <a:pt x="0" y="1042"/>
                    <a:pt x="0" y="1042"/>
                    <a:pt x="0" y="1042"/>
                  </a:cubicBezTo>
                  <a:cubicBezTo>
                    <a:pt x="250" y="1042"/>
                    <a:pt x="250" y="1042"/>
                    <a:pt x="250" y="1042"/>
                  </a:cubicBezTo>
                  <a:cubicBezTo>
                    <a:pt x="250" y="2260"/>
                    <a:pt x="250" y="2260"/>
                    <a:pt x="250" y="2260"/>
                  </a:cubicBezTo>
                  <a:cubicBezTo>
                    <a:pt x="605" y="2260"/>
                    <a:pt x="605" y="2260"/>
                    <a:pt x="605" y="2260"/>
                  </a:cubicBezTo>
                  <a:cubicBezTo>
                    <a:pt x="605" y="1042"/>
                    <a:pt x="605" y="1042"/>
                    <a:pt x="605" y="1042"/>
                  </a:cubicBezTo>
                  <a:cubicBezTo>
                    <a:pt x="1136" y="1042"/>
                    <a:pt x="1136" y="1042"/>
                    <a:pt x="1136" y="1042"/>
                  </a:cubicBezTo>
                  <a:cubicBezTo>
                    <a:pt x="1136" y="1812"/>
                    <a:pt x="1136" y="1812"/>
                    <a:pt x="1136" y="1812"/>
                  </a:cubicBezTo>
                  <a:cubicBezTo>
                    <a:pt x="1136" y="2135"/>
                    <a:pt x="1292" y="2291"/>
                    <a:pt x="1584" y="2291"/>
                  </a:cubicBezTo>
                  <a:cubicBezTo>
                    <a:pt x="1636" y="2291"/>
                    <a:pt x="1688" y="2291"/>
                    <a:pt x="1740" y="2281"/>
                  </a:cubicBezTo>
                  <a:cubicBezTo>
                    <a:pt x="1792" y="2260"/>
                    <a:pt x="1823" y="2249"/>
                    <a:pt x="1844" y="2239"/>
                  </a:cubicBezTo>
                  <a:cubicBezTo>
                    <a:pt x="1855" y="2239"/>
                    <a:pt x="1855" y="2239"/>
                    <a:pt x="1855" y="2239"/>
                  </a:cubicBezTo>
                  <a:cubicBezTo>
                    <a:pt x="1855" y="1947"/>
                    <a:pt x="1855" y="1947"/>
                    <a:pt x="1855" y="1947"/>
                  </a:cubicBezTo>
                  <a:cubicBezTo>
                    <a:pt x="1834" y="1958"/>
                    <a:pt x="1834" y="1958"/>
                    <a:pt x="1834" y="1958"/>
                  </a:cubicBezTo>
                  <a:cubicBezTo>
                    <a:pt x="1813" y="1968"/>
                    <a:pt x="1792" y="1978"/>
                    <a:pt x="1761" y="1989"/>
                  </a:cubicBezTo>
                  <a:cubicBezTo>
                    <a:pt x="1740" y="1999"/>
                    <a:pt x="1709" y="1999"/>
                    <a:pt x="1698" y="1999"/>
                  </a:cubicBezTo>
                  <a:cubicBezTo>
                    <a:pt x="1625" y="1999"/>
                    <a:pt x="1573" y="1978"/>
                    <a:pt x="1542" y="1947"/>
                  </a:cubicBezTo>
                  <a:cubicBezTo>
                    <a:pt x="1511" y="1906"/>
                    <a:pt x="1490" y="1843"/>
                    <a:pt x="1490" y="1749"/>
                  </a:cubicBezTo>
                  <a:cubicBezTo>
                    <a:pt x="1490" y="1042"/>
                    <a:pt x="1490" y="1042"/>
                    <a:pt x="1490" y="1042"/>
                  </a:cubicBezTo>
                  <a:lnTo>
                    <a:pt x="1855" y="1042"/>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6" name="Freeform 11"/>
            <p:cNvSpPr>
              <a:spLocks noChangeArrowheads="1"/>
            </p:cNvSpPr>
            <p:nvPr/>
          </p:nvSpPr>
          <p:spPr bwMode="auto">
            <a:xfrm>
              <a:off x="3321050" y="454025"/>
              <a:ext cx="600075" cy="600075"/>
            </a:xfrm>
            <a:custGeom>
              <a:avLst/>
              <a:gdLst>
                <a:gd name="T0" fmla="*/ 1667 w 1668"/>
                <a:gd name="T1" fmla="*/ 1666 h 1667"/>
                <a:gd name="T2" fmla="*/ 0 w 1668"/>
                <a:gd name="T3" fmla="*/ 1666 h 1667"/>
                <a:gd name="T4" fmla="*/ 0 w 1668"/>
                <a:gd name="T5" fmla="*/ 0 h 1667"/>
                <a:gd name="T6" fmla="*/ 1667 w 1668"/>
                <a:gd name="T7" fmla="*/ 0 h 1667"/>
                <a:gd name="T8" fmla="*/ 1667 w 1668"/>
                <a:gd name="T9" fmla="*/ 1666 h 1667"/>
              </a:gdLst>
              <a:ahLst/>
              <a:cxnLst>
                <a:cxn ang="0">
                  <a:pos x="T0" y="T1"/>
                </a:cxn>
                <a:cxn ang="0">
                  <a:pos x="T2" y="T3"/>
                </a:cxn>
                <a:cxn ang="0">
                  <a:pos x="T4" y="T5"/>
                </a:cxn>
                <a:cxn ang="0">
                  <a:pos x="T6" y="T7"/>
                </a:cxn>
                <a:cxn ang="0">
                  <a:pos x="T8" y="T9"/>
                </a:cxn>
              </a:cxnLst>
              <a:rect l="0" t="0" r="r" b="b"/>
              <a:pathLst>
                <a:path w="1668" h="1667">
                  <a:moveTo>
                    <a:pt x="1667" y="1666"/>
                  </a:moveTo>
                  <a:lnTo>
                    <a:pt x="0" y="1666"/>
                  </a:lnTo>
                  <a:lnTo>
                    <a:pt x="0" y="0"/>
                  </a:lnTo>
                  <a:lnTo>
                    <a:pt x="1667" y="0"/>
                  </a:lnTo>
                  <a:lnTo>
                    <a:pt x="1667" y="1666"/>
                  </a:lnTo>
                </a:path>
              </a:pathLst>
            </a:custGeom>
            <a:solidFill>
              <a:srgbClr val="F265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7" name="Freeform 12"/>
            <p:cNvSpPr>
              <a:spLocks noChangeArrowheads="1"/>
            </p:cNvSpPr>
            <p:nvPr/>
          </p:nvSpPr>
          <p:spPr bwMode="auto">
            <a:xfrm>
              <a:off x="3986213" y="454025"/>
              <a:ext cx="596900" cy="600075"/>
            </a:xfrm>
            <a:custGeom>
              <a:avLst/>
              <a:gdLst>
                <a:gd name="T0" fmla="*/ 1656 w 1657"/>
                <a:gd name="T1" fmla="*/ 1666 h 1667"/>
                <a:gd name="T2" fmla="*/ 0 w 1657"/>
                <a:gd name="T3" fmla="*/ 1666 h 1667"/>
                <a:gd name="T4" fmla="*/ 0 w 1657"/>
                <a:gd name="T5" fmla="*/ 0 h 1667"/>
                <a:gd name="T6" fmla="*/ 1656 w 1657"/>
                <a:gd name="T7" fmla="*/ 0 h 1667"/>
                <a:gd name="T8" fmla="*/ 1656 w 1657"/>
                <a:gd name="T9" fmla="*/ 1666 h 1667"/>
              </a:gdLst>
              <a:ahLst/>
              <a:cxnLst>
                <a:cxn ang="0">
                  <a:pos x="T0" y="T1"/>
                </a:cxn>
                <a:cxn ang="0">
                  <a:pos x="T2" y="T3"/>
                </a:cxn>
                <a:cxn ang="0">
                  <a:pos x="T4" y="T5"/>
                </a:cxn>
                <a:cxn ang="0">
                  <a:pos x="T6" y="T7"/>
                </a:cxn>
                <a:cxn ang="0">
                  <a:pos x="T8" y="T9"/>
                </a:cxn>
              </a:cxnLst>
              <a:rect l="0" t="0" r="r" b="b"/>
              <a:pathLst>
                <a:path w="1657" h="1667">
                  <a:moveTo>
                    <a:pt x="1656" y="1666"/>
                  </a:moveTo>
                  <a:lnTo>
                    <a:pt x="0" y="1666"/>
                  </a:lnTo>
                  <a:lnTo>
                    <a:pt x="0" y="0"/>
                  </a:lnTo>
                  <a:lnTo>
                    <a:pt x="1656" y="0"/>
                  </a:lnTo>
                  <a:lnTo>
                    <a:pt x="1656" y="1666"/>
                  </a:lnTo>
                </a:path>
              </a:pathLst>
            </a:custGeom>
            <a:solidFill>
              <a:srgbClr val="8DC63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8" name="Freeform 13"/>
            <p:cNvSpPr>
              <a:spLocks noChangeArrowheads="1"/>
            </p:cNvSpPr>
            <p:nvPr/>
          </p:nvSpPr>
          <p:spPr bwMode="auto">
            <a:xfrm>
              <a:off x="3321050" y="1112838"/>
              <a:ext cx="600075" cy="600075"/>
            </a:xfrm>
            <a:custGeom>
              <a:avLst/>
              <a:gdLst>
                <a:gd name="T0" fmla="*/ 1667 w 1668"/>
                <a:gd name="T1" fmla="*/ 1667 h 1668"/>
                <a:gd name="T2" fmla="*/ 0 w 1668"/>
                <a:gd name="T3" fmla="*/ 1667 h 1668"/>
                <a:gd name="T4" fmla="*/ 0 w 1668"/>
                <a:gd name="T5" fmla="*/ 0 h 1668"/>
                <a:gd name="T6" fmla="*/ 1667 w 1668"/>
                <a:gd name="T7" fmla="*/ 0 h 1668"/>
                <a:gd name="T8" fmla="*/ 1667 w 1668"/>
                <a:gd name="T9" fmla="*/ 1667 h 1668"/>
              </a:gdLst>
              <a:ahLst/>
              <a:cxnLst>
                <a:cxn ang="0">
                  <a:pos x="T0" y="T1"/>
                </a:cxn>
                <a:cxn ang="0">
                  <a:pos x="T2" y="T3"/>
                </a:cxn>
                <a:cxn ang="0">
                  <a:pos x="T4" y="T5"/>
                </a:cxn>
                <a:cxn ang="0">
                  <a:pos x="T6" y="T7"/>
                </a:cxn>
                <a:cxn ang="0">
                  <a:pos x="T8" y="T9"/>
                </a:cxn>
              </a:cxnLst>
              <a:rect l="0" t="0" r="r" b="b"/>
              <a:pathLst>
                <a:path w="1668" h="1668">
                  <a:moveTo>
                    <a:pt x="1667" y="1667"/>
                  </a:moveTo>
                  <a:lnTo>
                    <a:pt x="0" y="1667"/>
                  </a:lnTo>
                  <a:lnTo>
                    <a:pt x="0" y="0"/>
                  </a:lnTo>
                  <a:lnTo>
                    <a:pt x="1667" y="0"/>
                  </a:lnTo>
                  <a:lnTo>
                    <a:pt x="1667" y="1667"/>
                  </a:lnTo>
                </a:path>
              </a:pathLst>
            </a:custGeom>
            <a:solidFill>
              <a:srgbClr val="00AE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9" name="Freeform 14"/>
            <p:cNvSpPr>
              <a:spLocks noChangeArrowheads="1"/>
            </p:cNvSpPr>
            <p:nvPr/>
          </p:nvSpPr>
          <p:spPr bwMode="auto">
            <a:xfrm>
              <a:off x="3986213" y="1112838"/>
              <a:ext cx="596900" cy="600075"/>
            </a:xfrm>
            <a:custGeom>
              <a:avLst/>
              <a:gdLst>
                <a:gd name="T0" fmla="*/ 1656 w 1657"/>
                <a:gd name="T1" fmla="*/ 1667 h 1668"/>
                <a:gd name="T2" fmla="*/ 0 w 1657"/>
                <a:gd name="T3" fmla="*/ 1667 h 1668"/>
                <a:gd name="T4" fmla="*/ 0 w 1657"/>
                <a:gd name="T5" fmla="*/ 0 h 1668"/>
                <a:gd name="T6" fmla="*/ 1656 w 1657"/>
                <a:gd name="T7" fmla="*/ 0 h 1668"/>
                <a:gd name="T8" fmla="*/ 1656 w 1657"/>
                <a:gd name="T9" fmla="*/ 1667 h 1668"/>
              </a:gdLst>
              <a:ahLst/>
              <a:cxnLst>
                <a:cxn ang="0">
                  <a:pos x="T0" y="T1"/>
                </a:cxn>
                <a:cxn ang="0">
                  <a:pos x="T2" y="T3"/>
                </a:cxn>
                <a:cxn ang="0">
                  <a:pos x="T4" y="T5"/>
                </a:cxn>
                <a:cxn ang="0">
                  <a:pos x="T6" y="T7"/>
                </a:cxn>
                <a:cxn ang="0">
                  <a:pos x="T8" y="T9"/>
                </a:cxn>
              </a:cxnLst>
              <a:rect l="0" t="0" r="r" b="b"/>
              <a:pathLst>
                <a:path w="1657" h="1668">
                  <a:moveTo>
                    <a:pt x="1656" y="1667"/>
                  </a:moveTo>
                  <a:lnTo>
                    <a:pt x="0" y="1667"/>
                  </a:lnTo>
                  <a:lnTo>
                    <a:pt x="0" y="0"/>
                  </a:lnTo>
                  <a:lnTo>
                    <a:pt x="1656" y="0"/>
                  </a:lnTo>
                  <a:lnTo>
                    <a:pt x="1656" y="1667"/>
                  </a:lnTo>
                </a:path>
              </a:pathLst>
            </a:custGeom>
            <a:solidFill>
              <a:srgbClr val="FFC20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grpSp>
    </p:spTree>
    <p:extLst>
      <p:ext uri="{BB962C8B-B14F-4D97-AF65-F5344CB8AC3E}">
        <p14:creationId xmlns:p14="http://schemas.microsoft.com/office/powerpoint/2010/main" val="29887886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Dark Title_bo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412751" y="1188720"/>
            <a:ext cx="11310326"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21441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470759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B9E93-35D7-42A9-9FD9-96BA380FFF27}"/>
              </a:ext>
            </a:extLst>
          </p:cNvPr>
          <p:cNvSpPr>
            <a:spLocks noGrp="1"/>
          </p:cNvSpPr>
          <p:nvPr>
            <p:ph type="ctrTitle"/>
          </p:nvPr>
        </p:nvSpPr>
        <p:spPr>
          <a:xfrm>
            <a:off x="1524000" y="1664644"/>
            <a:ext cx="9144000" cy="1845318"/>
          </a:xfrm>
        </p:spPr>
        <p:txBody>
          <a:bodyPr anchor="b"/>
          <a:lstStyle>
            <a:lvl1pPr algn="ctr">
              <a:defRPr sz="5995"/>
            </a:lvl1pPr>
          </a:lstStyle>
          <a:p>
            <a:r>
              <a:rPr lang="en-US"/>
              <a:t>Click to edit Master title style</a:t>
            </a:r>
          </a:p>
        </p:txBody>
      </p:sp>
      <p:sp>
        <p:nvSpPr>
          <p:cNvPr id="3" name="Subtitle 2">
            <a:extLst>
              <a:ext uri="{FF2B5EF4-FFF2-40B4-BE49-F238E27FC236}">
                <a16:creationId xmlns:a16="http://schemas.microsoft.com/office/drawing/2014/main" id="{CCB730EE-CF2C-4295-A0DD-070F51156EEE}"/>
              </a:ext>
            </a:extLst>
          </p:cNvPr>
          <p:cNvSpPr>
            <a:spLocks noGrp="1"/>
          </p:cNvSpPr>
          <p:nvPr>
            <p:ph type="subTitle" idx="1"/>
          </p:nvPr>
        </p:nvSpPr>
        <p:spPr>
          <a:xfrm>
            <a:off x="1524000" y="3602039"/>
            <a:ext cx="9144000" cy="369353"/>
          </a:xfrm>
        </p:spPr>
        <p:txBody>
          <a:bodyPr/>
          <a:lstStyle>
            <a:lvl1pPr marL="0" indent="0" algn="ctr">
              <a:buNone/>
              <a:defRPr sz="2400"/>
            </a:lvl1pPr>
            <a:lvl2pPr marL="456943" indent="0" algn="ctr">
              <a:buNone/>
              <a:defRPr sz="2000"/>
            </a:lvl2pPr>
            <a:lvl3pPr marL="913885" indent="0" algn="ctr">
              <a:buNone/>
              <a:defRPr sz="1800"/>
            </a:lvl3pPr>
            <a:lvl4pPr marL="1370827" indent="0" algn="ctr">
              <a:buNone/>
              <a:defRPr sz="1600"/>
            </a:lvl4pPr>
            <a:lvl5pPr marL="1827769" indent="0" algn="ctr">
              <a:buNone/>
              <a:defRPr sz="1600"/>
            </a:lvl5pPr>
            <a:lvl6pPr marL="2284710" indent="0" algn="ctr">
              <a:buNone/>
              <a:defRPr sz="1600"/>
            </a:lvl6pPr>
            <a:lvl7pPr marL="2741653" indent="0" algn="ctr">
              <a:buNone/>
              <a:defRPr sz="1600"/>
            </a:lvl7pPr>
            <a:lvl8pPr marL="3198595" indent="0" algn="ctr">
              <a:buNone/>
              <a:defRPr sz="1600"/>
            </a:lvl8pPr>
            <a:lvl9pPr marL="3655536"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5F07D1-3B84-4514-968F-1FD65AFC4CAA}"/>
              </a:ext>
            </a:extLst>
          </p:cNvPr>
          <p:cNvSpPr>
            <a:spLocks noGrp="1"/>
          </p:cNvSpPr>
          <p:nvPr>
            <p:ph type="dt" sz="half" idx="10"/>
          </p:nvPr>
        </p:nvSpPr>
        <p:spPr/>
        <p:txBody>
          <a:bodyPr/>
          <a:lstStyle/>
          <a:p>
            <a:fld id="{CCEB13D1-EBBE-47BB-9DAE-539913719DED}" type="datetimeFigureOut">
              <a:rPr lang="en-US" smtClean="0"/>
              <a:t>3/29/2021</a:t>
            </a:fld>
            <a:endParaRPr lang="en-US"/>
          </a:p>
        </p:txBody>
      </p:sp>
      <p:sp>
        <p:nvSpPr>
          <p:cNvPr id="5" name="Footer Placeholder 4">
            <a:extLst>
              <a:ext uri="{FF2B5EF4-FFF2-40B4-BE49-F238E27FC236}">
                <a16:creationId xmlns:a16="http://schemas.microsoft.com/office/drawing/2014/main" id="{6905CE6B-6BDC-496F-8498-59A773D1B5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DD3A43-6632-4011-A3D3-C64540BAF3B9}"/>
              </a:ext>
            </a:extLst>
          </p:cNvPr>
          <p:cNvSpPr>
            <a:spLocks noGrp="1"/>
          </p:cNvSpPr>
          <p:nvPr>
            <p:ph type="sldNum" sz="quarter" idx="12"/>
          </p:nvPr>
        </p:nvSpPr>
        <p:spPr/>
        <p:txBody>
          <a:bodyPr/>
          <a:lstStyle/>
          <a:p>
            <a:fld id="{40CCAD98-6F6D-490C-A484-BDCA98790F2E}" type="slidenum">
              <a:rPr lang="en-US" smtClean="0"/>
              <a:t>‹#›</a:t>
            </a:fld>
            <a:endParaRPr lang="en-US"/>
          </a:p>
        </p:txBody>
      </p:sp>
    </p:spTree>
    <p:extLst>
      <p:ext uri="{BB962C8B-B14F-4D97-AF65-F5344CB8AC3E}">
        <p14:creationId xmlns:p14="http://schemas.microsoft.com/office/powerpoint/2010/main" val="13158431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0278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805490041"/>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6814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4"/>
            <a:ext cx="11655840" cy="554061"/>
          </a:xfrm>
        </p:spPr>
        <p:txBody>
          <a:bodyPr/>
          <a:lstStyle/>
          <a:p>
            <a:r>
              <a:rPr lang="en-US"/>
              <a:t>Click to edit Master title style</a:t>
            </a:r>
          </a:p>
        </p:txBody>
      </p:sp>
      <p:sp>
        <p:nvSpPr>
          <p:cNvPr id="4" name="Text Placeholder 3"/>
          <p:cNvSpPr>
            <a:spLocks noGrp="1"/>
          </p:cNvSpPr>
          <p:nvPr>
            <p:ph type="body" sz="quarter" idx="10"/>
          </p:nvPr>
        </p:nvSpPr>
        <p:spPr>
          <a:xfrm>
            <a:off x="6106889" y="1507584"/>
            <a:ext cx="5818194" cy="1797412"/>
          </a:xfrm>
        </p:spPr>
        <p:txBody>
          <a:bodyPr wrap="square">
            <a:spAutoFit/>
          </a:bodyPr>
          <a:lstStyle>
            <a:lvl1pPr marL="0" indent="0">
              <a:buNone/>
              <a:defRPr sz="2800">
                <a:solidFill>
                  <a:schemeClr val="tx1"/>
                </a:solidFill>
              </a:defRPr>
            </a:lvl1pPr>
            <a:lvl2pPr marL="0" indent="0">
              <a:buNone/>
              <a:defRPr sz="2000"/>
            </a:lvl2pPr>
            <a:lvl3pPr marL="0" indent="0">
              <a:buNone/>
              <a:defRPr sz="1800"/>
            </a:lvl3pPr>
            <a:lvl4pPr marL="0" indent="0">
              <a:buNone/>
              <a:defRPr sz="1800"/>
            </a:lvl4pPr>
            <a:lvl5pPr marL="0"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98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3EDD7-542E-4475-B823-F580C894DAF3}"/>
              </a:ext>
            </a:extLst>
          </p:cNvPr>
          <p:cNvSpPr>
            <a:spLocks noGrp="1"/>
          </p:cNvSpPr>
          <p:nvPr>
            <p:ph type="title"/>
          </p:nvPr>
        </p:nvSpPr>
        <p:spPr>
          <a:xfrm>
            <a:off x="831850" y="3639188"/>
            <a:ext cx="10515600" cy="923288"/>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CC602074-E0F9-4239-9EEB-6E5FF4511613}"/>
              </a:ext>
            </a:extLst>
          </p:cNvPr>
          <p:cNvSpPr>
            <a:spLocks noGrp="1"/>
          </p:cNvSpPr>
          <p:nvPr>
            <p:ph type="body" idx="1"/>
          </p:nvPr>
        </p:nvSpPr>
        <p:spPr>
          <a:xfrm>
            <a:off x="831850" y="4589464"/>
            <a:ext cx="10515600" cy="369353"/>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FF1F5FD-FAF7-4EE0-9E52-553221554A7C}"/>
              </a:ext>
            </a:extLst>
          </p:cNvPr>
          <p:cNvSpPr>
            <a:spLocks noGrp="1"/>
          </p:cNvSpPr>
          <p:nvPr>
            <p:ph type="dt" sz="half" idx="10"/>
          </p:nvPr>
        </p:nvSpPr>
        <p:spPr/>
        <p:txBody>
          <a:bodyPr/>
          <a:lstStyle/>
          <a:p>
            <a:fld id="{2289BF51-A98E-4AC0-AA72-40A7703287DF}" type="datetimeFigureOut">
              <a:rPr lang="en-US" smtClean="0"/>
              <a:t>3/29/2021</a:t>
            </a:fld>
            <a:endParaRPr lang="en-US"/>
          </a:p>
        </p:txBody>
      </p:sp>
      <p:sp>
        <p:nvSpPr>
          <p:cNvPr id="5" name="Footer Placeholder 4">
            <a:extLst>
              <a:ext uri="{FF2B5EF4-FFF2-40B4-BE49-F238E27FC236}">
                <a16:creationId xmlns:a16="http://schemas.microsoft.com/office/drawing/2014/main" id="{4AA85474-81D8-40D4-974E-309737F481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A81C1F-D1AB-4656-9173-6E1FC88B772E}"/>
              </a:ext>
            </a:extLst>
          </p:cNvPr>
          <p:cNvSpPr>
            <a:spLocks noGrp="1"/>
          </p:cNvSpPr>
          <p:nvPr>
            <p:ph type="sldNum" sz="quarter" idx="12"/>
          </p:nvPr>
        </p:nvSpPr>
        <p:spPr/>
        <p:txBody>
          <a:bodyPr/>
          <a:lstStyle/>
          <a:p>
            <a:fld id="{766599BB-C14D-4533-A352-30149C5C5203}" type="slidenum">
              <a:rPr lang="en-US" smtClean="0"/>
              <a:t>‹#›</a:t>
            </a:fld>
            <a:endParaRPr lang="en-US"/>
          </a:p>
        </p:txBody>
      </p:sp>
    </p:spTree>
    <p:extLst>
      <p:ext uri="{BB962C8B-B14F-4D97-AF65-F5344CB8AC3E}">
        <p14:creationId xmlns:p14="http://schemas.microsoft.com/office/powerpoint/2010/main" val="136059278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49853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8744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980275191"/>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2181049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996661480"/>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423175109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999530292"/>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2267171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745641871"/>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022560436"/>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01897473"/>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78233710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68994874"/>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157482302"/>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358544442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105585511"/>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63848969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6345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68927249"/>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187162172"/>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998787511"/>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951171972"/>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610048297"/>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2072679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554181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91442398"/>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921224685"/>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80221228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7792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08738506"/>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899462859"/>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852797520"/>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33332761"/>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311073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572441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34952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4">
                <a:solidFill>
                  <a:schemeClr val="bg2"/>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262228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4">
                <a:solidFill>
                  <a:schemeClr val="bg2"/>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93725997"/>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5608620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52933407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7"/>
            <a:ext cx="5583404" cy="6409831"/>
          </a:xfrm>
          <a:prstGeom prst="rect">
            <a:avLst/>
          </a:prstGeom>
        </p:spPr>
      </p:pic>
    </p:spTree>
    <p:extLst>
      <p:ext uri="{BB962C8B-B14F-4D97-AF65-F5344CB8AC3E}">
        <p14:creationId xmlns:p14="http://schemas.microsoft.com/office/powerpoint/2010/main" val="3740156889"/>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1"/>
            <a:ext cx="5413537" cy="6214821"/>
          </a:xfrm>
          <a:prstGeom prst="rect">
            <a:avLst/>
          </a:prstGeom>
        </p:spPr>
      </p:pic>
    </p:spTree>
    <p:extLst>
      <p:ext uri="{BB962C8B-B14F-4D97-AF65-F5344CB8AC3E}">
        <p14:creationId xmlns:p14="http://schemas.microsoft.com/office/powerpoint/2010/main" val="1181223853"/>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986946569"/>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4141956723"/>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61275939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22854118"/>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52807960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181315058"/>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5"/>
            <a:ext cx="3618381" cy="899665"/>
          </a:xfrm>
          <a:prstGeom prst="rect">
            <a:avLst/>
          </a:prstGeom>
        </p:spPr>
        <p:txBody>
          <a:bodyPr lIns="0" tIns="0" rIns="0" bIns="0"/>
          <a:lstStyle>
            <a:lvl1pPr>
              <a:defRPr sz="1764"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178">
              <a:spcAft>
                <a:spcPts val="490"/>
              </a:spcAft>
              <a:buNone/>
              <a:defRPr sz="1764" spc="0" baseline="0">
                <a:solidFill>
                  <a:schemeClr val="tx2"/>
                </a:solidFill>
              </a:defRPr>
            </a:lvl1pPr>
            <a:lvl2pPr marL="224030" indent="0">
              <a:buNone/>
              <a:defRPr sz="1764"/>
            </a:lvl2pPr>
            <a:lvl3pPr marL="448059" indent="0">
              <a:buNone/>
              <a:defRPr sz="1764"/>
            </a:lvl3pPr>
            <a:lvl4pPr marL="672088" indent="0">
              <a:buNone/>
              <a:defRPr sz="1764"/>
            </a:lvl4pPr>
            <a:lvl5pPr marL="896117" indent="0">
              <a:buNone/>
              <a:defRPr sz="1764"/>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178">
              <a:spcAft>
                <a:spcPts val="490"/>
              </a:spcAft>
              <a:buNone/>
              <a:defRPr sz="1764" spc="0" baseline="0">
                <a:solidFill>
                  <a:srgbClr val="000000"/>
                </a:solidFill>
              </a:defRPr>
            </a:lvl1pPr>
            <a:lvl2pPr marL="224030" indent="0">
              <a:buNone/>
              <a:defRPr sz="1764"/>
            </a:lvl2pPr>
            <a:lvl3pPr marL="448059" indent="0">
              <a:buNone/>
              <a:defRPr sz="1764"/>
            </a:lvl3pPr>
            <a:lvl4pPr marL="672088" indent="0">
              <a:buNone/>
              <a:defRPr sz="1764"/>
            </a:lvl4pPr>
            <a:lvl5pPr marL="896117" indent="0">
              <a:buNone/>
              <a:defRPr sz="1764"/>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444703430"/>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287771"/>
          </a:xfrm>
          <a:prstGeom prst="rect">
            <a:avLst/>
          </a:prstGeom>
        </p:spPr>
        <p:txBody>
          <a:bodyPr wrap="square" lIns="0" tIns="0" rIns="0" bIns="0">
            <a:spAutoFit/>
          </a:bodyPr>
          <a:lstStyle>
            <a:lvl1pPr marL="0" indent="0">
              <a:lnSpc>
                <a:spcPts val="2352"/>
              </a:lnSpc>
              <a:buNone/>
              <a:defRPr sz="1960" b="0" i="0" spc="0">
                <a:solidFill>
                  <a:srgbClr val="000000"/>
                </a:solidFill>
                <a:latin typeface="+mj-lt"/>
              </a:defRPr>
            </a:lvl1pPr>
            <a:lvl2pPr marL="0" indent="0">
              <a:lnSpc>
                <a:spcPts val="2352"/>
              </a:lnSpc>
              <a:buNone/>
              <a:defRPr spc="0">
                <a:solidFill>
                  <a:srgbClr val="000000"/>
                </a:solidFill>
                <a:latin typeface="+mn-lt"/>
              </a:defRPr>
            </a:lvl2pPr>
            <a:lvl3pPr marL="448059" indent="0">
              <a:buNone/>
              <a:defRPr/>
            </a:lvl3pPr>
            <a:lvl4pPr marL="672088" indent="0">
              <a:buNone/>
              <a:defRPr/>
            </a:lvl4pPr>
            <a:lvl5pPr marL="896117"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4"/>
              </a:lnSpc>
              <a:spcBef>
                <a:spcPts val="0"/>
              </a:spcBef>
              <a:buNone/>
              <a:defRPr sz="1372" b="0" spc="0">
                <a:solidFill>
                  <a:schemeClr val="tx2"/>
                </a:solidFill>
                <a:latin typeface="+mj-lt"/>
              </a:defRPr>
            </a:lvl1pPr>
            <a:lvl2pPr marL="0" indent="0">
              <a:lnSpc>
                <a:spcPts val="1764"/>
              </a:lnSpc>
              <a:spcBef>
                <a:spcPts val="0"/>
              </a:spcBef>
              <a:buNone/>
              <a:defRPr sz="1372" spc="0">
                <a:solidFill>
                  <a:srgbClr val="000000"/>
                </a:solidFill>
              </a:defRPr>
            </a:lvl2pPr>
            <a:lvl3pPr marL="448059" indent="0">
              <a:buNone/>
              <a:defRPr/>
            </a:lvl3pPr>
            <a:lvl4pPr marL="672088" indent="0">
              <a:buNone/>
              <a:defRPr/>
            </a:lvl4pPr>
            <a:lvl5pPr marL="896117"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59" indent="0">
              <a:buNone/>
              <a:defRPr/>
            </a:lvl3pPr>
            <a:lvl4pPr marL="672088"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Medium: body copy Segoe UI Regular 14/18</a:t>
            </a:r>
          </a:p>
        </p:txBody>
      </p:sp>
    </p:spTree>
    <p:extLst>
      <p:ext uri="{BB962C8B-B14F-4D97-AF65-F5344CB8AC3E}">
        <p14:creationId xmlns:p14="http://schemas.microsoft.com/office/powerpoint/2010/main" val="197562841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684488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7"/>
            <a:ext cx="9384447" cy="3365537"/>
          </a:xfrm>
          <a:prstGeom prst="rect">
            <a:avLst/>
          </a:prstGeom>
        </p:spPr>
        <p:txBody>
          <a:bodyPr wrap="square" lIns="0" tIns="0" rIns="0" bIns="0">
            <a:spAutoFit/>
          </a:bodyPr>
          <a:lstStyle>
            <a:lvl1pPr marL="336044" marR="0" indent="-336044" algn="l" defTabSz="914093" rtl="0" eaLnBrk="1" fontAlgn="auto" latinLnBrk="0" hangingPunct="1">
              <a:lnSpc>
                <a:spcPts val="2352"/>
              </a:lnSpc>
              <a:spcBef>
                <a:spcPts val="0"/>
              </a:spcBef>
              <a:spcAft>
                <a:spcPts val="0"/>
              </a:spcAft>
              <a:buClrTx/>
              <a:buSzPct val="90000"/>
              <a:buFont typeface="Arial" panose="020B0604020202020204" pitchFamily="34" charset="0"/>
              <a:buChar char="•"/>
              <a:tabLst/>
              <a:defRPr lang="en-US" sz="1960" kern="1200" spc="0" baseline="0" dirty="0">
                <a:solidFill>
                  <a:srgbClr val="000000"/>
                </a:solidFill>
                <a:latin typeface="+mn-lt"/>
                <a:ea typeface="+mn-ea"/>
                <a:cs typeface="+mn-cs"/>
              </a:defRPr>
            </a:lvl1pPr>
            <a:lvl2pPr marL="224030" indent="0">
              <a:buNone/>
              <a:defRPr/>
            </a:lvl2pPr>
            <a:lvl3pPr marL="448059" indent="0">
              <a:buNone/>
              <a:defRPr/>
            </a:lvl3pPr>
            <a:lvl4pPr marL="672088" indent="0">
              <a:buNone/>
              <a:defRPr/>
            </a:lvl4pPr>
            <a:lvl5pPr marL="89611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44" marR="0" lvl="0" indent="-336044" algn="l" defTabSz="914093" rtl="0" eaLnBrk="1" fontAlgn="auto" latinLnBrk="0" hangingPunct="1">
              <a:lnSpc>
                <a:spcPts val="2352"/>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44" marR="0" lvl="0" indent="-336044" algn="l" defTabSz="914093" rtl="0" eaLnBrk="1" fontAlgn="auto" latinLnBrk="0" hangingPunct="1">
              <a:lnSpc>
                <a:spcPts val="2352"/>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7225036"/>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7"/>
            <a:ext cx="9384447" cy="603538"/>
          </a:xfrm>
          <a:prstGeom prst="rect">
            <a:avLst/>
          </a:prstGeom>
        </p:spPr>
        <p:txBody>
          <a:bodyPr wrap="square" lIns="0" tIns="0" rIns="0" bIns="0">
            <a:spAutoFit/>
          </a:bodyPr>
          <a:lstStyle>
            <a:lvl1pPr marL="0" indent="0">
              <a:lnSpc>
                <a:spcPts val="2352"/>
              </a:lnSpc>
              <a:buNone/>
              <a:defRPr lang="en-US" sz="1960" kern="1200" spc="0" baseline="0" dirty="0">
                <a:solidFill>
                  <a:srgbClr val="000000"/>
                </a:solidFill>
                <a:latin typeface="+mn-lt"/>
                <a:ea typeface="+mn-ea"/>
                <a:cs typeface="+mn-cs"/>
              </a:defRPr>
            </a:lvl1pPr>
            <a:lvl2pPr marL="224030" indent="0">
              <a:buNone/>
              <a:defRPr/>
            </a:lvl2pPr>
            <a:lvl3pPr marL="448059" indent="0">
              <a:buNone/>
              <a:defRPr/>
            </a:lvl3pPr>
            <a:lvl4pPr marL="672088" indent="0">
              <a:buNone/>
              <a:defRPr/>
            </a:lvl4pPr>
            <a:lvl5pPr marL="89611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037" marR="0" indent="-280037" algn="l" defTabSz="914093"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059" indent="0">
              <a:buNone/>
              <a:defRPr/>
            </a:lvl3pPr>
            <a:lvl4pPr marL="672088" indent="0">
              <a:buNone/>
              <a:defRPr/>
            </a:lvl4pPr>
            <a:lvl5pPr marL="896117"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037" marR="0" indent="-280037" algn="l" defTabSz="914093"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059" indent="0">
              <a:buNone/>
              <a:defRPr/>
            </a:lvl3pPr>
            <a:lvl4pPr marL="672088" indent="0">
              <a:buNone/>
              <a:defRPr/>
            </a:lvl4pPr>
            <a:lvl5pPr marL="896117"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037" marR="0" indent="-280037" algn="l" defTabSz="914093"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059" indent="0">
              <a:buNone/>
              <a:defRPr/>
            </a:lvl3pPr>
            <a:lvl4pPr marL="672088" indent="0">
              <a:buNone/>
              <a:defRPr/>
            </a:lvl4pPr>
            <a:lvl5pPr marL="896117"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39"/>
            <a:ext cx="3618381" cy="2059666"/>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39"/>
            <a:ext cx="3618381" cy="2059666"/>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39"/>
            <a:ext cx="3618381" cy="2059666"/>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75158400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49"/>
            <a:ext cx="3618381" cy="2059666"/>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49"/>
            <a:ext cx="3618381" cy="2059666"/>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27238303"/>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4"/>
            <a:ext cx="3609417" cy="3108047"/>
          </a:xfrm>
          <a:prstGeom prst="rect">
            <a:avLst/>
          </a:prstGeom>
        </p:spPr>
      </p:pic>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2"/>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3"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89993236"/>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7"/>
            <a:ext cx="1693247" cy="442532"/>
          </a:xfrm>
          <a:prstGeom prst="rect">
            <a:avLst/>
          </a:prstGeo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1"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1"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70"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3"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8"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7"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681864226"/>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85336353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4"/>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3719040252"/>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4"/>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690122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2484313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30"/>
            <a:ext cx="5541959" cy="403137"/>
          </a:xfrm>
          <a:prstGeom prst="rect">
            <a:avLst/>
          </a:prstGeom>
        </p:spPr>
        <p:txBody>
          <a:bodyPr wrap="square" lIns="0" tIns="0" rIns="0" bIns="0">
            <a:spAutoFit/>
          </a:bodyPr>
          <a:lstStyle>
            <a:lvl1pPr>
              <a:lnSpc>
                <a:spcPts val="3136"/>
              </a:lnSpc>
              <a:defRPr sz="2744"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7"/>
            <a:ext cx="4822951" cy="287771"/>
          </a:xfrm>
          <a:prstGeom prst="rect">
            <a:avLst/>
          </a:prstGeom>
        </p:spPr>
        <p:txBody>
          <a:bodyPr wrap="square" lIns="0" tIns="0" rIns="0" bIns="0">
            <a:spAutoFit/>
          </a:bodyPr>
          <a:lstStyle>
            <a:lvl1pPr marL="0" indent="0">
              <a:lnSpc>
                <a:spcPts val="2352"/>
              </a:lnSpc>
              <a:buNone/>
              <a:defRPr lang="en-US" sz="1960" kern="1200" spc="0" baseline="0" dirty="0">
                <a:solidFill>
                  <a:srgbClr val="000000"/>
                </a:solidFill>
                <a:latin typeface="+mn-lt"/>
                <a:ea typeface="+mn-ea"/>
                <a:cs typeface="+mn-cs"/>
              </a:defRPr>
            </a:lvl1pPr>
            <a:lvl2pPr marL="224030" indent="0">
              <a:buNone/>
              <a:defRPr/>
            </a:lvl2pPr>
            <a:lvl3pPr marL="448059" indent="0">
              <a:buNone/>
              <a:defRPr/>
            </a:lvl3pPr>
            <a:lvl4pPr marL="672088" indent="0">
              <a:buNone/>
              <a:defRPr/>
            </a:lvl4pPr>
            <a:lvl5pPr marL="896117"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7"/>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5"/>
            <a:ext cx="4822951" cy="674672"/>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84535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Two people sitting at a table using a computer.&#10;&#10;Description automatically generated">
            <a:extLst>
              <a:ext uri="{FF2B5EF4-FFF2-40B4-BE49-F238E27FC236}">
                <a16:creationId xmlns:a16="http://schemas.microsoft.com/office/drawing/2014/main" id="{F9A7CF8A-30D6-48AA-AAA3-9F874DD7018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192277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8"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4"/>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4"/>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1428555765"/>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2"/>
            <a:ext cx="7747227" cy="6439851"/>
          </a:xfrm>
          <a:prstGeom prst="rect">
            <a:avLst/>
          </a:prstGeom>
        </p:spPr>
      </p:pic>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2"/>
            <a:ext cx="4758211" cy="603538"/>
          </a:xfrm>
          <a:prstGeom prst="rect">
            <a:avLst/>
          </a:prstGeom>
        </p:spPr>
        <p:txBody>
          <a:bodyPr wrap="square" lIns="0" tIns="0" rIns="0" bIns="0">
            <a:spAutoFit/>
          </a:bodyPr>
          <a:lstStyle>
            <a:lvl1pPr marL="0" indent="0">
              <a:lnSpc>
                <a:spcPts val="2352"/>
              </a:lnSpc>
              <a:buNone/>
              <a:defRPr sz="1960" b="0" i="0">
                <a:solidFill>
                  <a:srgbClr val="000000"/>
                </a:solidFill>
                <a:latin typeface="+mn-lt"/>
              </a:defRPr>
            </a:lvl1pPr>
            <a:lvl2pPr marL="224030" indent="0">
              <a:buNone/>
              <a:defRPr/>
            </a:lvl2pPr>
            <a:lvl3pPr marL="448059" indent="0">
              <a:buNone/>
              <a:defRPr/>
            </a:lvl3pPr>
            <a:lvl4pPr marL="672088" indent="0">
              <a:buNone/>
              <a:defRPr/>
            </a:lvl4pPr>
            <a:lvl5pPr marL="89611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735122115"/>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60"/>
            <a:ext cx="1693247"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14781345"/>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9"/>
            <a:ext cx="10869930" cy="6371053"/>
          </a:xfrm>
          <a:prstGeom prst="rect">
            <a:avLst/>
          </a:prstGeom>
        </p:spPr>
      </p:pic>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7" y="3490039"/>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97131602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2"/>
            <a:ext cx="3618377" cy="3534843"/>
          </a:xfrm>
          <a:prstGeom prst="rect">
            <a:avLst/>
          </a:prstGeom>
        </p:spPr>
        <p:txBody>
          <a:bodyPr anchor="ctr">
            <a:noAutofit/>
          </a:bodyPr>
          <a:lstStyle>
            <a:lvl1pPr marL="0" indent="0" algn="ctr">
              <a:buNone/>
              <a:defRPr sz="2352">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093"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059" indent="0">
              <a:buNone/>
              <a:defRPr/>
            </a:lvl3pPr>
            <a:lvl4pPr marL="672088" indent="0">
              <a:buNone/>
              <a:defRPr/>
            </a:lvl4pPr>
            <a:lvl5pPr marL="89611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2"/>
            <a:ext cx="3607487" cy="3534843"/>
          </a:xfrm>
          <a:prstGeom prst="rect">
            <a:avLst/>
          </a:prstGeom>
        </p:spPr>
        <p:txBody>
          <a:bodyPr anchor="ctr">
            <a:noAutofit/>
          </a:bodyPr>
          <a:lstStyle>
            <a:lvl1pPr marL="0" indent="0" algn="ctr">
              <a:buNone/>
              <a:defRPr sz="2352">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2"/>
            <a:ext cx="3623051" cy="3534843"/>
          </a:xfrm>
          <a:prstGeom prst="rect">
            <a:avLst/>
          </a:prstGeom>
        </p:spPr>
        <p:txBody>
          <a:bodyPr anchor="ctr">
            <a:noAutofit/>
          </a:bodyPr>
          <a:lstStyle>
            <a:lvl1pPr marL="0" indent="0" algn="ctr">
              <a:buNone/>
              <a:defRPr sz="2352">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7045990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4"/>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841080930"/>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8"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1" y="6451199"/>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985548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8"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1" y="6451199"/>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3880398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userDrawn="1">
  <p:cSld name="Lis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32675" y="2374765"/>
            <a:ext cx="6739325" cy="2227147"/>
            <a:chOff x="8223066" y="6182286"/>
            <a:chExt cx="12807252" cy="4231311"/>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99613" y="6182286"/>
              <a:ext cx="10509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23066" y="6837393"/>
              <a:ext cx="1373886"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99613" y="7633852"/>
              <a:ext cx="10509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23069" y="8332857"/>
              <a:ext cx="1373886"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List</a:t>
            </a:r>
          </a:p>
        </p:txBody>
      </p:sp>
      <p:sp>
        <p:nvSpPr>
          <p:cNvPr id="50" name="Text Placeholder 6">
            <a:extLst>
              <a:ext uri="{FF2B5EF4-FFF2-40B4-BE49-F238E27FC236}">
                <a16:creationId xmlns:a16="http://schemas.microsoft.com/office/drawing/2014/main" id="{F02C43B8-DD0F-C048-9F6E-784256D487F9}"/>
              </a:ext>
            </a:extLst>
          </p:cNvPr>
          <p:cNvSpPr>
            <a:spLocks noGrp="1"/>
          </p:cNvSpPr>
          <p:nvPr>
            <p:ph type="body" sz="quarter" idx="10" hasCustomPrompt="1"/>
          </p:nvPr>
        </p:nvSpPr>
        <p:spPr>
          <a:xfrm>
            <a:off x="574245" y="2019300"/>
            <a:ext cx="11038167" cy="1877437"/>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Bulleted list, 20-24pt</a:t>
            </a:r>
          </a:p>
          <a:p>
            <a:pPr lvl="0"/>
            <a:r>
              <a:rPr lang="en-US"/>
              <a:t>Bulleted list, 20-24pt</a:t>
            </a:r>
          </a:p>
          <a:p>
            <a:pPr lvl="0"/>
            <a:r>
              <a:rPr lang="en-US"/>
              <a:t>Bulleted list, 20-24pt</a:t>
            </a:r>
          </a:p>
          <a:p>
            <a:pPr lvl="0"/>
            <a:endParaRPr lang="en-US"/>
          </a:p>
        </p:txBody>
      </p:sp>
    </p:spTree>
    <p:extLst>
      <p:ext uri="{BB962C8B-B14F-4D97-AF65-F5344CB8AC3E}">
        <p14:creationId xmlns:p14="http://schemas.microsoft.com/office/powerpoint/2010/main" val="22172104"/>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Speaker name</a:t>
            </a:r>
          </a:p>
        </p:txBody>
      </p:sp>
      <p:pic>
        <p:nvPicPr>
          <p:cNvPr id="6" name="MS logo white - EMF" descr="Microsoft logo white text version">
            <a:extLst>
              <a:ext uri="{FF2B5EF4-FFF2-40B4-BE49-F238E27FC236}">
                <a16:creationId xmlns:a16="http://schemas.microsoft.com/office/drawing/2014/main" id="{82B3A4A2-A5B9-4194-9B94-ED6A4B7888C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818380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791101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sitting at a table using a computer.&#10;&#10;Description automatically generated">
            <a:extLst>
              <a:ext uri="{FF2B5EF4-FFF2-40B4-BE49-F238E27FC236}">
                <a16:creationId xmlns:a16="http://schemas.microsoft.com/office/drawing/2014/main" id="{EF611E5D-50E2-478F-8A1D-7D2ACFE348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3265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2"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7"/>
            <a:ext cx="8964186" cy="715931"/>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4018794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6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stretch>
            <a:fillRect/>
          </a:stretch>
        </p:blipFill>
        <p:spPr>
          <a:xfrm>
            <a:off x="448526" y="6041180"/>
            <a:ext cx="1613705" cy="346697"/>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2"/>
          <p:cNvSpPr txBox="1">
            <a:spLocks/>
          </p:cNvSpPr>
          <p:nvPr userDrawn="1"/>
        </p:nvSpPr>
        <p:spPr bwMode="auto">
          <a:xfrm>
            <a:off x="358944" y="201451"/>
            <a:ext cx="2958170" cy="537925"/>
          </a:xfrm>
          <a:prstGeom prst="rect">
            <a:avLst/>
          </a:prstGeom>
        </p:spPr>
        <p:txBody>
          <a:bodyPr vert="horz" wrap="square" lIns="143391" tIns="107543" rIns="143391" bIns="10754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Segoe UI" panose="020B0502040204020203" pitchFamily="34" charset="0"/>
              </a:rPr>
              <a:t>Microsoft Services</a:t>
            </a:r>
          </a:p>
        </p:txBody>
      </p:sp>
    </p:spTree>
    <p:extLst>
      <p:ext uri="{BB962C8B-B14F-4D97-AF65-F5344CB8AC3E}">
        <p14:creationId xmlns:p14="http://schemas.microsoft.com/office/powerpoint/2010/main" val="348098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8"/>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panose="020B0502040204020203" pitchFamily="34" charset="0"/>
              </a:defRPr>
            </a:lvl1pPr>
          </a:lstStyle>
          <a:p>
            <a:pPr lvl="0"/>
            <a:r>
              <a:rPr lang="en-US"/>
              <a:t>Speaker Name</a:t>
            </a:r>
          </a:p>
        </p:txBody>
      </p:sp>
    </p:spTree>
    <p:extLst>
      <p:ext uri="{BB962C8B-B14F-4D97-AF65-F5344CB8AC3E}">
        <p14:creationId xmlns:p14="http://schemas.microsoft.com/office/powerpoint/2010/main" val="110912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8"/>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Segoe UI" panose="020B0502040204020203" pitchFamily="34" charset="0"/>
                <a:ea typeface="+mn-ea"/>
                <a:cs typeface="Segoe UI" pitchFamily="34" charset="0"/>
              </a:defRPr>
            </a:lvl1pPr>
          </a:lstStyle>
          <a:p>
            <a:r>
              <a:rPr lang="en-US"/>
              <a:t>Video title</a:t>
            </a:r>
          </a:p>
        </p:txBody>
      </p:sp>
    </p:spTree>
    <p:extLst>
      <p:ext uri="{BB962C8B-B14F-4D97-AF65-F5344CB8AC3E}">
        <p14:creationId xmlns:p14="http://schemas.microsoft.com/office/powerpoint/2010/main" val="1963878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1051995"/>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0839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solidFill>
                  <a:srgbClr val="008272"/>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239701317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Square Right Photo Layou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70289" y="552001"/>
            <a:ext cx="4795873" cy="1484704"/>
          </a:xfrm>
        </p:spPr>
        <p:txBody>
          <a:bodyPr wrap="square" anchor="ctr">
            <a:spAutoFit/>
          </a:bodyPr>
          <a:lstStyle>
            <a:lvl1pPr>
              <a:defRPr sz="4704" baseline="0">
                <a:solidFill>
                  <a:schemeClr val="bg1"/>
                </a:solidFill>
              </a:defRPr>
            </a:lvl1pPr>
          </a:lstStyle>
          <a:p>
            <a:r>
              <a:rPr lang="en-US"/>
              <a:t>Square photo layout</a:t>
            </a:r>
          </a:p>
        </p:txBody>
      </p:sp>
      <p:pic>
        <p:nvPicPr>
          <p:cNvPr id="3" name="Picture 2">
            <a:extLst>
              <a:ext uri="{FF2B5EF4-FFF2-40B4-BE49-F238E27FC236}">
                <a16:creationId xmlns:a16="http://schemas.microsoft.com/office/drawing/2014/main" id="{7FFCA2A4-47A7-435F-926A-3D3F1B650712}"/>
              </a:ext>
            </a:extLst>
          </p:cNvPr>
          <p:cNvPicPr>
            <a:picLocks noChangeAspect="1"/>
          </p:cNvPicPr>
          <p:nvPr userDrawn="1"/>
        </p:nvPicPr>
        <p:blipFill>
          <a:blip r:embed="rId2"/>
          <a:stretch>
            <a:fillRect/>
          </a:stretch>
        </p:blipFill>
        <p:spPr>
          <a:xfrm>
            <a:off x="2" y="0"/>
            <a:ext cx="6857027" cy="6858000"/>
          </a:xfrm>
          <a:prstGeom prst="rect">
            <a:avLst/>
          </a:prstGeom>
        </p:spPr>
      </p:pic>
    </p:spTree>
    <p:extLst>
      <p:ext uri="{BB962C8B-B14F-4D97-AF65-F5344CB8AC3E}">
        <p14:creationId xmlns:p14="http://schemas.microsoft.com/office/powerpoint/2010/main" val="4321968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34966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05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871050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27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98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550274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827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38" tIns="179238" rIns="179238" bIns="179238" numCol="1" anchor="t" anchorCtr="0" compatLnSpc="1">
            <a:prstTxWarp prst="textNoShape">
              <a:avLst/>
            </a:prstTxWarp>
            <a:spAutoFit/>
          </a:bodyPr>
          <a:lstStyle/>
          <a:p>
            <a:pPr defTabSz="913650" eaLnBrk="0" hangingPunct="0"/>
            <a:r>
              <a:rPr lang="en-US" sz="686">
                <a:solidFill>
                  <a:schemeClr val="bg1"/>
                </a:solidFill>
                <a:latin typeface="Segoe UI" panose="020B0502040204020203" pitchFamily="34" charset="0"/>
                <a:cs typeface="Segoe UI" pitchFamily="34" charset="0"/>
              </a:rPr>
              <a:t>© Copyright Microsoft Corporation. All rights reserved. </a:t>
            </a:r>
          </a:p>
        </p:txBody>
      </p:sp>
    </p:spTree>
    <p:extLst>
      <p:ext uri="{BB962C8B-B14F-4D97-AF65-F5344CB8AC3E}">
        <p14:creationId xmlns:p14="http://schemas.microsoft.com/office/powerpoint/2010/main" val="3183744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5104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6CAB0-3422-4FC0-BDB6-1D282890E20A}"/>
              </a:ext>
            </a:extLst>
          </p:cNvPr>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9A6017E1-BC0F-403F-9E7B-15068D7527EF}"/>
              </a:ext>
            </a:extLst>
          </p:cNvPr>
          <p:cNvSpPr>
            <a:spLocks noGrp="1"/>
          </p:cNvSpPr>
          <p:nvPr>
            <p:ph type="subTitle" idx="1"/>
          </p:nvPr>
        </p:nvSpPr>
        <p:spPr>
          <a:xfrm>
            <a:off x="1524001" y="3602038"/>
            <a:ext cx="9144000" cy="51693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BD7730-BB2A-457A-8829-467FA46D9B8C}"/>
              </a:ext>
            </a:extLst>
          </p:cNvPr>
          <p:cNvSpPr>
            <a:spLocks noGrp="1"/>
          </p:cNvSpPr>
          <p:nvPr>
            <p:ph type="dt" sz="half" idx="10"/>
          </p:nvPr>
        </p:nvSpPr>
        <p:spPr/>
        <p:txBody>
          <a:bodyPr/>
          <a:lstStyle>
            <a:lvl1pPr>
              <a:defRPr>
                <a:latin typeface="Segoe UI" panose="020B0502040204020203" pitchFamily="34" charset="0"/>
              </a:defRPr>
            </a:lvl1pPr>
          </a:lstStyle>
          <a:p>
            <a:fld id="{C4DED5F9-56B2-4A48-B2B7-90C4B88360C8}" type="datetimeFigureOut">
              <a:rPr lang="en-US" smtClean="0"/>
              <a:pPr/>
              <a:t>3/29/2021</a:t>
            </a:fld>
            <a:endParaRPr lang="en-US"/>
          </a:p>
        </p:txBody>
      </p:sp>
      <p:sp>
        <p:nvSpPr>
          <p:cNvPr id="5" name="Footer Placeholder 4">
            <a:extLst>
              <a:ext uri="{FF2B5EF4-FFF2-40B4-BE49-F238E27FC236}">
                <a16:creationId xmlns:a16="http://schemas.microsoft.com/office/drawing/2014/main" id="{387877F3-FC0F-4667-AF43-BFD0915D830B}"/>
              </a:ext>
            </a:extLst>
          </p:cNvPr>
          <p:cNvSpPr>
            <a:spLocks noGrp="1"/>
          </p:cNvSpPr>
          <p:nvPr>
            <p:ph type="ftr" sz="quarter" idx="11"/>
          </p:nvPr>
        </p:nvSpPr>
        <p:spPr/>
        <p:txBody>
          <a:bodyPr/>
          <a:lstStyle>
            <a:lvl1pPr>
              <a:defRPr>
                <a:latin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3E090D61-9BC1-44B8-AA82-5367AC5F8F90}"/>
              </a:ext>
            </a:extLst>
          </p:cNvPr>
          <p:cNvSpPr>
            <a:spLocks noGrp="1"/>
          </p:cNvSpPr>
          <p:nvPr>
            <p:ph type="sldNum" sz="quarter" idx="12"/>
          </p:nvPr>
        </p:nvSpPr>
        <p:spPr/>
        <p:txBody>
          <a:bodyPr/>
          <a:lstStyle>
            <a:lvl1pPr>
              <a:defRPr>
                <a:latin typeface="Segoe UI" panose="020B0502040204020203" pitchFamily="34" charset="0"/>
              </a:defRPr>
            </a:lvl1pPr>
          </a:lstStyle>
          <a:p>
            <a:fld id="{8D79F186-46CD-496E-AFA0-4B0705A2A114}" type="slidenum">
              <a:rPr lang="en-US" smtClean="0"/>
              <a:pPr/>
              <a:t>‹#›</a:t>
            </a:fld>
            <a:endParaRPr lang="en-US"/>
          </a:p>
        </p:txBody>
      </p:sp>
    </p:spTree>
    <p:extLst>
      <p:ext uri="{BB962C8B-B14F-4D97-AF65-F5344CB8AC3E}">
        <p14:creationId xmlns:p14="http://schemas.microsoft.com/office/powerpoint/2010/main" val="362528970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394297"/>
            <a:ext cx="4167887" cy="2139240"/>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3"/>
            <a:ext cx="4164583" cy="276999"/>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29318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1" y="0"/>
            <a:ext cx="12192000" cy="1219200"/>
          </a:xfrm>
          <a:prstGeom prst="rect">
            <a:avLst/>
          </a:prstGeom>
          <a:solidFill>
            <a:srgbClr val="0A5BBA">
              <a:alpha val="89804"/>
            </a:srgbClr>
          </a:solidFill>
        </p:spPr>
        <p:txBody>
          <a:bodyPr lIns="182880" tIns="91440" rIns="91440" bIns="91440" anchor="ctr">
            <a:normAutofit/>
          </a:bodyPr>
          <a:lstStyle>
            <a:lvl1pPr>
              <a:defRPr sz="3199"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3"/>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1" cy="4876800"/>
          </a:xfrm>
          <a:noFill/>
        </p:spPr>
        <p:txBody>
          <a:bodyPr lIns="182880" tIns="91440" rIns="91440" bIns="91440">
            <a:normAutofit/>
          </a:bodyPr>
          <a:lstStyle>
            <a:lvl1pPr marL="304701" indent="-304701">
              <a:lnSpc>
                <a:spcPct val="100000"/>
              </a:lnSpc>
              <a:buFont typeface="Arial" pitchFamily="34" charset="0"/>
              <a:buChar char="•"/>
              <a:defRPr/>
            </a:lvl1pPr>
            <a:lvl2pPr marL="609402" indent="-300469">
              <a:lnSpc>
                <a:spcPct val="100000"/>
              </a:lnSpc>
              <a:buFont typeface="Arial" pitchFamily="34" charset="0"/>
              <a:buChar char="•"/>
              <a:defRPr/>
            </a:lvl2pPr>
            <a:lvl3pPr marL="914103" indent="-304701">
              <a:lnSpc>
                <a:spcPct val="100000"/>
              </a:lnSpc>
              <a:buFont typeface="Arial" pitchFamily="34" charset="0"/>
              <a:buChar char="•"/>
              <a:defRPr/>
            </a:lvl3pPr>
            <a:lvl4pPr marL="1218804" indent="-304701">
              <a:lnSpc>
                <a:spcPct val="100000"/>
              </a:lnSpc>
              <a:buFont typeface="Arial" pitchFamily="34" charset="0"/>
              <a:buChar char="•"/>
              <a:defRPr/>
            </a:lvl4pPr>
            <a:lvl5pPr marL="1523505" indent="-304701">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121126592"/>
      </p:ext>
    </p:extLst>
  </p:cSld>
  <p:clrMapOvr>
    <a:masterClrMapping/>
  </p:clrMapOvr>
  <p:transition>
    <p:fade/>
  </p:transition>
  <p:hf hdr="0" ftr="0" dt="0"/>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391998"/>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004B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36982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solidFill>
                  <a:schemeClr val="tx2"/>
                </a:solidFill>
              </a:defRPr>
            </a:lvl1pPr>
          </a:lstStyle>
          <a:p>
            <a:r>
              <a:rPr lang="en-US"/>
              <a:t>Click to edit Master title style</a:t>
            </a:r>
          </a:p>
        </p:txBody>
      </p:sp>
    </p:spTree>
    <p:extLst>
      <p:ext uri="{BB962C8B-B14F-4D97-AF65-F5344CB8AC3E}">
        <p14:creationId xmlns:p14="http://schemas.microsoft.com/office/powerpoint/2010/main" val="2103503973"/>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7"/>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605461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48967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599"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648"/>
          </a:xfrm>
        </p:spPr>
        <p:txBody>
          <a:bodyPr lIns="0" tIns="0" rIns="0" bIns="0"/>
          <a:lstStyle>
            <a:lvl1pPr marL="0" indent="0" algn="r">
              <a:buNone/>
              <a:defRPr sz="1999">
                <a:latin typeface="+mn-lt"/>
              </a:defRPr>
            </a:lvl1pPr>
            <a:lvl2pPr marL="342797" indent="0">
              <a:buNone/>
              <a:defRPr sz="1999"/>
            </a:lvl2pPr>
            <a:lvl3pPr marL="571329" indent="0">
              <a:buNone/>
              <a:defRPr sz="1999"/>
            </a:lvl3pPr>
            <a:lvl4pPr marL="799860" indent="0">
              <a:buNone/>
              <a:defRPr sz="1999"/>
            </a:lvl4pPr>
            <a:lvl5pPr marL="1028391" indent="0">
              <a:buNone/>
              <a:defRPr sz="1999"/>
            </a:lvl5pPr>
          </a:lstStyle>
          <a:p>
            <a:pPr lvl="0"/>
            <a:r>
              <a:rPr lang="en-US"/>
              <a:t>Session code</a:t>
            </a:r>
          </a:p>
        </p:txBody>
      </p:sp>
    </p:spTree>
    <p:extLst>
      <p:ext uri="{BB962C8B-B14F-4D97-AF65-F5344CB8AC3E}">
        <p14:creationId xmlns:p14="http://schemas.microsoft.com/office/powerpoint/2010/main" val="1426106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180871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540723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13100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60056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828285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62415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461"/>
            <a:ext cx="4158362" cy="1107739"/>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426"/>
          </a:xfrm>
        </p:spPr>
        <p:txBody>
          <a:bodyPr/>
          <a:lstStyle>
            <a:lvl1pPr marL="0" indent="0">
              <a:buNone/>
              <a:defRPr sz="21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987562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545"/>
            <a:ext cx="4159950" cy="110773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2432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518"/>
          </a:xfrm>
        </p:spPr>
        <p:txBody>
          <a:bodyPr anchor="t"/>
          <a:lstStyle>
            <a:lvl1pPr>
              <a:defRPr sz="2799"/>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9"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045004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02433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4" y="5436192"/>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76964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4" y="866351"/>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40899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359771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853796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128786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648"/>
          </a:xfrm>
        </p:spPr>
        <p:txBody>
          <a:bodyPr/>
          <a:lstStyle>
            <a:lvl1pPr marL="0" indent="0">
              <a:buFontTx/>
              <a:buNone/>
              <a:defRPr sz="1999"/>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9052934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2"/>
            <a:ext cx="3468956" cy="1107739"/>
          </a:xfrm>
        </p:spPr>
        <p:txBody>
          <a:bodyPr/>
          <a:lstStyle>
            <a:lvl1pPr>
              <a:defRPr sz="3599">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204"/>
          </a:xfrm>
        </p:spPr>
        <p:txBody>
          <a:bodyPr/>
          <a:lstStyle>
            <a:lvl1pPr marL="0" indent="0">
              <a:spcAft>
                <a:spcPts val="1200"/>
              </a:spcAft>
              <a:buNone/>
              <a:defRPr sz="2399"/>
            </a:lvl1pPr>
            <a:lvl2pPr marL="228531"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5169982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068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733860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78"/>
            <a:ext cx="3182027" cy="55387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2035"/>
            <a:ext cx="6667500" cy="43075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141082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41594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02722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9808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58714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85895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89428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833610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1436690"/>
            <a:ext cx="11018520" cy="1908215"/>
          </a:xfrm>
        </p:spPr>
        <p:txBody>
          <a:bodyPr/>
          <a:lstStyle>
            <a:lvl1pPr marL="0" indent="0">
              <a:buNone/>
              <a:defRPr sz="2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29250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43691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1"/>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09611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05454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1335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32" tIns="146266" rIns="182832" bIns="146266" rtlCol="0" anchor="ctr">
            <a:spAutoFit/>
          </a:bodyPr>
          <a:lstStyle/>
          <a:p>
            <a:pPr algn="ctr">
              <a:lnSpc>
                <a:spcPct val="90000"/>
              </a:lnSpc>
              <a:spcBef>
                <a:spcPts val="1200"/>
              </a:spcBef>
              <a:spcAft>
                <a:spcPts val="600"/>
              </a:spcAft>
            </a:pPr>
            <a:r>
              <a:rPr lang="en-US" sz="1999">
                <a:gradFill>
                  <a:gsLst>
                    <a:gs pos="2917">
                      <a:schemeClr val="tx1"/>
                    </a:gs>
                    <a:gs pos="30000">
                      <a:schemeClr val="tx1"/>
                    </a:gs>
                  </a:gsLst>
                  <a:lin ang="5400000" scaled="0"/>
                </a:gradFill>
              </a:rPr>
              <a:t>Microsoft Ready content is </a:t>
            </a: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1999">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L="0" marR="0" lvl="0" indent="0" algn="ctr" defTabSz="931834"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2399"/>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8"/>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5433465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161249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3"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076">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50182610"/>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AEC6540-64C7-9747-877E-6D8504F5DE51}"/>
              </a:ext>
            </a:extLst>
          </p:cNvPr>
          <p:cNvSpPr>
            <a:spLocks noGrp="1"/>
          </p:cNvSpPr>
          <p:nvPr>
            <p:ph type="title"/>
          </p:nvPr>
        </p:nvSpPr>
        <p:spPr>
          <a:xfrm>
            <a:off x="355602" y="96296"/>
            <a:ext cx="11403631" cy="777240"/>
          </a:xfrm>
          <a:prstGeom prst="rect">
            <a:avLst/>
          </a:prstGeom>
        </p:spPr>
        <p:txBody>
          <a:bodyPr vert="horz" lIns="121888" tIns="60944" rIns="121888" bIns="60944" rtlCol="0" anchor="t" anchorCtr="0">
            <a:noAutofit/>
          </a:bodyPr>
          <a:lstStyle>
            <a:lvl1pPr>
              <a:defRPr sz="4400"/>
            </a:lvl1pPr>
          </a:lstStyle>
          <a:p>
            <a:r>
              <a:rPr lang="en-US"/>
              <a:t>Click to edit Master title</a:t>
            </a:r>
          </a:p>
        </p:txBody>
      </p:sp>
      <p:sp>
        <p:nvSpPr>
          <p:cNvPr id="13" name="Content Placeholder 12">
            <a:extLst>
              <a:ext uri="{FF2B5EF4-FFF2-40B4-BE49-F238E27FC236}">
                <a16:creationId xmlns:a16="http://schemas.microsoft.com/office/drawing/2014/main" id="{986DAD2F-D448-354C-9ACF-03ED78E9AF94}"/>
              </a:ext>
            </a:extLst>
          </p:cNvPr>
          <p:cNvSpPr>
            <a:spLocks noGrp="1"/>
          </p:cNvSpPr>
          <p:nvPr>
            <p:ph sz="quarter" idx="13"/>
          </p:nvPr>
        </p:nvSpPr>
        <p:spPr>
          <a:xfrm>
            <a:off x="354870" y="923074"/>
            <a:ext cx="11403630" cy="2191369"/>
          </a:xfrm>
          <a:prstGeom prst="rect">
            <a:avLst/>
          </a:prstGeom>
        </p:spPr>
        <p:txBody>
          <a:bodyPr/>
          <a:lstStyle>
            <a:lvl1pPr marL="274201" indent="-274201">
              <a:defRPr sz="3200"/>
            </a:lvl1pPr>
            <a:lvl2pPr marL="576072" indent="-274320">
              <a:defRPr sz="2800"/>
            </a:lvl2pPr>
            <a:lvl3pPr marL="868680" indent="-274320">
              <a:defRPr sz="2400"/>
            </a:lvl3pPr>
            <a:lvl4pPr marL="1143000" indent="-274320">
              <a:defRPr sz="2000"/>
            </a:lvl4pPr>
            <a:lvl5pPr marL="1435608" indent="-274320">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510831"/>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Speaker name</a:t>
            </a:r>
          </a:p>
        </p:txBody>
      </p:sp>
      <p:pic>
        <p:nvPicPr>
          <p:cNvPr id="6" name="MS logo white - EMF" descr="Microsoft logo white text version">
            <a:extLst>
              <a:ext uri="{FF2B5EF4-FFF2-40B4-BE49-F238E27FC236}">
                <a16:creationId xmlns:a16="http://schemas.microsoft.com/office/drawing/2014/main" id="{82B3A4A2-A5B9-4194-9B94-ED6A4B7888C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85431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2"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7"/>
            <a:ext cx="8964186" cy="715931"/>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2836169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6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stretch>
            <a:fillRect/>
          </a:stretch>
        </p:blipFill>
        <p:spPr>
          <a:xfrm>
            <a:off x="448526" y="6041180"/>
            <a:ext cx="1613705" cy="346697"/>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2"/>
          <p:cNvSpPr txBox="1">
            <a:spLocks/>
          </p:cNvSpPr>
          <p:nvPr userDrawn="1"/>
        </p:nvSpPr>
        <p:spPr bwMode="auto">
          <a:xfrm>
            <a:off x="358944" y="201451"/>
            <a:ext cx="2958170" cy="537925"/>
          </a:xfrm>
          <a:prstGeom prst="rect">
            <a:avLst/>
          </a:prstGeom>
        </p:spPr>
        <p:txBody>
          <a:bodyPr vert="horz" wrap="square" lIns="143391" tIns="107543" rIns="143391" bIns="10754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Segoe UI" panose="020B0502040204020203" pitchFamily="34" charset="0"/>
              </a:rPr>
              <a:t>Microsoft Services</a:t>
            </a:r>
          </a:p>
        </p:txBody>
      </p:sp>
    </p:spTree>
    <p:extLst>
      <p:ext uri="{BB962C8B-B14F-4D97-AF65-F5344CB8AC3E}">
        <p14:creationId xmlns:p14="http://schemas.microsoft.com/office/powerpoint/2010/main" val="4082228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8"/>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panose="020B0502040204020203" pitchFamily="34" charset="0"/>
              </a:defRPr>
            </a:lvl1pPr>
          </a:lstStyle>
          <a:p>
            <a:pPr lvl="0"/>
            <a:r>
              <a:rPr lang="en-US"/>
              <a:t>Speaker Name</a:t>
            </a:r>
          </a:p>
        </p:txBody>
      </p:sp>
    </p:spTree>
    <p:extLst>
      <p:ext uri="{BB962C8B-B14F-4D97-AF65-F5344CB8AC3E}">
        <p14:creationId xmlns:p14="http://schemas.microsoft.com/office/powerpoint/2010/main" val="42871693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8"/>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Segoe UI" panose="020B0502040204020203" pitchFamily="34" charset="0"/>
                <a:ea typeface="+mn-ea"/>
                <a:cs typeface="Segoe UI" pitchFamily="34" charset="0"/>
              </a:defRPr>
            </a:lvl1pPr>
          </a:lstStyle>
          <a:p>
            <a:r>
              <a:rPr lang="en-US"/>
              <a:t>Video title</a:t>
            </a:r>
          </a:p>
        </p:txBody>
      </p:sp>
    </p:spTree>
    <p:extLst>
      <p:ext uri="{BB962C8B-B14F-4D97-AF65-F5344CB8AC3E}">
        <p14:creationId xmlns:p14="http://schemas.microsoft.com/office/powerpoint/2010/main" val="3983923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9802100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95625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29625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solidFill>
                  <a:srgbClr val="008272"/>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256025489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Square Right Photo Layou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70289" y="552001"/>
            <a:ext cx="4795873" cy="1484704"/>
          </a:xfrm>
        </p:spPr>
        <p:txBody>
          <a:bodyPr wrap="square" anchor="ctr">
            <a:spAutoFit/>
          </a:bodyPr>
          <a:lstStyle>
            <a:lvl1pPr>
              <a:defRPr sz="4704" baseline="0">
                <a:solidFill>
                  <a:schemeClr val="bg1"/>
                </a:solidFill>
              </a:defRPr>
            </a:lvl1pPr>
          </a:lstStyle>
          <a:p>
            <a:r>
              <a:rPr lang="en-US"/>
              <a:t>Square photo layout</a:t>
            </a:r>
          </a:p>
        </p:txBody>
      </p:sp>
      <p:pic>
        <p:nvPicPr>
          <p:cNvPr id="3" name="Picture 2">
            <a:extLst>
              <a:ext uri="{FF2B5EF4-FFF2-40B4-BE49-F238E27FC236}">
                <a16:creationId xmlns:a16="http://schemas.microsoft.com/office/drawing/2014/main" id="{7FFCA2A4-47A7-435F-926A-3D3F1B650712}"/>
              </a:ext>
            </a:extLst>
          </p:cNvPr>
          <p:cNvPicPr>
            <a:picLocks noChangeAspect="1"/>
          </p:cNvPicPr>
          <p:nvPr userDrawn="1"/>
        </p:nvPicPr>
        <p:blipFill>
          <a:blip r:embed="rId2"/>
          <a:stretch>
            <a:fillRect/>
          </a:stretch>
        </p:blipFill>
        <p:spPr>
          <a:xfrm>
            <a:off x="2" y="0"/>
            <a:ext cx="6857027" cy="6858000"/>
          </a:xfrm>
          <a:prstGeom prst="rect">
            <a:avLst/>
          </a:prstGeom>
        </p:spPr>
      </p:pic>
    </p:spTree>
    <p:extLst>
      <p:ext uri="{BB962C8B-B14F-4D97-AF65-F5344CB8AC3E}">
        <p14:creationId xmlns:p14="http://schemas.microsoft.com/office/powerpoint/2010/main" val="2126256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55431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9533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27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98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010496"/>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827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38" tIns="179238" rIns="179238" bIns="179238" numCol="1" anchor="t" anchorCtr="0" compatLnSpc="1">
            <a:prstTxWarp prst="textNoShape">
              <a:avLst/>
            </a:prstTxWarp>
            <a:spAutoFit/>
          </a:bodyPr>
          <a:lstStyle/>
          <a:p>
            <a:pPr defTabSz="913650" eaLnBrk="0" hangingPunct="0"/>
            <a:r>
              <a:rPr lang="en-US" sz="686">
                <a:solidFill>
                  <a:schemeClr val="bg1"/>
                </a:solidFill>
                <a:latin typeface="Segoe UI" panose="020B0502040204020203" pitchFamily="34" charset="0"/>
                <a:cs typeface="Segoe UI" pitchFamily="34" charset="0"/>
              </a:rPr>
              <a:t>© Copyright Microsoft Corporation. All rights reserved. </a:t>
            </a:r>
          </a:p>
        </p:txBody>
      </p:sp>
    </p:spTree>
    <p:extLst>
      <p:ext uri="{BB962C8B-B14F-4D97-AF65-F5344CB8AC3E}">
        <p14:creationId xmlns:p14="http://schemas.microsoft.com/office/powerpoint/2010/main" val="3556375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57637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534471"/>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6CAB0-3422-4FC0-BDB6-1D282890E20A}"/>
              </a:ext>
            </a:extLst>
          </p:cNvPr>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9A6017E1-BC0F-403F-9E7B-15068D7527EF}"/>
              </a:ext>
            </a:extLst>
          </p:cNvPr>
          <p:cNvSpPr>
            <a:spLocks noGrp="1"/>
          </p:cNvSpPr>
          <p:nvPr>
            <p:ph type="subTitle" idx="1"/>
          </p:nvPr>
        </p:nvSpPr>
        <p:spPr>
          <a:xfrm>
            <a:off x="1524001" y="3602038"/>
            <a:ext cx="9144000" cy="51693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BD7730-BB2A-457A-8829-467FA46D9B8C}"/>
              </a:ext>
            </a:extLst>
          </p:cNvPr>
          <p:cNvSpPr>
            <a:spLocks noGrp="1"/>
          </p:cNvSpPr>
          <p:nvPr>
            <p:ph type="dt" sz="half" idx="10"/>
          </p:nvPr>
        </p:nvSpPr>
        <p:spPr/>
        <p:txBody>
          <a:bodyPr/>
          <a:lstStyle>
            <a:lvl1pPr>
              <a:defRPr>
                <a:latin typeface="Segoe UI" panose="020B0502040204020203" pitchFamily="34" charset="0"/>
              </a:defRPr>
            </a:lvl1pPr>
          </a:lstStyle>
          <a:p>
            <a:fld id="{C4DED5F9-56B2-4A48-B2B7-90C4B88360C8}" type="datetimeFigureOut">
              <a:rPr lang="en-US" smtClean="0"/>
              <a:pPr/>
              <a:t>3/29/2021</a:t>
            </a:fld>
            <a:endParaRPr lang="en-US"/>
          </a:p>
        </p:txBody>
      </p:sp>
      <p:sp>
        <p:nvSpPr>
          <p:cNvPr id="5" name="Footer Placeholder 4">
            <a:extLst>
              <a:ext uri="{FF2B5EF4-FFF2-40B4-BE49-F238E27FC236}">
                <a16:creationId xmlns:a16="http://schemas.microsoft.com/office/drawing/2014/main" id="{387877F3-FC0F-4667-AF43-BFD0915D830B}"/>
              </a:ext>
            </a:extLst>
          </p:cNvPr>
          <p:cNvSpPr>
            <a:spLocks noGrp="1"/>
          </p:cNvSpPr>
          <p:nvPr>
            <p:ph type="ftr" sz="quarter" idx="11"/>
          </p:nvPr>
        </p:nvSpPr>
        <p:spPr/>
        <p:txBody>
          <a:bodyPr/>
          <a:lstStyle>
            <a:lvl1pPr>
              <a:defRPr>
                <a:latin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3E090D61-9BC1-44B8-AA82-5367AC5F8F90}"/>
              </a:ext>
            </a:extLst>
          </p:cNvPr>
          <p:cNvSpPr>
            <a:spLocks noGrp="1"/>
          </p:cNvSpPr>
          <p:nvPr>
            <p:ph type="sldNum" sz="quarter" idx="12"/>
          </p:nvPr>
        </p:nvSpPr>
        <p:spPr/>
        <p:txBody>
          <a:bodyPr/>
          <a:lstStyle>
            <a:lvl1pPr>
              <a:defRPr>
                <a:latin typeface="Segoe UI" panose="020B0502040204020203" pitchFamily="34" charset="0"/>
              </a:defRPr>
            </a:lvl1pPr>
          </a:lstStyle>
          <a:p>
            <a:fld id="{8D79F186-46CD-496E-AFA0-4B0705A2A114}" type="slidenum">
              <a:rPr lang="en-US" smtClean="0"/>
              <a:pPr/>
              <a:t>‹#›</a:t>
            </a:fld>
            <a:endParaRPr lang="en-US"/>
          </a:p>
        </p:txBody>
      </p:sp>
    </p:spTree>
    <p:extLst>
      <p:ext uri="{BB962C8B-B14F-4D97-AF65-F5344CB8AC3E}">
        <p14:creationId xmlns:p14="http://schemas.microsoft.com/office/powerpoint/2010/main" val="347526410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394297"/>
            <a:ext cx="4167887" cy="2139240"/>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3"/>
            <a:ext cx="4164583" cy="276999"/>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97523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8300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1" y="0"/>
            <a:ext cx="12192000" cy="1219200"/>
          </a:xfrm>
          <a:prstGeom prst="rect">
            <a:avLst/>
          </a:prstGeom>
          <a:solidFill>
            <a:srgbClr val="0A5BBA">
              <a:alpha val="89804"/>
            </a:srgbClr>
          </a:solidFill>
        </p:spPr>
        <p:txBody>
          <a:bodyPr lIns="182880" tIns="91440" rIns="91440" bIns="91440" anchor="ctr">
            <a:normAutofit/>
          </a:bodyPr>
          <a:lstStyle>
            <a:lvl1pPr>
              <a:defRPr sz="3199"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3"/>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1" cy="4876800"/>
          </a:xfrm>
          <a:noFill/>
        </p:spPr>
        <p:txBody>
          <a:bodyPr lIns="182880" tIns="91440" rIns="91440" bIns="91440">
            <a:normAutofit/>
          </a:bodyPr>
          <a:lstStyle>
            <a:lvl1pPr marL="304701" indent="-304701">
              <a:lnSpc>
                <a:spcPct val="100000"/>
              </a:lnSpc>
              <a:buFont typeface="Arial" pitchFamily="34" charset="0"/>
              <a:buChar char="•"/>
              <a:defRPr/>
            </a:lvl1pPr>
            <a:lvl2pPr marL="609402" indent="-300469">
              <a:lnSpc>
                <a:spcPct val="100000"/>
              </a:lnSpc>
              <a:buFont typeface="Arial" pitchFamily="34" charset="0"/>
              <a:buChar char="•"/>
              <a:defRPr/>
            </a:lvl2pPr>
            <a:lvl3pPr marL="914103" indent="-304701">
              <a:lnSpc>
                <a:spcPct val="100000"/>
              </a:lnSpc>
              <a:buFont typeface="Arial" pitchFamily="34" charset="0"/>
              <a:buChar char="•"/>
              <a:defRPr/>
            </a:lvl3pPr>
            <a:lvl4pPr marL="1218804" indent="-304701">
              <a:lnSpc>
                <a:spcPct val="100000"/>
              </a:lnSpc>
              <a:buFont typeface="Arial" pitchFamily="34" charset="0"/>
              <a:buChar char="•"/>
              <a:defRPr/>
            </a:lvl4pPr>
            <a:lvl5pPr marL="1523505" indent="-304701">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041880486"/>
      </p:ext>
    </p:extLst>
  </p:cSld>
  <p:clrMapOvr>
    <a:masterClrMapping/>
  </p:clrMapOvr>
  <p:transition>
    <p:fade/>
  </p:transition>
  <p:hf hdr="0" ftr="0" dt="0"/>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7615693"/>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004B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419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solidFill>
                  <a:schemeClr val="tx2"/>
                </a:solidFill>
              </a:defRPr>
            </a:lvl1pPr>
          </a:lstStyle>
          <a:p>
            <a:r>
              <a:rPr lang="en-US"/>
              <a:t>Click to edit Master title style</a:t>
            </a:r>
          </a:p>
        </p:txBody>
      </p:sp>
    </p:spTree>
    <p:extLst>
      <p:ext uri="{BB962C8B-B14F-4D97-AF65-F5344CB8AC3E}">
        <p14:creationId xmlns:p14="http://schemas.microsoft.com/office/powerpoint/2010/main" val="209522393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7"/>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030452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599"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648"/>
          </a:xfrm>
        </p:spPr>
        <p:txBody>
          <a:bodyPr lIns="0" tIns="0" rIns="0" bIns="0"/>
          <a:lstStyle>
            <a:lvl1pPr marL="0" indent="0" algn="r">
              <a:buNone/>
              <a:defRPr sz="1999">
                <a:latin typeface="+mn-lt"/>
              </a:defRPr>
            </a:lvl1pPr>
            <a:lvl2pPr marL="342797" indent="0">
              <a:buNone/>
              <a:defRPr sz="1999"/>
            </a:lvl2pPr>
            <a:lvl3pPr marL="571329" indent="0">
              <a:buNone/>
              <a:defRPr sz="1999"/>
            </a:lvl3pPr>
            <a:lvl4pPr marL="799860" indent="0">
              <a:buNone/>
              <a:defRPr sz="1999"/>
            </a:lvl4pPr>
            <a:lvl5pPr marL="1028391" indent="0">
              <a:buNone/>
              <a:defRPr sz="1999"/>
            </a:lvl5pPr>
          </a:lstStyle>
          <a:p>
            <a:pPr lvl="0"/>
            <a:r>
              <a:rPr lang="en-US"/>
              <a:t>Session code</a:t>
            </a:r>
          </a:p>
        </p:txBody>
      </p:sp>
    </p:spTree>
    <p:extLst>
      <p:ext uri="{BB962C8B-B14F-4D97-AF65-F5344CB8AC3E}">
        <p14:creationId xmlns:p14="http://schemas.microsoft.com/office/powerpoint/2010/main" val="4155311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078004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868602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553501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3881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461274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2195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606548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461"/>
            <a:ext cx="4158362" cy="1107739"/>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426"/>
          </a:xfrm>
        </p:spPr>
        <p:txBody>
          <a:bodyPr/>
          <a:lstStyle>
            <a:lvl1pPr marL="0" indent="0">
              <a:buNone/>
              <a:defRPr sz="21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62701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545"/>
            <a:ext cx="4159950" cy="110773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05728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518"/>
          </a:xfrm>
        </p:spPr>
        <p:txBody>
          <a:bodyPr anchor="t"/>
          <a:lstStyle>
            <a:lvl1pPr>
              <a:defRPr sz="2799"/>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9"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007241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4" y="5436192"/>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13563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4" y="866351"/>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73177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371799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158521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34832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0631905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648"/>
          </a:xfrm>
        </p:spPr>
        <p:txBody>
          <a:bodyPr/>
          <a:lstStyle>
            <a:lvl1pPr marL="0" indent="0">
              <a:buFontTx/>
              <a:buNone/>
              <a:defRPr sz="1999"/>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4414613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2"/>
            <a:ext cx="3468956" cy="1107739"/>
          </a:xfrm>
        </p:spPr>
        <p:txBody>
          <a:bodyPr/>
          <a:lstStyle>
            <a:lvl1pPr>
              <a:defRPr sz="3599">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204"/>
          </a:xfrm>
        </p:spPr>
        <p:txBody>
          <a:bodyPr/>
          <a:lstStyle>
            <a:lvl1pPr marL="0" indent="0">
              <a:spcAft>
                <a:spcPts val="1200"/>
              </a:spcAft>
              <a:buNone/>
              <a:defRPr sz="2399"/>
            </a:lvl1pPr>
            <a:lvl2pPr marL="228531"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925657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26187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705140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78"/>
            <a:ext cx="3182027" cy="55387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2035"/>
            <a:ext cx="6667500" cy="43075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603841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5412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27646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20609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0362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27368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305845230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5045415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969400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1436690"/>
            <a:ext cx="11018520" cy="1908215"/>
          </a:xfrm>
        </p:spPr>
        <p:txBody>
          <a:bodyPr/>
          <a:lstStyle>
            <a:lvl1pPr marL="0" indent="0">
              <a:buNone/>
              <a:defRPr sz="2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3892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736868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1"/>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666465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40315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32" tIns="146266" rIns="182832" bIns="146266" rtlCol="0" anchor="ctr">
            <a:spAutoFit/>
          </a:bodyPr>
          <a:lstStyle/>
          <a:p>
            <a:pPr algn="ctr">
              <a:lnSpc>
                <a:spcPct val="90000"/>
              </a:lnSpc>
              <a:spcBef>
                <a:spcPts val="1200"/>
              </a:spcBef>
              <a:spcAft>
                <a:spcPts val="600"/>
              </a:spcAft>
            </a:pPr>
            <a:r>
              <a:rPr lang="en-US" sz="1999">
                <a:gradFill>
                  <a:gsLst>
                    <a:gs pos="2917">
                      <a:schemeClr val="tx1"/>
                    </a:gs>
                    <a:gs pos="30000">
                      <a:schemeClr val="tx1"/>
                    </a:gs>
                  </a:gsLst>
                  <a:lin ang="5400000" scaled="0"/>
                </a:gradFill>
              </a:rPr>
              <a:t>Microsoft Ready content is </a:t>
            </a: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1999">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L="0" marR="0" lvl="0" indent="0" algn="ctr" defTabSz="931834"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2399"/>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8"/>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7521361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07373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161249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3"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076">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47311840"/>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AEC6540-64C7-9747-877E-6D8504F5DE51}"/>
              </a:ext>
            </a:extLst>
          </p:cNvPr>
          <p:cNvSpPr>
            <a:spLocks noGrp="1"/>
          </p:cNvSpPr>
          <p:nvPr>
            <p:ph type="title"/>
          </p:nvPr>
        </p:nvSpPr>
        <p:spPr>
          <a:xfrm>
            <a:off x="355602" y="96296"/>
            <a:ext cx="11403631" cy="777240"/>
          </a:xfrm>
          <a:prstGeom prst="rect">
            <a:avLst/>
          </a:prstGeom>
        </p:spPr>
        <p:txBody>
          <a:bodyPr vert="horz" lIns="121888" tIns="60944" rIns="121888" bIns="60944" rtlCol="0" anchor="t" anchorCtr="0">
            <a:noAutofit/>
          </a:bodyPr>
          <a:lstStyle>
            <a:lvl1pPr>
              <a:defRPr sz="4400"/>
            </a:lvl1pPr>
          </a:lstStyle>
          <a:p>
            <a:r>
              <a:rPr lang="en-US"/>
              <a:t>Click to edit Master title</a:t>
            </a:r>
          </a:p>
        </p:txBody>
      </p:sp>
      <p:sp>
        <p:nvSpPr>
          <p:cNvPr id="13" name="Content Placeholder 12">
            <a:extLst>
              <a:ext uri="{FF2B5EF4-FFF2-40B4-BE49-F238E27FC236}">
                <a16:creationId xmlns:a16="http://schemas.microsoft.com/office/drawing/2014/main" id="{986DAD2F-D448-354C-9ACF-03ED78E9AF94}"/>
              </a:ext>
            </a:extLst>
          </p:cNvPr>
          <p:cNvSpPr>
            <a:spLocks noGrp="1"/>
          </p:cNvSpPr>
          <p:nvPr>
            <p:ph sz="quarter" idx="13"/>
          </p:nvPr>
        </p:nvSpPr>
        <p:spPr>
          <a:xfrm>
            <a:off x="354870" y="923074"/>
            <a:ext cx="11403630" cy="2191369"/>
          </a:xfrm>
          <a:prstGeom prst="rect">
            <a:avLst/>
          </a:prstGeom>
        </p:spPr>
        <p:txBody>
          <a:bodyPr/>
          <a:lstStyle>
            <a:lvl1pPr marL="274201" indent="-274201">
              <a:defRPr sz="3200"/>
            </a:lvl1pPr>
            <a:lvl2pPr marL="576072" indent="-274320">
              <a:defRPr sz="2800"/>
            </a:lvl2pPr>
            <a:lvl3pPr marL="868680" indent="-274320">
              <a:defRPr sz="2400"/>
            </a:lvl3pPr>
            <a:lvl4pPr marL="1143000" indent="-274320">
              <a:defRPr sz="2000"/>
            </a:lvl4pPr>
            <a:lvl5pPr marL="1435608" indent="-274320">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74638"/>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40304143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3223771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866652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 name="Picture 1">
            <a:extLst>
              <a:ext uri="{FF2B5EF4-FFF2-40B4-BE49-F238E27FC236}">
                <a16:creationId xmlns:a16="http://schemas.microsoft.com/office/drawing/2014/main" id="{A1DB2018-D351-4E93-97E1-244D6E3949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7230411"/>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05542" y="96568"/>
            <a:ext cx="5583404" cy="6409831"/>
          </a:xfrm>
          <a:prstGeom prst="rect">
            <a:avLst/>
          </a:prstGeom>
        </p:spPr>
      </p:pic>
    </p:spTree>
    <p:extLst>
      <p:ext uri="{BB962C8B-B14F-4D97-AF65-F5344CB8AC3E}">
        <p14:creationId xmlns:p14="http://schemas.microsoft.com/office/powerpoint/2010/main" val="4081088504"/>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
        <p:nvSpPr>
          <p:cNvPr id="2" name="TextBox 1">
            <a:extLst>
              <a:ext uri="{FF2B5EF4-FFF2-40B4-BE49-F238E27FC236}">
                <a16:creationId xmlns:a16="http://schemas.microsoft.com/office/drawing/2014/main" id="{202B95C2-531E-4F36-ABBC-DD67383CDAC9}"/>
              </a:ext>
            </a:extLst>
          </p:cNvPr>
          <p:cNvSpPr txBox="1"/>
          <p:nvPr userDrawn="1"/>
        </p:nvSpPr>
        <p:spPr>
          <a:xfrm>
            <a:off x="10553701" y="34930"/>
            <a:ext cx="1557337" cy="627864"/>
          </a:xfrm>
          <a:prstGeom prst="rect">
            <a:avLst/>
          </a:prstGeom>
          <a:solidFill>
            <a:schemeClr val="bg1"/>
          </a:solid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72203177"/>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2" name="TextBox 1">
            <a:extLst>
              <a:ext uri="{FF2B5EF4-FFF2-40B4-BE49-F238E27FC236}">
                <a16:creationId xmlns:a16="http://schemas.microsoft.com/office/drawing/2014/main" id="{D4DE672F-FA30-45B6-8B9F-8216211D17C7}"/>
              </a:ext>
            </a:extLst>
          </p:cNvPr>
          <p:cNvSpPr txBox="1"/>
          <p:nvPr userDrawn="1"/>
        </p:nvSpPr>
        <p:spPr>
          <a:xfrm>
            <a:off x="10553701" y="34930"/>
            <a:ext cx="1557337" cy="627864"/>
          </a:xfrm>
          <a:prstGeom prst="rect">
            <a:avLst/>
          </a:prstGeom>
          <a:solidFill>
            <a:schemeClr val="tx1"/>
          </a:solid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30977208"/>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963050400"/>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448885928"/>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200712749"/>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2C2206-5980-DD4F-B1E7-EC8A49D8130C}"/>
              </a:ext>
            </a:extLst>
          </p:cNvPr>
          <p:cNvSpPr>
            <a:spLocks noGrp="1"/>
          </p:cNvSpPr>
          <p:nvPr>
            <p:ph idx="1"/>
          </p:nvPr>
        </p:nvSpPr>
        <p:spPr>
          <a:xfrm>
            <a:off x="455994" y="1817559"/>
            <a:ext cx="11231768" cy="14183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16D04B4B-B8F2-47D4-850E-16491285F99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237890"/>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3970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56306700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64856089"/>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418315"/>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80342008"/>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183802"/>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183802"/>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19661254"/>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3200">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07070268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view of a city at night&#10;&#10;Description generated with very high confidence">
            <a:extLst>
              <a:ext uri="{FF2B5EF4-FFF2-40B4-BE49-F238E27FC236}">
                <a16:creationId xmlns:a16="http://schemas.microsoft.com/office/drawing/2014/main" id="{72FF2D6A-C9E9-4B3B-8A3D-0C7380D0F0D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1091923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186" y="2294474"/>
            <a:ext cx="10757098" cy="1077315"/>
          </a:xfrm>
          <a:noFill/>
        </p:spPr>
        <p:txBody>
          <a:bodyPr wrap="square" tIns="91440" bIns="91440" anchor="t" anchorCtr="0">
            <a:spAutoFit/>
          </a:bodyPr>
          <a:lstStyle>
            <a:lvl1pPr algn="ctr">
              <a:defRPr sz="647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60505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9746269"/>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090941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0206" y="223043"/>
            <a:ext cx="10515600" cy="1325563"/>
          </a:xfrm>
          <a:prstGeom prst="rect">
            <a:avLst/>
          </a:prstGeom>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2201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Title and Content (2 Col)">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2DDD6CB-BF48-F740-8165-37C1A075C69B}"/>
              </a:ext>
            </a:extLst>
          </p:cNvPr>
          <p:cNvSpPr>
            <a:spLocks noGrp="1"/>
          </p:cNvSpPr>
          <p:nvPr>
            <p:ph type="title"/>
          </p:nvPr>
        </p:nvSpPr>
        <p:spPr>
          <a:xfrm>
            <a:off x="588263" y="457199"/>
            <a:ext cx="7508990" cy="553998"/>
          </a:xfrm>
          <a:prstGeom prst="rect">
            <a:avLst/>
          </a:prstGeom>
        </p:spPr>
        <p:txBody>
          <a:bodyPr/>
          <a:lstStyle>
            <a:lvl1pPr>
              <a:defRPr>
                <a:solidFill>
                  <a:schemeClr val="tx1"/>
                </a:solidFill>
              </a:defRPr>
            </a:lvl1pPr>
          </a:lstStyle>
          <a:p>
            <a:r>
              <a:rPr lang="en-US"/>
              <a:t>Click to edit Master title style</a:t>
            </a:r>
          </a:p>
        </p:txBody>
      </p:sp>
      <p:sp>
        <p:nvSpPr>
          <p:cNvPr id="7" name="Content Placeholder 1">
            <a:extLst>
              <a:ext uri="{FF2B5EF4-FFF2-40B4-BE49-F238E27FC236}">
                <a16:creationId xmlns:a16="http://schemas.microsoft.com/office/drawing/2014/main" id="{529CD3D1-1CFC-4540-BAC6-B737D02320E4}"/>
              </a:ext>
            </a:extLst>
          </p:cNvPr>
          <p:cNvSpPr>
            <a:spLocks noGrp="1"/>
          </p:cNvSpPr>
          <p:nvPr>
            <p:ph sz="quarter" idx="11"/>
          </p:nvPr>
        </p:nvSpPr>
        <p:spPr>
          <a:xfrm>
            <a:off x="586390" y="1195469"/>
            <a:ext cx="5415759" cy="1612749"/>
          </a:xfrm>
          <a:prstGeom prst="rect">
            <a:avLst/>
          </a:prstGeom>
        </p:spPr>
        <p:txBody>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61988" indent="0">
              <a:buNone/>
              <a:defRPr>
                <a:solidFill>
                  <a:schemeClr val="tx1"/>
                </a:solidFill>
              </a:defRPr>
            </a:lvl4pPr>
            <a:lvl5pPr marL="855663"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D36C8216-CF44-794B-A25D-DC252D549B99}"/>
              </a:ext>
            </a:extLst>
          </p:cNvPr>
          <p:cNvSpPr>
            <a:spLocks noGrp="1"/>
          </p:cNvSpPr>
          <p:nvPr>
            <p:ph sz="quarter" idx="12"/>
          </p:nvPr>
        </p:nvSpPr>
        <p:spPr>
          <a:xfrm>
            <a:off x="6189853" y="1195469"/>
            <a:ext cx="5413248" cy="1612749"/>
          </a:xfrm>
          <a:prstGeom prst="rect">
            <a:avLst/>
          </a:prstGeom>
        </p:spPr>
        <p:txBody>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61988" indent="0">
              <a:buNone/>
              <a:defRPr>
                <a:solidFill>
                  <a:schemeClr val="tx1"/>
                </a:solidFill>
              </a:defRPr>
            </a:lvl4pPr>
            <a:lvl5pPr marL="855663"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5282137"/>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95608810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89694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2" name="Title 1"/>
          <p:cNvSpPr>
            <a:spLocks noGrp="1"/>
          </p:cNvSpPr>
          <p:nvPr>
            <p:ph type="title"/>
          </p:nvPr>
        </p:nvSpPr>
        <p:spPr>
          <a:xfrm>
            <a:off x="411969" y="3065261"/>
            <a:ext cx="11311107" cy="727478"/>
          </a:xfrm>
        </p:spPr>
        <p:txBody>
          <a:bodyPr anchor="ctr" anchorCtr="0"/>
          <a:lstStyle>
            <a:lvl1pPr>
              <a:defRPr sz="4800"/>
            </a:lvl1pPr>
          </a:lstStyle>
          <a:p>
            <a:r>
              <a:rPr lang="en-US"/>
              <a:t>Click to edit Master title style</a:t>
            </a:r>
          </a:p>
        </p:txBody>
      </p:sp>
      <p:sp>
        <p:nvSpPr>
          <p:cNvPr id="65" name="Rectangle 64">
            <a:extLst>
              <a:ext uri="{FF2B5EF4-FFF2-40B4-BE49-F238E27FC236}">
                <a16:creationId xmlns:a16="http://schemas.microsoft.com/office/drawing/2014/main" id="{430998B1-F8DB-4C6F-8A97-8E62B6730763}"/>
              </a:ext>
            </a:extLst>
          </p:cNvPr>
          <p:cNvSpPr/>
          <p:nvPr userDrawn="1"/>
        </p:nvSpPr>
        <p:spPr>
          <a:xfrm>
            <a:off x="10023485" y="5943072"/>
            <a:ext cx="1863715" cy="7588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1168533"/>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971670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734711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492703187"/>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45332638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4026345817"/>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936114002"/>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080122197"/>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733519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3560370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96239878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618577535"/>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241919767"/>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898247018"/>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75757908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3382588038"/>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382042276"/>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038034900"/>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26527915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4280595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1674906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813750252"/>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89338369"/>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001824191"/>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262002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768147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867460704"/>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940599252"/>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56495638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6097894"/>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35112789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74559529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799867558"/>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658458828"/>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00380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850543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34B0-6238-446B-A541-F3D2458B8FC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D70913-E818-4DEF-A795-FE037C28891F}"/>
              </a:ext>
            </a:extLst>
          </p:cNvPr>
          <p:cNvSpPr>
            <a:spLocks noGrp="1"/>
          </p:cNvSpPr>
          <p:nvPr>
            <p:ph type="dt" sz="half" idx="10"/>
          </p:nvPr>
        </p:nvSpPr>
        <p:spPr/>
        <p:txBody>
          <a:bodyPr/>
          <a:lstStyle/>
          <a:p>
            <a:fld id="{E598383A-5E27-400D-A06E-1F159D6DFDDD}" type="datetimeFigureOut">
              <a:rPr lang="en-US" smtClean="0"/>
              <a:t>3/29/2021</a:t>
            </a:fld>
            <a:endParaRPr lang="en-US"/>
          </a:p>
        </p:txBody>
      </p:sp>
      <p:sp>
        <p:nvSpPr>
          <p:cNvPr id="4" name="Footer Placeholder 3">
            <a:extLst>
              <a:ext uri="{FF2B5EF4-FFF2-40B4-BE49-F238E27FC236}">
                <a16:creationId xmlns:a16="http://schemas.microsoft.com/office/drawing/2014/main" id="{99FB8BD6-0379-4400-B224-4B26284931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8124AE9-ED30-4877-9B77-B6F65FB9B4FA}"/>
              </a:ext>
            </a:extLst>
          </p:cNvPr>
          <p:cNvSpPr>
            <a:spLocks noGrp="1"/>
          </p:cNvSpPr>
          <p:nvPr>
            <p:ph type="sldNum" sz="quarter" idx="12"/>
          </p:nvPr>
        </p:nvSpPr>
        <p:spPr/>
        <p:txBody>
          <a:bodyPr/>
          <a:lstStyle/>
          <a:p>
            <a:fld id="{E838D20A-A11A-4405-AA14-A2313EB8D7F8}" type="slidenum">
              <a:rPr lang="en-US" smtClean="0"/>
              <a:t>‹#›</a:t>
            </a:fld>
            <a:endParaRPr lang="en-US"/>
          </a:p>
        </p:txBody>
      </p:sp>
    </p:spTree>
    <p:extLst>
      <p:ext uri="{BB962C8B-B14F-4D97-AF65-F5344CB8AC3E}">
        <p14:creationId xmlns:p14="http://schemas.microsoft.com/office/powerpoint/2010/main" val="51874887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tretch>
            <a:fillRect/>
          </a:stretch>
        </p:blipFill>
        <p:spPr bwMode="invGray">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invGray">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270046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t>
            </a:r>
            <a:r>
              <a:rPr lang="en-US" err="1"/>
              <a:t>IoT</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2" name="Picture 1">
            <a:extLst>
              <a:ext uri="{FF2B5EF4-FFF2-40B4-BE49-F238E27FC236}">
                <a16:creationId xmlns:a16="http://schemas.microsoft.com/office/drawing/2014/main" id="{7B7211F8-4DBB-F148-9213-1CD906B157A9}"/>
              </a:ext>
            </a:extLst>
          </p:cNvPr>
          <p:cNvPicPr>
            <a:picLocks noChangeAspect="1"/>
          </p:cNvPicPr>
          <p:nvPr userDrawn="1"/>
        </p:nvPicPr>
        <p:blipFill>
          <a:blip r:embed="rId2"/>
          <a:stretch>
            <a:fillRect/>
          </a:stretch>
        </p:blipFill>
        <p:spPr>
          <a:xfrm>
            <a:off x="406789" y="406526"/>
            <a:ext cx="958677" cy="211686"/>
          </a:xfrm>
          <a:prstGeom prst="rect">
            <a:avLst/>
          </a:prstGeom>
        </p:spPr>
      </p:pic>
    </p:spTree>
    <p:extLst>
      <p:ext uri="{BB962C8B-B14F-4D97-AF65-F5344CB8AC3E}">
        <p14:creationId xmlns:p14="http://schemas.microsoft.com/office/powerpoint/2010/main" val="1417791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t>
            </a:r>
            <a:r>
              <a:rPr lang="en-US" err="1"/>
              <a:t>IoT</a:t>
            </a:r>
            <a:br>
              <a:rPr lang="en-US"/>
            </a:br>
            <a:r>
              <a:rPr lang="en-US"/>
              <a:t>title or event name</a:t>
            </a:r>
          </a:p>
        </p:txBody>
      </p:sp>
      <p:pic>
        <p:nvPicPr>
          <p:cNvPr id="2" name="Picture 1">
            <a:extLst>
              <a:ext uri="{FF2B5EF4-FFF2-40B4-BE49-F238E27FC236}">
                <a16:creationId xmlns:a16="http://schemas.microsoft.com/office/drawing/2014/main" id="{D5788672-4E4F-384F-BC06-960DD2B92DCE}"/>
              </a:ext>
            </a:extLst>
          </p:cNvPr>
          <p:cNvPicPr>
            <a:picLocks noChangeAspect="1"/>
          </p:cNvPicPr>
          <p:nvPr userDrawn="1"/>
        </p:nvPicPr>
        <p:blipFill>
          <a:blip r:embed="rId2"/>
          <a:stretch>
            <a:fillRect/>
          </a:stretch>
        </p:blipFill>
        <p:spPr>
          <a:xfrm>
            <a:off x="407391" y="405703"/>
            <a:ext cx="958677" cy="211686"/>
          </a:xfrm>
          <a:prstGeom prst="rect">
            <a:avLst/>
          </a:prstGeom>
        </p:spPr>
      </p:pic>
    </p:spTree>
    <p:extLst>
      <p:ext uri="{BB962C8B-B14F-4D97-AF65-F5344CB8AC3E}">
        <p14:creationId xmlns:p14="http://schemas.microsoft.com/office/powerpoint/2010/main" val="1059566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0FF96BB-AF6E-5740-BF45-B6600B6FB46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51" y="0"/>
            <a:ext cx="12160097"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t>
            </a:r>
            <a:r>
              <a:rPr lang="en-US" err="1"/>
              <a:t>IoT</a:t>
            </a:r>
            <a:r>
              <a:rPr lang="en-US"/>
              <a:t> title or event name</a:t>
            </a:r>
          </a:p>
        </p:txBody>
      </p:sp>
      <p:pic>
        <p:nvPicPr>
          <p:cNvPr id="14" name="Picture 13">
            <a:extLst>
              <a:ext uri="{FF2B5EF4-FFF2-40B4-BE49-F238E27FC236}">
                <a16:creationId xmlns:a16="http://schemas.microsoft.com/office/drawing/2014/main" id="{B05DEBAC-6A58-FF49-B5E5-237C6F450AF9}"/>
              </a:ext>
            </a:extLst>
          </p:cNvPr>
          <p:cNvPicPr>
            <a:picLocks noChangeAspect="1"/>
          </p:cNvPicPr>
          <p:nvPr userDrawn="1"/>
        </p:nvPicPr>
        <p:blipFill>
          <a:blip r:embed="rId3"/>
          <a:stretch>
            <a:fillRect/>
          </a:stretch>
        </p:blipFill>
        <p:spPr>
          <a:xfrm>
            <a:off x="407391" y="405703"/>
            <a:ext cx="958677" cy="211686"/>
          </a:xfrm>
          <a:prstGeom prst="rect">
            <a:avLst/>
          </a:prstGeom>
        </p:spPr>
      </p:pic>
    </p:spTree>
    <p:extLst>
      <p:ext uri="{BB962C8B-B14F-4D97-AF65-F5344CB8AC3E}">
        <p14:creationId xmlns:p14="http://schemas.microsoft.com/office/powerpoint/2010/main" val="227412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7D9530F-1AE6-D546-884F-8D088BF19FC6}"/>
              </a:ext>
            </a:extLst>
          </p:cNvPr>
          <p:cNvPicPr>
            <a:picLocks noChangeAspect="1"/>
          </p:cNvPicPr>
          <p:nvPr userDrawn="1"/>
        </p:nvPicPr>
        <p:blipFill rotWithShape="1">
          <a:blip>
            <a:extLst>
              <a:ext uri="{28A0092B-C50C-407E-A947-70E740481C1C}">
                <a14:useLocalDpi xmlns:a14="http://schemas.microsoft.com/office/drawing/2010/main" val="0"/>
              </a:ext>
            </a:extLst>
          </a:blip>
          <a:srcRect t="15637"/>
          <a:stretch/>
        </p:blipFill>
        <p:spPr>
          <a:xfrm>
            <a:off x="0" y="0"/>
            <a:ext cx="12192000" cy="6858000"/>
          </a:xfrm>
          <a:prstGeom prst="rect">
            <a:avLst/>
          </a:prstGeom>
        </p:spPr>
      </p:pic>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a:t>
            </a:r>
            <a:r>
              <a:rPr lang="en-US" err="1"/>
              <a:t>IoT</a:t>
            </a:r>
            <a:r>
              <a:rPr lang="en-US"/>
              <a:t> title or event name</a:t>
            </a:r>
          </a:p>
        </p:txBody>
      </p:sp>
      <p:pic>
        <p:nvPicPr>
          <p:cNvPr id="2" name="Picture 1">
            <a:extLst>
              <a:ext uri="{FF2B5EF4-FFF2-40B4-BE49-F238E27FC236}">
                <a16:creationId xmlns:a16="http://schemas.microsoft.com/office/drawing/2014/main" id="{6847F158-6392-E149-AFD6-49796C5D3697}"/>
              </a:ext>
            </a:extLst>
          </p:cNvPr>
          <p:cNvPicPr>
            <a:picLocks noChangeAspect="1"/>
          </p:cNvPicPr>
          <p:nvPr userDrawn="1"/>
        </p:nvPicPr>
        <p:blipFill>
          <a:blip r:embed="rId2"/>
          <a:stretch>
            <a:fillRect/>
          </a:stretch>
        </p:blipFill>
        <p:spPr>
          <a:xfrm>
            <a:off x="428681" y="406525"/>
            <a:ext cx="958677" cy="211686"/>
          </a:xfrm>
          <a:prstGeom prst="rect">
            <a:avLst/>
          </a:prstGeom>
        </p:spPr>
      </p:pic>
    </p:spTree>
    <p:extLst>
      <p:ext uri="{BB962C8B-B14F-4D97-AF65-F5344CB8AC3E}">
        <p14:creationId xmlns:p14="http://schemas.microsoft.com/office/powerpoint/2010/main" val="321741073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186773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260276527"/>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940136830"/>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251443337"/>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36595643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621100173"/>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337651459"/>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884961943"/>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895724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753647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6872217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080508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917331596"/>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131171980"/>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99465708"/>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508905513"/>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68109549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994688323"/>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2" name="Picture 1">
            <a:extLst>
              <a:ext uri="{FF2B5EF4-FFF2-40B4-BE49-F238E27FC236}">
                <a16:creationId xmlns:a16="http://schemas.microsoft.com/office/drawing/2014/main" id="{085186FC-0D32-394B-A766-D567AE5C4DA4}"/>
              </a:ext>
            </a:extLst>
          </p:cNvPr>
          <p:cNvPicPr>
            <a:picLocks noChangeAspect="1"/>
          </p:cNvPicPr>
          <p:nvPr userDrawn="1"/>
        </p:nvPicPr>
        <p:blipFill>
          <a:blip r:embed="rId2"/>
          <a:stretch>
            <a:fillRect/>
          </a:stretch>
        </p:blipFill>
        <p:spPr>
          <a:xfrm>
            <a:off x="454170" y="281689"/>
            <a:ext cx="958677" cy="211686"/>
          </a:xfrm>
          <a:prstGeom prst="rect">
            <a:avLst/>
          </a:prstGeom>
        </p:spPr>
      </p:pic>
    </p:spTree>
    <p:extLst>
      <p:ext uri="{BB962C8B-B14F-4D97-AF65-F5344CB8AC3E}">
        <p14:creationId xmlns:p14="http://schemas.microsoft.com/office/powerpoint/2010/main" val="2232522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931AF-7E34-4B3F-8061-19F4EACBF7F4}"/>
              </a:ext>
            </a:extLst>
          </p:cNvPr>
          <p:cNvSpPr>
            <a:spLocks noGrp="1"/>
          </p:cNvSpPr>
          <p:nvPr>
            <p:ph type="title"/>
          </p:nvPr>
        </p:nvSpPr>
        <p:spPr>
          <a:xfrm>
            <a:off x="439403" y="2029078"/>
            <a:ext cx="4361198" cy="2795153"/>
          </a:xfrm>
        </p:spPr>
        <p:txBody>
          <a:bodyPr/>
          <a:lstStyle>
            <a:lvl1pPr algn="l">
              <a:defRPr>
                <a:solidFill>
                  <a:schemeClr val="tx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BB29D4C-7A11-4689-9344-53324623D160}"/>
              </a:ext>
            </a:extLst>
          </p:cNvPr>
          <p:cNvSpPr>
            <a:spLocks noGrp="1"/>
          </p:cNvSpPr>
          <p:nvPr>
            <p:ph idx="1"/>
          </p:nvPr>
        </p:nvSpPr>
        <p:spPr>
          <a:xfrm>
            <a:off x="5453017" y="2618207"/>
            <a:ext cx="5900783" cy="1569199"/>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EC30B6-F52D-4776-AD2E-B15536F8A531}"/>
              </a:ext>
            </a:extLst>
          </p:cNvPr>
          <p:cNvSpPr>
            <a:spLocks noGrp="1"/>
          </p:cNvSpPr>
          <p:nvPr>
            <p:ph type="dt" sz="half" idx="10"/>
          </p:nvPr>
        </p:nvSpPr>
        <p:spPr/>
        <p:txBody>
          <a:bodyPr/>
          <a:lstStyle/>
          <a:p>
            <a:fld id="{E504F681-2B88-4CF5-8955-112896A75F4A}" type="datetimeFigureOut">
              <a:rPr lang="en-US" smtClean="0"/>
              <a:t>3/29/2021</a:t>
            </a:fld>
            <a:endParaRPr lang="en-US"/>
          </a:p>
        </p:txBody>
      </p:sp>
      <p:sp>
        <p:nvSpPr>
          <p:cNvPr id="5" name="Footer Placeholder 4">
            <a:extLst>
              <a:ext uri="{FF2B5EF4-FFF2-40B4-BE49-F238E27FC236}">
                <a16:creationId xmlns:a16="http://schemas.microsoft.com/office/drawing/2014/main" id="{EE136DED-D1D4-4AF7-9407-0D8E5475AD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40E04A-CE28-4145-8880-3D48831AB8A7}"/>
              </a:ext>
            </a:extLst>
          </p:cNvPr>
          <p:cNvSpPr>
            <a:spLocks noGrp="1"/>
          </p:cNvSpPr>
          <p:nvPr>
            <p:ph type="sldNum" sz="quarter" idx="12"/>
          </p:nvPr>
        </p:nvSpPr>
        <p:spPr/>
        <p:txBody>
          <a:bodyPr/>
          <a:lstStyle/>
          <a:p>
            <a:fld id="{342CE631-D64F-40A6-959C-05AB2D65FE46}" type="slidenum">
              <a:rPr lang="en-US" smtClean="0"/>
              <a:t>‹#›</a:t>
            </a:fld>
            <a:endParaRPr lang="en-US"/>
          </a:p>
        </p:txBody>
      </p:sp>
    </p:spTree>
    <p:extLst>
      <p:ext uri="{BB962C8B-B14F-4D97-AF65-F5344CB8AC3E}">
        <p14:creationId xmlns:p14="http://schemas.microsoft.com/office/powerpoint/2010/main" val="2146474010"/>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cSld name="Divider (Viz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7786E81-E6CB-644F-A2CF-67E98B2C4FFA}"/>
              </a:ext>
            </a:extLst>
          </p:cNvPr>
          <p:cNvPicPr>
            <a:picLocks noChangeAspect="1"/>
          </p:cNvPicPr>
          <p:nvPr/>
        </p:nvPicPr>
        <p:blipFill>
          <a:blip r:embed="rId2">
            <a:lum bright="13000"/>
            <a:alphaModFix amt="8000"/>
          </a:blip>
          <a:stretch>
            <a:fillRect/>
          </a:stretch>
        </p:blipFill>
        <p:spPr>
          <a:xfrm>
            <a:off x="5813612" y="115747"/>
            <a:ext cx="6014762" cy="6439596"/>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2"/>
            <a:ext cx="9195564" cy="1402440"/>
          </a:xfrm>
          <a:prstGeom prst="rect">
            <a:avLst/>
          </a:prstGeom>
        </p:spPr>
        <p:txBody>
          <a:bodyPr lIns="0" anchor="t" anchorCtr="0">
            <a:noAutofit/>
          </a:bodyPr>
          <a:lstStyle>
            <a:lvl1pPr>
              <a:defRPr sz="5399"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027" indent="-457027">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900" y="6442503"/>
            <a:ext cx="1180135" cy="415498"/>
          </a:xfrm>
          <a:prstGeom prst="rect">
            <a:avLst/>
          </a:prstGeom>
        </p:spPr>
        <p:txBody>
          <a:bodyPr/>
          <a:lstStyle/>
          <a:p>
            <a:fld id="{342CE631-D64F-40A6-959C-05AB2D65FE46}" type="slidenum">
              <a:rPr lang="en-US" smtClean="0"/>
              <a:t>‹#›</a:t>
            </a:fld>
            <a:endParaRPr lang="en-US"/>
          </a:p>
        </p:txBody>
      </p:sp>
    </p:spTree>
    <p:extLst>
      <p:ext uri="{BB962C8B-B14F-4D97-AF65-F5344CB8AC3E}">
        <p14:creationId xmlns:p14="http://schemas.microsoft.com/office/powerpoint/2010/main" val="240622742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308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1050326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15691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086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cSld name="Demo">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B11FEBD-5C2F-4BE7-BB21-A5DB64908724}"/>
              </a:ext>
            </a:extLst>
          </p:cNvPr>
          <p:cNvSpPr>
            <a:spLocks noGrp="1"/>
          </p:cNvSpPr>
          <p:nvPr>
            <p:ph type="title" hasCustomPrompt="1"/>
          </p:nvPr>
        </p:nvSpPr>
        <p:spPr>
          <a:xfrm>
            <a:off x="409143" y="2590801"/>
            <a:ext cx="10601757" cy="990631"/>
          </a:xfrm>
          <a:prstGeom prst="rect">
            <a:avLst/>
          </a:prstGeom>
        </p:spPr>
        <p:txBody>
          <a:bodyPr lIns="0" anchor="b" anchorCtr="0">
            <a:noAutofit/>
          </a:bodyPr>
          <a:lstStyle>
            <a:lvl1pPr>
              <a:defRPr sz="5998" b="1" i="0" baseline="0">
                <a:solidFill>
                  <a:schemeClr val="tx1"/>
                </a:solidFill>
                <a:latin typeface="Segoe UI Semibold" charset="0"/>
                <a:ea typeface="Segoe UI Semibold" charset="0"/>
                <a:cs typeface="Segoe UI Semibold" charset="0"/>
              </a:defRPr>
            </a:lvl1pPr>
          </a:lstStyle>
          <a:p>
            <a:r>
              <a:rPr lang="en-US" dirty="0"/>
              <a:t>Demo</a:t>
            </a:r>
          </a:p>
        </p:txBody>
      </p:sp>
      <p:sp>
        <p:nvSpPr>
          <p:cNvPr id="24" name="Shape 78">
            <a:extLst>
              <a:ext uri="{FF2B5EF4-FFF2-40B4-BE49-F238E27FC236}">
                <a16:creationId xmlns:a16="http://schemas.microsoft.com/office/drawing/2014/main" id="{BAAE8EAD-16BA-4B71-B2FF-661EA6C64800}"/>
              </a:ext>
            </a:extLst>
          </p:cNvPr>
          <p:cNvSpPr txBox="1">
            <a:spLocks noGrp="1"/>
          </p:cNvSpPr>
          <p:nvPr>
            <p:ph type="body" idx="7" hasCustomPrompt="1"/>
          </p:nvPr>
        </p:nvSpPr>
        <p:spPr>
          <a:xfrm>
            <a:off x="457200" y="3581432"/>
            <a:ext cx="10553700" cy="424771"/>
          </a:xfrm>
          <a:prstGeom prst="rect">
            <a:avLst/>
          </a:prstGeom>
        </p:spPr>
        <p:txBody>
          <a:bodyPr vert="horz" lIns="0" tIns="0" rIns="0" bIns="0" rtlCol="0" anchor="t" anchorCtr="0">
            <a:noAutofit/>
          </a:bodyPr>
          <a:lstStyle>
            <a:lvl1pPr marL="457027" indent="-457027">
              <a:buFont typeface="+mj-lt"/>
              <a:buNone/>
              <a:defRPr sz="2800" b="1" i="0" dirty="0">
                <a:solidFill>
                  <a:schemeClr val="accent2"/>
                </a:solidFill>
                <a:latin typeface="Segoe UI Semibold" charset="0"/>
                <a:ea typeface="Segoe UI Semibold" charset="0"/>
                <a:cs typeface="Segoe UI Semibold" charset="0"/>
              </a:defRPr>
            </a:lvl1pPr>
          </a:lstStyle>
          <a:p>
            <a:pPr marL="0" lvl="0" indent="0"/>
            <a:r>
              <a:rPr lang="en-US" dirty="0"/>
              <a:t>Click to edit Master text styles</a:t>
            </a:r>
          </a:p>
        </p:txBody>
      </p:sp>
      <p:sp>
        <p:nvSpPr>
          <p:cNvPr id="26" name="Text Placeholder 2">
            <a:extLst>
              <a:ext uri="{FF2B5EF4-FFF2-40B4-BE49-F238E27FC236}">
                <a16:creationId xmlns:a16="http://schemas.microsoft.com/office/drawing/2014/main" id="{01413CC7-FF34-4272-956B-B08BCBB287FE}"/>
              </a:ext>
            </a:extLst>
          </p:cNvPr>
          <p:cNvSpPr>
            <a:spLocks noGrp="1"/>
          </p:cNvSpPr>
          <p:nvPr>
            <p:ph type="body" sz="quarter" idx="25" hasCustomPrompt="1"/>
          </p:nvPr>
        </p:nvSpPr>
        <p:spPr>
          <a:xfrm>
            <a:off x="457200" y="5372100"/>
            <a:ext cx="3773917" cy="611962"/>
          </a:xfrm>
          <a:prstGeom prst="rect">
            <a:avLst/>
          </a:prstGeom>
        </p:spPr>
        <p:txBody>
          <a:bodyPr/>
          <a:lstStyle>
            <a:lvl1pPr>
              <a:defRPr sz="2800" b="1" i="0">
                <a:solidFill>
                  <a:schemeClr val="tx1"/>
                </a:solidFill>
                <a:latin typeface="Segoe UI Semibold" charset="0"/>
                <a:ea typeface="Segoe UI Semibold" charset="0"/>
                <a:cs typeface="Segoe UI Semibold" charset="0"/>
              </a:defRPr>
            </a:lvl1pPr>
          </a:lstStyle>
          <a:p>
            <a:pPr lvl="0"/>
            <a:r>
              <a:rPr lang="en-US" dirty="0"/>
              <a:t>Speaker</a:t>
            </a:r>
          </a:p>
        </p:txBody>
      </p:sp>
      <p:sp>
        <p:nvSpPr>
          <p:cNvPr id="27" name="Text Placeholder 2">
            <a:extLst>
              <a:ext uri="{FF2B5EF4-FFF2-40B4-BE49-F238E27FC236}">
                <a16:creationId xmlns:a16="http://schemas.microsoft.com/office/drawing/2014/main" id="{7FC9AA33-9990-4126-B01B-6E5F8AB46A1D}"/>
              </a:ext>
            </a:extLst>
          </p:cNvPr>
          <p:cNvSpPr>
            <a:spLocks noGrp="1"/>
          </p:cNvSpPr>
          <p:nvPr>
            <p:ph type="body" sz="quarter" idx="26" hasCustomPrompt="1"/>
          </p:nvPr>
        </p:nvSpPr>
        <p:spPr>
          <a:xfrm>
            <a:off x="457200" y="5678177"/>
            <a:ext cx="3773917" cy="488866"/>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Speaker title</a:t>
            </a:r>
          </a:p>
        </p:txBody>
      </p:sp>
      <p:sp>
        <p:nvSpPr>
          <p:cNvPr id="2" name="Slide Number Placeholder 1">
            <a:extLst>
              <a:ext uri="{FF2B5EF4-FFF2-40B4-BE49-F238E27FC236}">
                <a16:creationId xmlns:a16="http://schemas.microsoft.com/office/drawing/2014/main" id="{FB2C2356-D61D-0A43-A1C6-D11A93A3A509}"/>
              </a:ext>
            </a:extLst>
          </p:cNvPr>
          <p:cNvSpPr>
            <a:spLocks noGrp="1"/>
          </p:cNvSpPr>
          <p:nvPr>
            <p:ph type="sldNum" sz="quarter" idx="27"/>
          </p:nvPr>
        </p:nvSpPr>
        <p:spPr/>
        <p:txBody>
          <a:bodyPr/>
          <a:lstStyle/>
          <a:p>
            <a:fld id="{342CE631-D64F-40A6-959C-05AB2D65FE46}" type="slidenum">
              <a:rPr lang="en-US" smtClean="0"/>
              <a:t>‹#›</a:t>
            </a:fld>
            <a:endParaRPr lang="en-US"/>
          </a:p>
        </p:txBody>
      </p:sp>
      <p:sp>
        <p:nvSpPr>
          <p:cNvPr id="8" name="MSIPCM914a47ef9da007a5f5ca1e01" descr="{&quot;HashCode&quot;:-1634785317,&quot;Placement&quot;:&quot;Footer&quot;,&quot;Top&quot;:519.343,&quot;Left&quot;:0.0,&quot;SlideWidth&quot;:960,&quot;SlideHeight&quot;:540}">
            <a:extLst>
              <a:ext uri="{FF2B5EF4-FFF2-40B4-BE49-F238E27FC236}">
                <a16:creationId xmlns:a16="http://schemas.microsoft.com/office/drawing/2014/main" id="{5A3DB5A4-3B39-4F7C-A696-23A2A8A963EE}"/>
              </a:ext>
            </a:extLst>
          </p:cNvPr>
          <p:cNvSpPr txBox="1"/>
          <p:nvPr/>
        </p:nvSpPr>
        <p:spPr>
          <a:xfrm>
            <a:off x="1" y="6649883"/>
            <a:ext cx="2123853" cy="153888"/>
          </a:xfrm>
          <a:prstGeom prst="rect">
            <a:avLst/>
          </a:prstGeom>
        </p:spPr>
        <p:txBody>
          <a:bodyPr vert="horz" wrap="square" lIns="0" tIns="0" rIns="0" bIns="0" rtlCol="0" anchor="ctr" anchorCtr="1">
            <a:spAutoFit/>
          </a:bodyPr>
          <a:lstStyle/>
          <a:p>
            <a:pPr algn="l">
              <a:spcBef>
                <a:spcPts val="0"/>
              </a:spcBef>
              <a:spcAft>
                <a:spcPts val="0"/>
              </a:spcAft>
            </a:pPr>
            <a:r>
              <a:rPr lang="en-US" sz="1000">
                <a:solidFill>
                  <a:schemeClr val="accent6"/>
                </a:solidFill>
                <a:latin typeface="Calibri" panose="020F0502020204030204" pitchFamily="34" charset="0"/>
              </a:rPr>
              <a:t>Classified as Microsoft Confidential</a:t>
            </a:r>
          </a:p>
        </p:txBody>
      </p:sp>
    </p:spTree>
    <p:extLst>
      <p:ext uri="{BB962C8B-B14F-4D97-AF65-F5344CB8AC3E}">
        <p14:creationId xmlns:p14="http://schemas.microsoft.com/office/powerpoint/2010/main" val="319227334"/>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DE20FB-D5C9-44C8-9315-B34B9B31CF3D}"/>
              </a:ext>
            </a:extLst>
          </p:cNvPr>
          <p:cNvSpPr>
            <a:spLocks noGrp="1"/>
          </p:cNvSpPr>
          <p:nvPr>
            <p:ph type="dt" sz="half" idx="10"/>
          </p:nvPr>
        </p:nvSpPr>
        <p:spPr/>
        <p:txBody>
          <a:bodyPr/>
          <a:lstStyle/>
          <a:p>
            <a:fld id="{D209D745-82CA-4567-8C7D-E682255DBDA9}" type="datetimeFigureOut">
              <a:rPr lang="en-US" smtClean="0"/>
              <a:t>3/29/2021</a:t>
            </a:fld>
            <a:endParaRPr lang="en-US"/>
          </a:p>
        </p:txBody>
      </p:sp>
      <p:sp>
        <p:nvSpPr>
          <p:cNvPr id="3" name="Footer Placeholder 2">
            <a:extLst>
              <a:ext uri="{FF2B5EF4-FFF2-40B4-BE49-F238E27FC236}">
                <a16:creationId xmlns:a16="http://schemas.microsoft.com/office/drawing/2014/main" id="{E29127E7-FF9B-4E50-91FB-FA4C23DC7A4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ADFC21-3921-4672-B858-EFA3F4D4D758}"/>
              </a:ext>
            </a:extLst>
          </p:cNvPr>
          <p:cNvSpPr>
            <a:spLocks noGrp="1"/>
          </p:cNvSpPr>
          <p:nvPr>
            <p:ph type="sldNum" sz="quarter" idx="12"/>
          </p:nvPr>
        </p:nvSpPr>
        <p:spPr/>
        <p:txBody>
          <a:bodyPr/>
          <a:lstStyle/>
          <a:p>
            <a:fld id="{A86CC0C0-3DF2-4BF0-ABDD-17A8E304AB84}" type="slidenum">
              <a:rPr lang="en-US" smtClean="0"/>
              <a:t>‹#›</a:t>
            </a:fld>
            <a:endParaRPr lang="en-US"/>
          </a:p>
        </p:txBody>
      </p:sp>
    </p:spTree>
    <p:extLst>
      <p:ext uri="{BB962C8B-B14F-4D97-AF65-F5344CB8AC3E}">
        <p14:creationId xmlns:p14="http://schemas.microsoft.com/office/powerpoint/2010/main" val="3845592228"/>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5725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794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a:t>
            </a:r>
            <a:r>
              <a:rPr lang="en-US" err="1"/>
              <a:t>IoT</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2" name="Picture 1">
            <a:extLst>
              <a:ext uri="{FF2B5EF4-FFF2-40B4-BE49-F238E27FC236}">
                <a16:creationId xmlns:a16="http://schemas.microsoft.com/office/drawing/2014/main" id="{7B7211F8-4DBB-F148-9213-1CD906B157A9}"/>
              </a:ext>
            </a:extLst>
          </p:cNvPr>
          <p:cNvPicPr>
            <a:picLocks noChangeAspect="1"/>
          </p:cNvPicPr>
          <p:nvPr userDrawn="1"/>
        </p:nvPicPr>
        <p:blipFill>
          <a:blip r:embed="rId2"/>
          <a:stretch>
            <a:fillRect/>
          </a:stretch>
        </p:blipFill>
        <p:spPr>
          <a:xfrm>
            <a:off x="406790" y="406526"/>
            <a:ext cx="958677" cy="211686"/>
          </a:xfrm>
          <a:prstGeom prst="rect">
            <a:avLst/>
          </a:prstGeom>
        </p:spPr>
      </p:pic>
    </p:spTree>
    <p:extLst>
      <p:ext uri="{BB962C8B-B14F-4D97-AF65-F5344CB8AC3E}">
        <p14:creationId xmlns:p14="http://schemas.microsoft.com/office/powerpoint/2010/main" val="2704729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Microsoft </a:t>
            </a:r>
            <a:r>
              <a:rPr lang="en-US" err="1"/>
              <a:t>IoT</a:t>
            </a:r>
            <a:br>
              <a:rPr lang="en-US"/>
            </a:br>
            <a:r>
              <a:rPr lang="en-US"/>
              <a:t>title or event name</a:t>
            </a:r>
          </a:p>
        </p:txBody>
      </p:sp>
      <p:pic>
        <p:nvPicPr>
          <p:cNvPr id="2" name="Picture 1">
            <a:extLst>
              <a:ext uri="{FF2B5EF4-FFF2-40B4-BE49-F238E27FC236}">
                <a16:creationId xmlns:a16="http://schemas.microsoft.com/office/drawing/2014/main" id="{D5788672-4E4F-384F-BC06-960DD2B92DCE}"/>
              </a:ext>
            </a:extLst>
          </p:cNvPr>
          <p:cNvPicPr>
            <a:picLocks noChangeAspect="1"/>
          </p:cNvPicPr>
          <p:nvPr userDrawn="1"/>
        </p:nvPicPr>
        <p:blipFill>
          <a:blip r:embed="rId2"/>
          <a:stretch>
            <a:fillRect/>
          </a:stretch>
        </p:blipFill>
        <p:spPr>
          <a:xfrm>
            <a:off x="407392" y="405703"/>
            <a:ext cx="958677" cy="211686"/>
          </a:xfrm>
          <a:prstGeom prst="rect">
            <a:avLst/>
          </a:prstGeom>
        </p:spPr>
      </p:pic>
    </p:spTree>
    <p:extLst>
      <p:ext uri="{BB962C8B-B14F-4D97-AF65-F5344CB8AC3E}">
        <p14:creationId xmlns:p14="http://schemas.microsoft.com/office/powerpoint/2010/main" val="3295873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0FF96BB-AF6E-5740-BF45-B6600B6FB46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52" y="0"/>
            <a:ext cx="12160097"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4" strike="noStrike" spc="-49" baseline="0">
                <a:solidFill>
                  <a:schemeClr val="bg1"/>
                </a:solidFill>
              </a:defRPr>
            </a:lvl1pPr>
          </a:lstStyle>
          <a:p>
            <a:r>
              <a:rPr lang="en-US"/>
              <a:t>Microsoft </a:t>
            </a:r>
            <a:r>
              <a:rPr lang="en-US" err="1"/>
              <a:t>IoT</a:t>
            </a:r>
            <a:r>
              <a:rPr lang="en-US"/>
              <a:t> title or event name</a:t>
            </a:r>
          </a:p>
        </p:txBody>
      </p:sp>
      <p:pic>
        <p:nvPicPr>
          <p:cNvPr id="14" name="Picture 13">
            <a:extLst>
              <a:ext uri="{FF2B5EF4-FFF2-40B4-BE49-F238E27FC236}">
                <a16:creationId xmlns:a16="http://schemas.microsoft.com/office/drawing/2014/main" id="{B05DEBAC-6A58-FF49-B5E5-237C6F450AF9}"/>
              </a:ext>
            </a:extLst>
          </p:cNvPr>
          <p:cNvPicPr>
            <a:picLocks noChangeAspect="1"/>
          </p:cNvPicPr>
          <p:nvPr userDrawn="1"/>
        </p:nvPicPr>
        <p:blipFill>
          <a:blip r:embed="rId3"/>
          <a:stretch>
            <a:fillRect/>
          </a:stretch>
        </p:blipFill>
        <p:spPr>
          <a:xfrm>
            <a:off x="407392" y="405703"/>
            <a:ext cx="958677" cy="211686"/>
          </a:xfrm>
          <a:prstGeom prst="rect">
            <a:avLst/>
          </a:prstGeom>
        </p:spPr>
      </p:pic>
    </p:spTree>
    <p:extLst>
      <p:ext uri="{BB962C8B-B14F-4D97-AF65-F5344CB8AC3E}">
        <p14:creationId xmlns:p14="http://schemas.microsoft.com/office/powerpoint/2010/main" val="3870889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7D9530F-1AE6-D546-884F-8D088BF19FC6}"/>
              </a:ext>
            </a:extLst>
          </p:cNvPr>
          <p:cNvPicPr>
            <a:picLocks noChangeAspect="1"/>
          </p:cNvPicPr>
          <p:nvPr userDrawn="1"/>
        </p:nvPicPr>
        <p:blipFill rotWithShape="1">
          <a:blip>
            <a:extLst>
              <a:ext uri="{28A0092B-C50C-407E-A947-70E740481C1C}">
                <a14:useLocalDpi xmlns:a14="http://schemas.microsoft.com/office/drawing/2010/main" val="0"/>
              </a:ext>
            </a:extLst>
          </a:blip>
          <a:srcRect t="15637"/>
          <a:stretch/>
        </p:blipFill>
        <p:spPr>
          <a:xfrm>
            <a:off x="0" y="0"/>
            <a:ext cx="12192000" cy="6858000"/>
          </a:xfrm>
          <a:prstGeom prst="rect">
            <a:avLst/>
          </a:prstGeom>
        </p:spPr>
      </p:pic>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1"/>
            </a:lvl3pPr>
            <a:lvl4pPr>
              <a:defRPr sz="1371"/>
            </a:lvl4pPr>
            <a:lvl5pPr>
              <a:defRPr sz="1028"/>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4" strike="noStrike" spc="-49" baseline="0">
                <a:solidFill>
                  <a:schemeClr val="tx2"/>
                </a:solidFill>
              </a:defRPr>
            </a:lvl1pPr>
          </a:lstStyle>
          <a:p>
            <a:r>
              <a:rPr lang="en-US"/>
              <a:t>Microsoft </a:t>
            </a:r>
            <a:r>
              <a:rPr lang="en-US" err="1"/>
              <a:t>IoT</a:t>
            </a:r>
            <a:r>
              <a:rPr lang="en-US"/>
              <a:t> title or event name</a:t>
            </a:r>
          </a:p>
        </p:txBody>
      </p:sp>
      <p:pic>
        <p:nvPicPr>
          <p:cNvPr id="2" name="Picture 1">
            <a:extLst>
              <a:ext uri="{FF2B5EF4-FFF2-40B4-BE49-F238E27FC236}">
                <a16:creationId xmlns:a16="http://schemas.microsoft.com/office/drawing/2014/main" id="{6847F158-6392-E149-AFD6-49796C5D3697}"/>
              </a:ext>
            </a:extLst>
          </p:cNvPr>
          <p:cNvPicPr>
            <a:picLocks noChangeAspect="1"/>
          </p:cNvPicPr>
          <p:nvPr userDrawn="1"/>
        </p:nvPicPr>
        <p:blipFill>
          <a:blip r:embed="rId2"/>
          <a:stretch>
            <a:fillRect/>
          </a:stretch>
        </p:blipFill>
        <p:spPr>
          <a:xfrm>
            <a:off x="428682" y="406525"/>
            <a:ext cx="958677" cy="211686"/>
          </a:xfrm>
          <a:prstGeom prst="rect">
            <a:avLst/>
          </a:prstGeom>
        </p:spPr>
      </p:pic>
    </p:spTree>
    <p:extLst>
      <p:ext uri="{BB962C8B-B14F-4D97-AF65-F5344CB8AC3E}">
        <p14:creationId xmlns:p14="http://schemas.microsoft.com/office/powerpoint/2010/main" val="227322084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12711704"/>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95792813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6468731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4300098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1_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241581709"/>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130136904"/>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1_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874334617"/>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987582263"/>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396291"/>
            <a:ext cx="11280012"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055925743"/>
      </p:ext>
    </p:extLst>
  </p:cSld>
  <p:clrMapOvr>
    <a:masterClrMapping/>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52798400"/>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3061945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1_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693486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309258672"/>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1163076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8132323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531899796"/>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68071665"/>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1_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132517403"/>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49787860"/>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p:cSld name="1_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81393036"/>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1_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2" name="Picture 1">
            <a:extLst>
              <a:ext uri="{FF2B5EF4-FFF2-40B4-BE49-F238E27FC236}">
                <a16:creationId xmlns:a16="http://schemas.microsoft.com/office/drawing/2014/main" id="{085186FC-0D32-394B-A766-D567AE5C4DA4}"/>
              </a:ext>
            </a:extLst>
          </p:cNvPr>
          <p:cNvPicPr>
            <a:picLocks noChangeAspect="1"/>
          </p:cNvPicPr>
          <p:nvPr userDrawn="1"/>
        </p:nvPicPr>
        <p:blipFill>
          <a:blip r:embed="rId2"/>
          <a:stretch>
            <a:fillRect/>
          </a:stretch>
        </p:blipFill>
        <p:spPr>
          <a:xfrm>
            <a:off x="454171" y="281689"/>
            <a:ext cx="958677" cy="211686"/>
          </a:xfrm>
          <a:prstGeom prst="rect">
            <a:avLst/>
          </a:prstGeom>
        </p:spPr>
      </p:pic>
    </p:spTree>
    <p:extLst>
      <p:ext uri="{BB962C8B-B14F-4D97-AF65-F5344CB8AC3E}">
        <p14:creationId xmlns:p14="http://schemas.microsoft.com/office/powerpoint/2010/main" val="1280848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7" name="Freeform: Shape 6" descr="Tag=AccentColor&#10;Flavor=Light&#10;Target=Fill">
            <a:extLst>
              <a:ext uri="{FF2B5EF4-FFF2-40B4-BE49-F238E27FC236}">
                <a16:creationId xmlns:a16="http://schemas.microsoft.com/office/drawing/2014/main" id="{13B7BB51-92B8-4089-8DAB-1202A4D1C6A3}"/>
              </a:ext>
            </a:extLst>
          </p:cNvPr>
          <p:cNvSpPr/>
          <p:nvPr/>
        </p:nvSpPr>
        <p:spPr>
          <a:xfrm flipH="1">
            <a:off x="3" y="315111"/>
            <a:ext cx="3021543" cy="1435442"/>
          </a:xfrm>
          <a:custGeom>
            <a:avLst/>
            <a:gdLst>
              <a:gd name="connsiteX0" fmla="*/ 3021543 w 3021543"/>
              <a:gd name="connsiteY0" fmla="*/ 0 h 1435442"/>
              <a:gd name="connsiteX1" fmla="*/ 2963800 w 3021543"/>
              <a:gd name="connsiteY1" fmla="*/ 7242 h 1435442"/>
              <a:gd name="connsiteX2" fmla="*/ 2793803 w 3021543"/>
              <a:gd name="connsiteY2" fmla="*/ 24082 h 1435442"/>
              <a:gd name="connsiteX3" fmla="*/ 2414348 w 3021543"/>
              <a:gd name="connsiteY3" fmla="*/ 29696 h 1435442"/>
              <a:gd name="connsiteX4" fmla="*/ 2091558 w 3021543"/>
              <a:gd name="connsiteY4" fmla="*/ 27450 h 1435442"/>
              <a:gd name="connsiteX5" fmla="*/ 1645319 w 3021543"/>
              <a:gd name="connsiteY5" fmla="*/ 28573 h 1435442"/>
              <a:gd name="connsiteX6" fmla="*/ 1243602 w 3021543"/>
              <a:gd name="connsiteY6" fmla="*/ 60008 h 1435442"/>
              <a:gd name="connsiteX7" fmla="*/ 753851 w 3021543"/>
              <a:gd name="connsiteY7" fmla="*/ 57763 h 1435442"/>
              <a:gd name="connsiteX8" fmla="*/ 465465 w 3021543"/>
              <a:gd name="connsiteY8" fmla="*/ 116142 h 1435442"/>
              <a:gd name="connsiteX9" fmla="*/ 546416 w 3021543"/>
              <a:gd name="connsiteY9" fmla="*/ 136351 h 1435442"/>
              <a:gd name="connsiteX10" fmla="*/ 689091 w 3021543"/>
              <a:gd name="connsiteY10" fmla="*/ 180136 h 1435442"/>
              <a:gd name="connsiteX11" fmla="*/ 704269 w 3021543"/>
              <a:gd name="connsiteY11" fmla="*/ 208203 h 1435442"/>
              <a:gd name="connsiteX12" fmla="*/ 683020 w 3021543"/>
              <a:gd name="connsiteY12" fmla="*/ 221675 h 1435442"/>
              <a:gd name="connsiteX13" fmla="*/ 621295 w 3021543"/>
              <a:gd name="connsiteY13" fmla="*/ 247496 h 1435442"/>
              <a:gd name="connsiteX14" fmla="*/ 848968 w 3021543"/>
              <a:gd name="connsiteY14" fmla="*/ 285668 h 1435442"/>
              <a:gd name="connsiteX15" fmla="*/ 768018 w 3021543"/>
              <a:gd name="connsiteY15" fmla="*/ 309244 h 1435442"/>
              <a:gd name="connsiteX16" fmla="*/ 684032 w 3021543"/>
              <a:gd name="connsiteY16" fmla="*/ 326085 h 1435442"/>
              <a:gd name="connsiteX17" fmla="*/ 592962 w 3021543"/>
              <a:gd name="connsiteY17" fmla="*/ 338434 h 1435442"/>
              <a:gd name="connsiteX18" fmla="*/ 509988 w 3021543"/>
              <a:gd name="connsiteY18" fmla="*/ 363133 h 1435442"/>
              <a:gd name="connsiteX19" fmla="*/ 726531 w 3021543"/>
              <a:gd name="connsiteY19" fmla="*/ 373237 h 1435442"/>
              <a:gd name="connsiteX20" fmla="*/ 614212 w 3021543"/>
              <a:gd name="connsiteY20" fmla="*/ 395691 h 1435442"/>
              <a:gd name="connsiteX21" fmla="*/ 522131 w 3021543"/>
              <a:gd name="connsiteY21" fmla="*/ 424881 h 1435442"/>
              <a:gd name="connsiteX22" fmla="*/ 457370 w 3021543"/>
              <a:gd name="connsiteY22" fmla="*/ 438353 h 1435442"/>
              <a:gd name="connsiteX23" fmla="*/ 388562 w 3021543"/>
              <a:gd name="connsiteY23" fmla="*/ 441721 h 1435442"/>
              <a:gd name="connsiteX24" fmla="*/ 372372 w 3021543"/>
              <a:gd name="connsiteY24" fmla="*/ 463052 h 1435442"/>
              <a:gd name="connsiteX25" fmla="*/ 393622 w 3021543"/>
              <a:gd name="connsiteY25" fmla="*/ 485506 h 1435442"/>
              <a:gd name="connsiteX26" fmla="*/ 426002 w 3021543"/>
              <a:gd name="connsiteY26" fmla="*/ 487751 h 1435442"/>
              <a:gd name="connsiteX27" fmla="*/ 619271 w 3021543"/>
              <a:gd name="connsiteY27" fmla="*/ 493365 h 1435442"/>
              <a:gd name="connsiteX28" fmla="*/ 0 w 3021543"/>
              <a:gd name="connsiteY28" fmla="*/ 542762 h 1435442"/>
              <a:gd name="connsiteX29" fmla="*/ 83986 w 3021543"/>
              <a:gd name="connsiteY29" fmla="*/ 573075 h 1435442"/>
              <a:gd name="connsiteX30" fmla="*/ 112319 w 3021543"/>
              <a:gd name="connsiteY30" fmla="*/ 656154 h 1435442"/>
              <a:gd name="connsiteX31" fmla="*/ 215531 w 3021543"/>
              <a:gd name="connsiteY31" fmla="*/ 703306 h 1435442"/>
              <a:gd name="connsiteX32" fmla="*/ 282315 w 3021543"/>
              <a:gd name="connsiteY32" fmla="*/ 720147 h 1435442"/>
              <a:gd name="connsiteX33" fmla="*/ 435109 w 3021543"/>
              <a:gd name="connsiteY33" fmla="*/ 744846 h 1435442"/>
              <a:gd name="connsiteX34" fmla="*/ 457370 w 3021543"/>
              <a:gd name="connsiteY34" fmla="*/ 785263 h 1435442"/>
              <a:gd name="connsiteX35" fmla="*/ 476596 w 3021543"/>
              <a:gd name="connsiteY35" fmla="*/ 830170 h 1435442"/>
              <a:gd name="connsiteX36" fmla="*/ 517071 w 3021543"/>
              <a:gd name="connsiteY36" fmla="*/ 859360 h 1435442"/>
              <a:gd name="connsiteX37" fmla="*/ 202377 w 3021543"/>
              <a:gd name="connsiteY37" fmla="*/ 854869 h 1435442"/>
              <a:gd name="connsiteX38" fmla="*/ 557546 w 3021543"/>
              <a:gd name="connsiteY38" fmla="*/ 949175 h 1435442"/>
              <a:gd name="connsiteX39" fmla="*/ 526178 w 3021543"/>
              <a:gd name="connsiteY39" fmla="*/ 986223 h 1435442"/>
              <a:gd name="connsiteX40" fmla="*/ 720459 w 3021543"/>
              <a:gd name="connsiteY40" fmla="*/ 1036744 h 1435442"/>
              <a:gd name="connsiteX41" fmla="*/ 616236 w 3021543"/>
              <a:gd name="connsiteY41" fmla="*/ 1042357 h 1435442"/>
              <a:gd name="connsiteX42" fmla="*/ 1222353 w 3021543"/>
              <a:gd name="connsiteY42" fmla="*/ 1253422 h 1435442"/>
              <a:gd name="connsiteX43" fmla="*/ 2087511 w 3021543"/>
              <a:gd name="connsiteY43" fmla="*/ 1406107 h 1435442"/>
              <a:gd name="connsiteX44" fmla="*/ 2425479 w 3021543"/>
              <a:gd name="connsiteY44" fmla="*/ 1435297 h 1435442"/>
              <a:gd name="connsiteX45" fmla="*/ 2809994 w 3021543"/>
              <a:gd name="connsiteY45" fmla="*/ 1426315 h 1435442"/>
              <a:gd name="connsiteX46" fmla="*/ 2953618 w 3021543"/>
              <a:gd name="connsiteY46" fmla="*/ 1417071 h 1435442"/>
              <a:gd name="connsiteX47" fmla="*/ 3021543 w 3021543"/>
              <a:gd name="connsiteY47" fmla="*/ 1407897 h 143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21543" h="1435442">
                <a:moveTo>
                  <a:pt x="3021543" y="0"/>
                </a:moveTo>
                <a:lnTo>
                  <a:pt x="2963800" y="7242"/>
                </a:lnTo>
                <a:cubicBezTo>
                  <a:pt x="2907134" y="13978"/>
                  <a:pt x="2850469" y="22960"/>
                  <a:pt x="2793803" y="24082"/>
                </a:cubicBezTo>
                <a:cubicBezTo>
                  <a:pt x="2667318" y="27450"/>
                  <a:pt x="2539821" y="19592"/>
                  <a:pt x="2414348" y="29696"/>
                </a:cubicBezTo>
                <a:cubicBezTo>
                  <a:pt x="2307089" y="38677"/>
                  <a:pt x="2198818" y="28573"/>
                  <a:pt x="2091558" y="27450"/>
                </a:cubicBezTo>
                <a:cubicBezTo>
                  <a:pt x="1942812" y="26328"/>
                  <a:pt x="1793053" y="18469"/>
                  <a:pt x="1645319" y="28573"/>
                </a:cubicBezTo>
                <a:cubicBezTo>
                  <a:pt x="1510738" y="36432"/>
                  <a:pt x="1376158" y="38677"/>
                  <a:pt x="1243602" y="60008"/>
                </a:cubicBezTo>
                <a:cubicBezTo>
                  <a:pt x="1079677" y="71235"/>
                  <a:pt x="916765" y="64499"/>
                  <a:pt x="753851" y="57763"/>
                </a:cubicBezTo>
                <a:cubicBezTo>
                  <a:pt x="653675" y="53272"/>
                  <a:pt x="554511" y="38677"/>
                  <a:pt x="465465" y="116142"/>
                </a:cubicBezTo>
                <a:cubicBezTo>
                  <a:pt x="489751" y="134105"/>
                  <a:pt x="519095" y="130737"/>
                  <a:pt x="546416" y="136351"/>
                </a:cubicBezTo>
                <a:cubicBezTo>
                  <a:pt x="594986" y="147578"/>
                  <a:pt x="643557" y="158804"/>
                  <a:pt x="689091" y="180136"/>
                </a:cubicBezTo>
                <a:cubicBezTo>
                  <a:pt x="699210" y="184626"/>
                  <a:pt x="708317" y="193608"/>
                  <a:pt x="704269" y="208203"/>
                </a:cubicBezTo>
                <a:cubicBezTo>
                  <a:pt x="701234" y="219430"/>
                  <a:pt x="691115" y="219430"/>
                  <a:pt x="683020" y="221675"/>
                </a:cubicBezTo>
                <a:cubicBezTo>
                  <a:pt x="664806" y="228411"/>
                  <a:pt x="642545" y="223920"/>
                  <a:pt x="621295" y="247496"/>
                </a:cubicBezTo>
                <a:cubicBezTo>
                  <a:pt x="702245" y="259846"/>
                  <a:pt x="780160" y="236270"/>
                  <a:pt x="848968" y="285668"/>
                </a:cubicBezTo>
                <a:cubicBezTo>
                  <a:pt x="823671" y="310367"/>
                  <a:pt x="795339" y="304753"/>
                  <a:pt x="768018" y="309244"/>
                </a:cubicBezTo>
                <a:cubicBezTo>
                  <a:pt x="739685" y="313735"/>
                  <a:pt x="712365" y="321594"/>
                  <a:pt x="684032" y="326085"/>
                </a:cubicBezTo>
                <a:cubicBezTo>
                  <a:pt x="653675" y="331698"/>
                  <a:pt x="623319" y="332821"/>
                  <a:pt x="592962" y="338434"/>
                </a:cubicBezTo>
                <a:cubicBezTo>
                  <a:pt x="567666" y="342925"/>
                  <a:pt x="540345" y="335066"/>
                  <a:pt x="509988" y="363133"/>
                </a:cubicBezTo>
                <a:cubicBezTo>
                  <a:pt x="584867" y="383342"/>
                  <a:pt x="652663" y="353029"/>
                  <a:pt x="726531" y="373237"/>
                </a:cubicBezTo>
                <a:cubicBezTo>
                  <a:pt x="683020" y="391200"/>
                  <a:pt x="647604" y="385587"/>
                  <a:pt x="614212" y="395691"/>
                </a:cubicBezTo>
                <a:cubicBezTo>
                  <a:pt x="583855" y="405795"/>
                  <a:pt x="547428" y="394568"/>
                  <a:pt x="522131" y="424881"/>
                </a:cubicBezTo>
                <a:cubicBezTo>
                  <a:pt x="502905" y="448457"/>
                  <a:pt x="482668" y="451825"/>
                  <a:pt x="457370" y="438353"/>
                </a:cubicBezTo>
                <a:cubicBezTo>
                  <a:pt x="435109" y="426003"/>
                  <a:pt x="410824" y="429371"/>
                  <a:pt x="388562" y="441721"/>
                </a:cubicBezTo>
                <a:cubicBezTo>
                  <a:pt x="380468" y="446212"/>
                  <a:pt x="372372" y="451825"/>
                  <a:pt x="372372" y="463052"/>
                </a:cubicBezTo>
                <a:cubicBezTo>
                  <a:pt x="372372" y="478770"/>
                  <a:pt x="382491" y="483260"/>
                  <a:pt x="393622" y="485506"/>
                </a:cubicBezTo>
                <a:cubicBezTo>
                  <a:pt x="403741" y="487751"/>
                  <a:pt x="415883" y="489997"/>
                  <a:pt x="426002" y="487751"/>
                </a:cubicBezTo>
                <a:cubicBezTo>
                  <a:pt x="490762" y="475402"/>
                  <a:pt x="554511" y="495610"/>
                  <a:pt x="619271" y="493365"/>
                </a:cubicBezTo>
                <a:cubicBezTo>
                  <a:pt x="415883" y="541640"/>
                  <a:pt x="210471" y="525922"/>
                  <a:pt x="0" y="542762"/>
                </a:cubicBezTo>
                <a:cubicBezTo>
                  <a:pt x="27321" y="576443"/>
                  <a:pt x="62737" y="548376"/>
                  <a:pt x="83986" y="573075"/>
                </a:cubicBezTo>
                <a:cubicBezTo>
                  <a:pt x="63748" y="624719"/>
                  <a:pt x="71844" y="652785"/>
                  <a:pt x="112319" y="656154"/>
                </a:cubicBezTo>
                <a:cubicBezTo>
                  <a:pt x="151782" y="659522"/>
                  <a:pt x="194281" y="641559"/>
                  <a:pt x="215531" y="703306"/>
                </a:cubicBezTo>
                <a:cubicBezTo>
                  <a:pt x="221602" y="722392"/>
                  <a:pt x="259042" y="716779"/>
                  <a:pt x="282315" y="720147"/>
                </a:cubicBezTo>
                <a:cubicBezTo>
                  <a:pt x="332909" y="728005"/>
                  <a:pt x="386539" y="720147"/>
                  <a:pt x="435109" y="744846"/>
                </a:cubicBezTo>
                <a:cubicBezTo>
                  <a:pt x="454335" y="753827"/>
                  <a:pt x="467489" y="760563"/>
                  <a:pt x="457370" y="785263"/>
                </a:cubicBezTo>
                <a:cubicBezTo>
                  <a:pt x="447252" y="811084"/>
                  <a:pt x="460406" y="820066"/>
                  <a:pt x="476596" y="830170"/>
                </a:cubicBezTo>
                <a:cubicBezTo>
                  <a:pt x="488739" y="838028"/>
                  <a:pt x="506953" y="835783"/>
                  <a:pt x="517071" y="859360"/>
                </a:cubicBezTo>
                <a:cubicBezTo>
                  <a:pt x="410824" y="855992"/>
                  <a:pt x="307612" y="836906"/>
                  <a:pt x="202377" y="854869"/>
                </a:cubicBezTo>
                <a:cubicBezTo>
                  <a:pt x="317731" y="899776"/>
                  <a:pt x="444216" y="897531"/>
                  <a:pt x="557546" y="949175"/>
                </a:cubicBezTo>
                <a:cubicBezTo>
                  <a:pt x="553499" y="967137"/>
                  <a:pt x="527190" y="959278"/>
                  <a:pt x="526178" y="986223"/>
                </a:cubicBezTo>
                <a:cubicBezTo>
                  <a:pt x="585879" y="1014290"/>
                  <a:pt x="657723" y="995204"/>
                  <a:pt x="720459" y="1036744"/>
                </a:cubicBezTo>
                <a:cubicBezTo>
                  <a:pt x="684032" y="1055829"/>
                  <a:pt x="650640" y="1024394"/>
                  <a:pt x="616236" y="1042357"/>
                </a:cubicBezTo>
                <a:cubicBezTo>
                  <a:pt x="627367" y="1069302"/>
                  <a:pt x="1131283" y="1235459"/>
                  <a:pt x="1222353" y="1253422"/>
                </a:cubicBezTo>
                <a:cubicBezTo>
                  <a:pt x="1407527" y="1290470"/>
                  <a:pt x="1940788" y="1384776"/>
                  <a:pt x="2087511" y="1406107"/>
                </a:cubicBezTo>
                <a:cubicBezTo>
                  <a:pt x="2200841" y="1421824"/>
                  <a:pt x="2313160" y="1434174"/>
                  <a:pt x="2425479" y="1435297"/>
                </a:cubicBezTo>
                <a:cubicBezTo>
                  <a:pt x="2553988" y="1436419"/>
                  <a:pt x="2681485" y="1430806"/>
                  <a:pt x="2809994" y="1426315"/>
                </a:cubicBezTo>
                <a:cubicBezTo>
                  <a:pt x="2858058" y="1424631"/>
                  <a:pt x="2905933" y="1421684"/>
                  <a:pt x="2953618" y="1417071"/>
                </a:cubicBezTo>
                <a:lnTo>
                  <a:pt x="3021543" y="1407897"/>
                </a:lnTo>
                <a:close/>
              </a:path>
            </a:pathLst>
          </a:custGeom>
          <a:solidFill>
            <a:schemeClr val="accent1">
              <a:alpha val="20000"/>
            </a:schemeClr>
          </a:solidFill>
          <a:ln w="32707" cap="flat">
            <a:noFill/>
            <a:prstDash val="solid"/>
            <a:miter/>
          </a:ln>
        </p:spPr>
        <p:txBody>
          <a:bodyPr wrap="square" rtlCol="0" anchor="ctr">
            <a:noAutofit/>
          </a:bodyPr>
          <a:lstStyle/>
          <a:p>
            <a:endParaRPr lang="en-US" sz="1800"/>
          </a:p>
        </p:txBody>
      </p:sp>
      <p:sp>
        <p:nvSpPr>
          <p:cNvPr id="2" name="Title 1">
            <a:extLst>
              <a:ext uri="{FF2B5EF4-FFF2-40B4-BE49-F238E27FC236}">
                <a16:creationId xmlns:a16="http://schemas.microsoft.com/office/drawing/2014/main" id="{26030E26-A86A-417A-AA64-699AA8DD3DA5}"/>
              </a:ext>
            </a:extLst>
          </p:cNvPr>
          <p:cNvSpPr>
            <a:spLocks noGrp="1"/>
          </p:cNvSpPr>
          <p:nvPr>
            <p:ph type="title"/>
          </p:nvPr>
        </p:nvSpPr>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D19CF97E-0E6E-41E9-B75B-0371E744D1E8}"/>
              </a:ext>
            </a:extLst>
          </p:cNvPr>
          <p:cNvSpPr>
            <a:spLocks noGrp="1"/>
          </p:cNvSpPr>
          <p:nvPr>
            <p:ph idx="1"/>
          </p:nvPr>
        </p:nvSpPr>
        <p:spPr>
          <a:xfrm>
            <a:off x="838200" y="2011681"/>
            <a:ext cx="10515600" cy="15691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BAE770-8363-44CD-8A22-AB26C5C5361B}"/>
              </a:ext>
            </a:extLst>
          </p:cNvPr>
          <p:cNvSpPr>
            <a:spLocks noGrp="1"/>
          </p:cNvSpPr>
          <p:nvPr>
            <p:ph type="dt" sz="half" idx="10"/>
          </p:nvPr>
        </p:nvSpPr>
        <p:spPr/>
        <p:txBody>
          <a:bodyPr/>
          <a:lstStyle/>
          <a:p>
            <a:fld id="{3C04E684-10F4-4CC3-A0B9-F03AA7BE37CF}" type="datetimeFigureOut">
              <a:rPr lang="en-US" smtClean="0"/>
              <a:t>3/29/2021</a:t>
            </a:fld>
            <a:endParaRPr lang="en-US"/>
          </a:p>
        </p:txBody>
      </p:sp>
      <p:sp>
        <p:nvSpPr>
          <p:cNvPr id="5" name="Footer Placeholder 4">
            <a:extLst>
              <a:ext uri="{FF2B5EF4-FFF2-40B4-BE49-F238E27FC236}">
                <a16:creationId xmlns:a16="http://schemas.microsoft.com/office/drawing/2014/main" id="{36E618F2-3B8E-4449-91E7-F8AA496093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3428F0-E5C2-42A1-AB2F-1A19FFAD19CF}"/>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4092772390"/>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56907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24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401988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27406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361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382251"/>
            <a:ext cx="11018520" cy="615553"/>
          </a:xfrm>
        </p:spPr>
        <p:txBody>
          <a:bodyPr/>
          <a:lstStyle>
            <a:lvl1pPr>
              <a:defRPr sz="4000" b="0">
                <a:solidFill>
                  <a:schemeClr val="accent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4210404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1"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1624670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dirty="0"/>
              <a:t>Session code</a:t>
            </a:r>
          </a:p>
        </p:txBody>
      </p:sp>
    </p:spTree>
    <p:extLst>
      <p:ext uri="{BB962C8B-B14F-4D97-AF65-F5344CB8AC3E}">
        <p14:creationId xmlns:p14="http://schemas.microsoft.com/office/powerpoint/2010/main" val="2266553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752636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668217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59666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384951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30893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470346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2128203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7043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988225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9020637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0553648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85539043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380838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47016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8500077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848151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079089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749555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93265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184686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50212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00294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2952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75693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63731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74307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129781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20415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730545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5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60781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466191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62051"/>
            <a:ext cx="11022584" cy="2118016"/>
          </a:xfrm>
          <a:prstGeom prst="rect">
            <a:avLst/>
          </a:prstGeom>
          <a:noFill/>
        </p:spPr>
        <p:txBody>
          <a:bodyPr wrap="square" lIns="182854" tIns="146284" rIns="182854" bIns="14628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marR="0" lvl="0" indent="0" algn="ctr" defTabSz="931935"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marR="0" lvl="0" indent="0" algn="ctr" defTabSz="931935"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9"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2593956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612768"/>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31716602"/>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6B71AC10-0A8D-FD4F-9144-4780889F385A}"/>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6" name="Image" descr="Image">
            <a:extLst>
              <a:ext uri="{FF2B5EF4-FFF2-40B4-BE49-F238E27FC236}">
                <a16:creationId xmlns:a16="http://schemas.microsoft.com/office/drawing/2014/main" id="{47B816A4-8209-2048-B6D0-289DEAEF5D18}"/>
              </a:ext>
            </a:extLst>
          </p:cNvPr>
          <p:cNvPicPr>
            <a:picLocks noChangeAspect="1"/>
          </p:cNvPicPr>
          <p:nvPr userDrawn="1"/>
        </p:nvPicPr>
        <p:blipFill>
          <a:blip r:embed="rId3"/>
          <a:stretch>
            <a:fillRect/>
          </a:stretch>
        </p:blipFill>
        <p:spPr>
          <a:xfrm>
            <a:off x="0" y="702520"/>
            <a:ext cx="12190286" cy="6155481"/>
          </a:xfrm>
          <a:prstGeom prst="rect">
            <a:avLst/>
          </a:prstGeom>
          <a:ln w="12700">
            <a:miter lim="400000"/>
          </a:ln>
        </p:spPr>
      </p:pic>
      <p:sp>
        <p:nvSpPr>
          <p:cNvPr id="13" name="Subtitle 2">
            <a:extLst>
              <a:ext uri="{FF2B5EF4-FFF2-40B4-BE49-F238E27FC236}">
                <a16:creationId xmlns:a16="http://schemas.microsoft.com/office/drawing/2014/main" id="{A39E740C-6B6A-AF44-8726-801E0525B033}"/>
              </a:ext>
            </a:extLst>
          </p:cNvPr>
          <p:cNvSpPr>
            <a:spLocks noGrp="1"/>
          </p:cNvSpPr>
          <p:nvPr>
            <p:ph type="subTitle" idx="1" hasCustomPrompt="1"/>
          </p:nvPr>
        </p:nvSpPr>
        <p:spPr>
          <a:xfrm>
            <a:off x="584353" y="3837410"/>
            <a:ext cx="5511648" cy="420266"/>
          </a:xfrm>
          <a:prstGeom prst="rect">
            <a:avLst/>
          </a:prstGeom>
        </p:spPr>
        <p:txBody>
          <a:bodyPr lIns="0" tIns="0" rIns="0"/>
          <a:lstStyle>
            <a:lvl1pPr marL="0" indent="0" algn="l">
              <a:lnSpc>
                <a:spcPct val="100000"/>
              </a:lnSpc>
              <a:spcBef>
                <a:spcPts val="0"/>
              </a:spcBef>
              <a:buNone/>
              <a:defRPr sz="2200" cap="all" spc="280" baseline="0">
                <a:solidFill>
                  <a:schemeClr val="tx1"/>
                </a:solidFill>
                <a:latin typeface="Segoe UI" panose="020B0502040204020203" pitchFamily="34" charset="0"/>
                <a:cs typeface="Segoe UI"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Speaker name or subtitle, 22pt</a:t>
            </a:r>
          </a:p>
        </p:txBody>
      </p:sp>
      <p:grpSp>
        <p:nvGrpSpPr>
          <p:cNvPr id="10" name="Group 9">
            <a:extLst>
              <a:ext uri="{FF2B5EF4-FFF2-40B4-BE49-F238E27FC236}">
                <a16:creationId xmlns:a16="http://schemas.microsoft.com/office/drawing/2014/main" id="{EF8F013E-6FA7-5C4F-9D0A-EB84443842DB}"/>
              </a:ext>
            </a:extLst>
          </p:cNvPr>
          <p:cNvGrpSpPr/>
          <p:nvPr userDrawn="1"/>
        </p:nvGrpSpPr>
        <p:grpSpPr>
          <a:xfrm rot="5400000">
            <a:off x="10146364" y="2385921"/>
            <a:ext cx="6714479" cy="2229681"/>
            <a:chOff x="8270283" y="6177473"/>
            <a:chExt cx="12760035" cy="4236124"/>
          </a:xfrm>
        </p:grpSpPr>
        <p:pic>
          <p:nvPicPr>
            <p:cNvPr id="11" name="Image" descr="Image">
              <a:extLst>
                <a:ext uri="{FF2B5EF4-FFF2-40B4-BE49-F238E27FC236}">
                  <a16:creationId xmlns:a16="http://schemas.microsoft.com/office/drawing/2014/main" id="{5A4DE547-92A1-044D-B5D4-1665113CC01C}"/>
                </a:ext>
              </a:extLst>
            </p:cNvPr>
            <p:cNvPicPr>
              <a:picLocks noChangeAspect="1"/>
            </p:cNvPicPr>
            <p:nvPr userDrawn="1"/>
          </p:nvPicPr>
          <p:blipFill>
            <a:blip r:embed="rId4"/>
            <a:srcRect b="20208"/>
            <a:stretch>
              <a:fillRect/>
            </a:stretch>
          </p:blipFill>
          <p:spPr>
            <a:xfrm>
              <a:off x="9825738" y="6285642"/>
              <a:ext cx="11204580" cy="2819606"/>
            </a:xfrm>
            <a:prstGeom prst="rect">
              <a:avLst/>
            </a:prstGeom>
            <a:ln w="12700">
              <a:miter lim="400000"/>
            </a:ln>
          </p:spPr>
        </p:pic>
        <p:sp>
          <p:nvSpPr>
            <p:cNvPr id="12" name="R134 G97 B197…">
              <a:extLst>
                <a:ext uri="{FF2B5EF4-FFF2-40B4-BE49-F238E27FC236}">
                  <a16:creationId xmlns:a16="http://schemas.microsoft.com/office/drawing/2014/main" id="{E330689E-2D41-1C46-86F7-9A1160F37829}"/>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4" name="R59 G46 B88…">
              <a:extLst>
                <a:ext uri="{FF2B5EF4-FFF2-40B4-BE49-F238E27FC236}">
                  <a16:creationId xmlns:a16="http://schemas.microsoft.com/office/drawing/2014/main" id="{3F800971-ADAC-4347-B715-B4555CB24FDA}"/>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5" name="R213 G157 B255…">
              <a:extLst>
                <a:ext uri="{FF2B5EF4-FFF2-40B4-BE49-F238E27FC236}">
                  <a16:creationId xmlns:a16="http://schemas.microsoft.com/office/drawing/2014/main" id="{750D3DD1-127E-D647-80C5-7BD0F6E9CF25}"/>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6" name="R161 G133 B210…">
              <a:extLst>
                <a:ext uri="{FF2B5EF4-FFF2-40B4-BE49-F238E27FC236}">
                  <a16:creationId xmlns:a16="http://schemas.microsoft.com/office/drawing/2014/main" id="{ED4CDA45-5E01-3243-A90F-BB3DE2375CAB}"/>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7" name="R0 G120 B212…">
              <a:extLst>
                <a:ext uri="{FF2B5EF4-FFF2-40B4-BE49-F238E27FC236}">
                  <a16:creationId xmlns:a16="http://schemas.microsoft.com/office/drawing/2014/main" id="{85312296-97D8-6840-BB8B-63E20577CA51}"/>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8" name="R36 G58 B94…">
              <a:extLst>
                <a:ext uri="{FF2B5EF4-FFF2-40B4-BE49-F238E27FC236}">
                  <a16:creationId xmlns:a16="http://schemas.microsoft.com/office/drawing/2014/main" id="{B2160F5A-63C0-9846-A61F-4D24B8BDE9E3}"/>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9" name="R80 G230 B255…">
              <a:extLst>
                <a:ext uri="{FF2B5EF4-FFF2-40B4-BE49-F238E27FC236}">
                  <a16:creationId xmlns:a16="http://schemas.microsoft.com/office/drawing/2014/main" id="{89923A7C-BE87-8D42-A3FA-1DCE6B6F31F7}"/>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20" name="R40 G167 B233…">
              <a:extLst>
                <a:ext uri="{FF2B5EF4-FFF2-40B4-BE49-F238E27FC236}">
                  <a16:creationId xmlns:a16="http://schemas.microsoft.com/office/drawing/2014/main" id="{9ABDA324-B076-9A42-BA84-2DA3493FC71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1" name="R0 G133 B117   Hex #008575   C100 M15 Y60 K0   PMS 3285 C">
              <a:extLst>
                <a:ext uri="{FF2B5EF4-FFF2-40B4-BE49-F238E27FC236}">
                  <a16:creationId xmlns:a16="http://schemas.microsoft.com/office/drawing/2014/main" id="{C76ABFD5-F3B6-5344-87FF-F698D4F6A4B0}"/>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2" name="R39 G75 B71   Hex #274b47…">
              <a:extLst>
                <a:ext uri="{FF2B5EF4-FFF2-40B4-BE49-F238E27FC236}">
                  <a16:creationId xmlns:a16="http://schemas.microsoft.com/office/drawing/2014/main" id="{2AFD252E-1AEC-5741-B99C-5DAEA63DDF96}"/>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3" name="R48 G229 B208…">
              <a:extLst>
                <a:ext uri="{FF2B5EF4-FFF2-40B4-BE49-F238E27FC236}">
                  <a16:creationId xmlns:a16="http://schemas.microsoft.com/office/drawing/2014/main" id="{EAA41001-6B52-EF40-96D7-971948EABB98}"/>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4" name="R40 G194 B209…">
              <a:extLst>
                <a:ext uri="{FF2B5EF4-FFF2-40B4-BE49-F238E27FC236}">
                  <a16:creationId xmlns:a16="http://schemas.microsoft.com/office/drawing/2014/main" id="{B1CBFCA2-92F6-BD4A-972E-D3D37F347673}"/>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5" name="R16 G124 B16  Hex #107c10  C75 M0 Y100 K0   PMS 362 C">
              <a:extLst>
                <a:ext uri="{FF2B5EF4-FFF2-40B4-BE49-F238E27FC236}">
                  <a16:creationId xmlns:a16="http://schemas.microsoft.com/office/drawing/2014/main" id="{A2EC5BE3-EB70-0742-A12B-9681FB8CF09D}"/>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6" name="R5 G75 B22   Hex #054b16…">
              <a:extLst>
                <a:ext uri="{FF2B5EF4-FFF2-40B4-BE49-F238E27FC236}">
                  <a16:creationId xmlns:a16="http://schemas.microsoft.com/office/drawing/2014/main" id="{499712BF-D2E0-CD4C-87FA-862BB816B2FB}"/>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7" name="R155 G240 B11…">
              <a:extLst>
                <a:ext uri="{FF2B5EF4-FFF2-40B4-BE49-F238E27FC236}">
                  <a16:creationId xmlns:a16="http://schemas.microsoft.com/office/drawing/2014/main" id="{AFDA10FE-0491-E446-9CEE-FD84CD46EC75}"/>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8" name="R127 G186 B0…">
              <a:extLst>
                <a:ext uri="{FF2B5EF4-FFF2-40B4-BE49-F238E27FC236}">
                  <a16:creationId xmlns:a16="http://schemas.microsoft.com/office/drawing/2014/main" id="{CDE02636-0442-6743-AEE6-BFA7438CE50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9" name="R216 G59 B1…">
              <a:extLst>
                <a:ext uri="{FF2B5EF4-FFF2-40B4-BE49-F238E27FC236}">
                  <a16:creationId xmlns:a16="http://schemas.microsoft.com/office/drawing/2014/main" id="{6604AA48-78A9-814B-BF45-DB637BCCAA4E}"/>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30" name="R107 G41 B41…">
              <a:extLst>
                <a:ext uri="{FF2B5EF4-FFF2-40B4-BE49-F238E27FC236}">
                  <a16:creationId xmlns:a16="http://schemas.microsoft.com/office/drawing/2014/main" id="{BEF89C42-1CE3-4A44-B8E9-D950745167A6}"/>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1" name="R255 G147 B73…">
              <a:extLst>
                <a:ext uri="{FF2B5EF4-FFF2-40B4-BE49-F238E27FC236}">
                  <a16:creationId xmlns:a16="http://schemas.microsoft.com/office/drawing/2014/main" id="{C8CE703B-F93A-884F-87C7-7EF6ADE18CA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2" name="R241 G101 B34…">
              <a:extLst>
                <a:ext uri="{FF2B5EF4-FFF2-40B4-BE49-F238E27FC236}">
                  <a16:creationId xmlns:a16="http://schemas.microsoft.com/office/drawing/2014/main" id="{2B345FC2-522A-ED45-A540-A282F3A59672}"/>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3" name="R255 G185 B0…">
              <a:extLst>
                <a:ext uri="{FF2B5EF4-FFF2-40B4-BE49-F238E27FC236}">
                  <a16:creationId xmlns:a16="http://schemas.microsoft.com/office/drawing/2014/main" id="{61DB5B1C-BA87-E148-8BCA-F7BE00755B1F}"/>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4" name="R106 G75 B22…">
              <a:extLst>
                <a:ext uri="{FF2B5EF4-FFF2-40B4-BE49-F238E27FC236}">
                  <a16:creationId xmlns:a16="http://schemas.microsoft.com/office/drawing/2014/main" id="{7D9C2C93-5FA3-5C4E-864A-5C8EF86A619E}"/>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5" name="R254 G240 B0…">
              <a:extLst>
                <a:ext uri="{FF2B5EF4-FFF2-40B4-BE49-F238E27FC236}">
                  <a16:creationId xmlns:a16="http://schemas.microsoft.com/office/drawing/2014/main" id="{7DDB271E-F25E-C346-BA0E-E2FA851EAE04}"/>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6" name="R254 G212 B0…">
              <a:extLst>
                <a:ext uri="{FF2B5EF4-FFF2-40B4-BE49-F238E27FC236}">
                  <a16:creationId xmlns:a16="http://schemas.microsoft.com/office/drawing/2014/main" id="{FCB4BFC4-7870-CA40-890E-79B2345EFDDE}"/>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7" name="Image" descr="Image">
              <a:extLst>
                <a:ext uri="{FF2B5EF4-FFF2-40B4-BE49-F238E27FC236}">
                  <a16:creationId xmlns:a16="http://schemas.microsoft.com/office/drawing/2014/main" id="{F7CBA398-7286-4B48-A037-01C2789FD183}"/>
                </a:ext>
              </a:extLst>
            </p:cNvPr>
            <p:cNvPicPr>
              <a:picLocks noChangeAspect="1"/>
            </p:cNvPicPr>
            <p:nvPr userDrawn="1"/>
          </p:nvPicPr>
          <p:blipFill>
            <a:blip r:embed="rId5"/>
            <a:stretch>
              <a:fillRect/>
            </a:stretch>
          </p:blipFill>
          <p:spPr>
            <a:xfrm>
              <a:off x="9825738" y="9911907"/>
              <a:ext cx="11204576" cy="501690"/>
            </a:xfrm>
            <a:prstGeom prst="rect">
              <a:avLst/>
            </a:prstGeom>
            <a:ln w="12700">
              <a:miter lim="400000"/>
            </a:ln>
          </p:spPr>
        </p:pic>
        <p:sp>
          <p:nvSpPr>
            <p:cNvPr id="38" name="R242 G242 B242…">
              <a:extLst>
                <a:ext uri="{FF2B5EF4-FFF2-40B4-BE49-F238E27FC236}">
                  <a16:creationId xmlns:a16="http://schemas.microsoft.com/office/drawing/2014/main" id="{A9370A21-4217-F949-B5D0-CA4B1AE096E5}"/>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9" name="R230 G230 B230…">
              <a:extLst>
                <a:ext uri="{FF2B5EF4-FFF2-40B4-BE49-F238E27FC236}">
                  <a16:creationId xmlns:a16="http://schemas.microsoft.com/office/drawing/2014/main" id="{37A7C53A-A05D-2E46-8ACD-6E22AC65B67F}"/>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40" name="R210 G210 B210…">
              <a:extLst>
                <a:ext uri="{FF2B5EF4-FFF2-40B4-BE49-F238E27FC236}">
                  <a16:creationId xmlns:a16="http://schemas.microsoft.com/office/drawing/2014/main" id="{4B72FBD5-F4D3-5446-B0B0-999A325ED83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1" name="R115 G115 B115…">
              <a:extLst>
                <a:ext uri="{FF2B5EF4-FFF2-40B4-BE49-F238E27FC236}">
                  <a16:creationId xmlns:a16="http://schemas.microsoft.com/office/drawing/2014/main" id="{9DCC3AC4-7D4C-0D49-98EA-89E76DC2F3A6}"/>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2" name="R80 G80 B80…">
              <a:extLst>
                <a:ext uri="{FF2B5EF4-FFF2-40B4-BE49-F238E27FC236}">
                  <a16:creationId xmlns:a16="http://schemas.microsoft.com/office/drawing/2014/main" id="{AA230AEE-DB5A-A545-B1EF-145368A79C72}"/>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3" name="R47 G47 B47…">
              <a:extLst>
                <a:ext uri="{FF2B5EF4-FFF2-40B4-BE49-F238E27FC236}">
                  <a16:creationId xmlns:a16="http://schemas.microsoft.com/office/drawing/2014/main" id="{8D6C6E69-FAB2-254E-B990-6CE0F34084ED}"/>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4" name="R0 G0 B0…">
              <a:extLst>
                <a:ext uri="{FF2B5EF4-FFF2-40B4-BE49-F238E27FC236}">
                  <a16:creationId xmlns:a16="http://schemas.microsoft.com/office/drawing/2014/main" id="{A6F71D6F-3E3D-8C4B-85EC-362A9AE0A466}"/>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5" name="Primary">
              <a:extLst>
                <a:ext uri="{FF2B5EF4-FFF2-40B4-BE49-F238E27FC236}">
                  <a16:creationId xmlns:a16="http://schemas.microsoft.com/office/drawing/2014/main" id="{BAD793CC-879C-C349-9E33-94B0E3E443C9}"/>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6" name="Secondary">
              <a:extLst>
                <a:ext uri="{FF2B5EF4-FFF2-40B4-BE49-F238E27FC236}">
                  <a16:creationId xmlns:a16="http://schemas.microsoft.com/office/drawing/2014/main" id="{0DD59233-A460-A741-9E17-4A2830BACA67}"/>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7" name="Primary">
              <a:extLst>
                <a:ext uri="{FF2B5EF4-FFF2-40B4-BE49-F238E27FC236}">
                  <a16:creationId xmlns:a16="http://schemas.microsoft.com/office/drawing/2014/main" id="{B259ACDB-AD6E-5F40-9A46-7A59615320F9}"/>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8" name="Secondary">
              <a:extLst>
                <a:ext uri="{FF2B5EF4-FFF2-40B4-BE49-F238E27FC236}">
                  <a16:creationId xmlns:a16="http://schemas.microsoft.com/office/drawing/2014/main" id="{6F79FA09-BC14-C542-B12D-CB97534E57CF}"/>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pic>
        <p:nvPicPr>
          <p:cNvPr id="53" name="MS logo white - EMF" descr="Microsoft logo white text version">
            <a:extLst>
              <a:ext uri="{FF2B5EF4-FFF2-40B4-BE49-F238E27FC236}">
                <a16:creationId xmlns:a16="http://schemas.microsoft.com/office/drawing/2014/main" id="{1B6D98C7-492C-6440-A348-41EAAD24F494}"/>
              </a:ext>
            </a:extLst>
          </p:cNvPr>
          <p:cNvPicPr>
            <a:picLocks noChangeAspect="1"/>
          </p:cNvPicPr>
          <p:nvPr userDrawn="1"/>
        </p:nvPicPr>
        <p:blipFill>
          <a:blip r:embed="rId6"/>
          <a:stretch>
            <a:fillRect/>
          </a:stretch>
        </p:blipFill>
        <p:spPr bwMode="black">
          <a:xfrm>
            <a:off x="584353" y="585788"/>
            <a:ext cx="1366601" cy="292608"/>
          </a:xfrm>
          <a:prstGeom prst="rect">
            <a:avLst/>
          </a:prstGeom>
        </p:spPr>
      </p:pic>
      <p:sp>
        <p:nvSpPr>
          <p:cNvPr id="58" name="Title 1">
            <a:extLst>
              <a:ext uri="{FF2B5EF4-FFF2-40B4-BE49-F238E27FC236}">
                <a16:creationId xmlns:a16="http://schemas.microsoft.com/office/drawing/2014/main" id="{A15B51DA-2ECA-0D4D-95C1-F695C1A51764}"/>
              </a:ext>
            </a:extLst>
          </p:cNvPr>
          <p:cNvSpPr>
            <a:spLocks noGrp="1"/>
          </p:cNvSpPr>
          <p:nvPr>
            <p:ph type="title" hasCustomPrompt="1"/>
          </p:nvPr>
        </p:nvSpPr>
        <p:spPr>
          <a:xfrm>
            <a:off x="588416" y="2425541"/>
            <a:ext cx="5507584" cy="1107996"/>
          </a:xfrm>
          <a:prstGeom prst="rect">
            <a:avLst/>
          </a:prstGeom>
        </p:spPr>
        <p:txBody>
          <a:bodyPr wrap="square" lIns="0" tIns="0" rIns="0" bIns="0" anchor="b" anchorCtr="0">
            <a:spAutoFit/>
          </a:bodyPr>
          <a:lstStyle>
            <a:lvl1pPr marL="0" marR="0" indent="0" algn="l" defTabSz="412667" rtl="0" eaLnBrk="1" fontAlgn="auto" latinLnBrk="0" hangingPunct="1">
              <a:lnSpc>
                <a:spcPct val="100000"/>
              </a:lnSpc>
              <a:spcBef>
                <a:spcPts val="0"/>
              </a:spcBef>
              <a:spcAft>
                <a:spcPts val="0"/>
              </a:spcAft>
              <a:buClrTx/>
              <a:buSzTx/>
              <a:buFontTx/>
              <a:buNone/>
              <a:tabLst/>
              <a:defRPr sz="3600" b="0" i="0" kern="1200" spc="-50" baseline="0">
                <a:solidFill>
                  <a:schemeClr val="bg1"/>
                </a:solidFill>
                <a:latin typeface="Segoe UI Semibold" panose="020B0502040204020203" pitchFamily="34" charset="0"/>
                <a:cs typeface="Segoe UI Semibold" panose="020B0502040204020203" pitchFamily="34" charset="0"/>
              </a:defRPr>
            </a:lvl1pPr>
          </a:lstStyle>
          <a:p>
            <a:r>
              <a:rPr lang="en-US"/>
              <a:t>Event name or presentation title, 36pt</a:t>
            </a:r>
          </a:p>
        </p:txBody>
      </p:sp>
    </p:spTree>
    <p:extLst>
      <p:ext uri="{BB962C8B-B14F-4D97-AF65-F5344CB8AC3E}">
        <p14:creationId xmlns:p14="http://schemas.microsoft.com/office/powerpoint/2010/main" val="28891575"/>
      </p:ext>
    </p:extLst>
  </p:cSld>
  <p:clrMapOvr>
    <a:masterClrMapping/>
  </p:clrMapOvr>
  <p:extLst>
    <p:ext uri="{DCECCB84-F9BA-43D5-87BE-67443E8EF086}">
      <p15:sldGuideLst xmlns:p15="http://schemas.microsoft.com/office/powerpoint/2012/main"/>
    </p:ext>
  </p:extLs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with Description">
    <p:bg>
      <p:bgPr>
        <a:solidFill>
          <a:schemeClr val="tx2"/>
        </a:solidFill>
        <a:effectLst/>
      </p:bgPr>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6B71AC10-0A8D-FD4F-9144-4780889F385A}"/>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6" name="Image" descr="Image">
            <a:extLst>
              <a:ext uri="{FF2B5EF4-FFF2-40B4-BE49-F238E27FC236}">
                <a16:creationId xmlns:a16="http://schemas.microsoft.com/office/drawing/2014/main" id="{47B816A4-8209-2048-B6D0-289DEAEF5D18}"/>
              </a:ext>
            </a:extLst>
          </p:cNvPr>
          <p:cNvPicPr>
            <a:picLocks noChangeAspect="1"/>
          </p:cNvPicPr>
          <p:nvPr userDrawn="1"/>
        </p:nvPicPr>
        <p:blipFill>
          <a:blip r:embed="rId3"/>
          <a:stretch>
            <a:fillRect/>
          </a:stretch>
        </p:blipFill>
        <p:spPr>
          <a:xfrm>
            <a:off x="0" y="702520"/>
            <a:ext cx="12190286" cy="6155481"/>
          </a:xfrm>
          <a:prstGeom prst="rect">
            <a:avLst/>
          </a:prstGeom>
          <a:ln w="12700">
            <a:miter lim="400000"/>
          </a:ln>
        </p:spPr>
      </p:pic>
      <p:grpSp>
        <p:nvGrpSpPr>
          <p:cNvPr id="10" name="Group 9">
            <a:extLst>
              <a:ext uri="{FF2B5EF4-FFF2-40B4-BE49-F238E27FC236}">
                <a16:creationId xmlns:a16="http://schemas.microsoft.com/office/drawing/2014/main" id="{EF8F013E-6FA7-5C4F-9D0A-EB84443842DB}"/>
              </a:ext>
            </a:extLst>
          </p:cNvPr>
          <p:cNvGrpSpPr/>
          <p:nvPr userDrawn="1"/>
        </p:nvGrpSpPr>
        <p:grpSpPr>
          <a:xfrm rot="5400000">
            <a:off x="10146364" y="2385921"/>
            <a:ext cx="6714479" cy="2229681"/>
            <a:chOff x="8270283" y="6177473"/>
            <a:chExt cx="12760035" cy="4236124"/>
          </a:xfrm>
        </p:grpSpPr>
        <p:pic>
          <p:nvPicPr>
            <p:cNvPr id="11" name="Image" descr="Image">
              <a:extLst>
                <a:ext uri="{FF2B5EF4-FFF2-40B4-BE49-F238E27FC236}">
                  <a16:creationId xmlns:a16="http://schemas.microsoft.com/office/drawing/2014/main" id="{5A4DE547-92A1-044D-B5D4-1665113CC01C}"/>
                </a:ext>
              </a:extLst>
            </p:cNvPr>
            <p:cNvPicPr>
              <a:picLocks noChangeAspect="1"/>
            </p:cNvPicPr>
            <p:nvPr userDrawn="1"/>
          </p:nvPicPr>
          <p:blipFill>
            <a:blip r:embed="rId4"/>
            <a:srcRect b="20208"/>
            <a:stretch>
              <a:fillRect/>
            </a:stretch>
          </p:blipFill>
          <p:spPr>
            <a:xfrm>
              <a:off x="9825738" y="6285642"/>
              <a:ext cx="11204580" cy="2819606"/>
            </a:xfrm>
            <a:prstGeom prst="rect">
              <a:avLst/>
            </a:prstGeom>
            <a:ln w="12700">
              <a:miter lim="400000"/>
            </a:ln>
          </p:spPr>
        </p:pic>
        <p:sp>
          <p:nvSpPr>
            <p:cNvPr id="12" name="R134 G97 B197…">
              <a:extLst>
                <a:ext uri="{FF2B5EF4-FFF2-40B4-BE49-F238E27FC236}">
                  <a16:creationId xmlns:a16="http://schemas.microsoft.com/office/drawing/2014/main" id="{E330689E-2D41-1C46-86F7-9A1160F37829}"/>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4" name="R59 G46 B88…">
              <a:extLst>
                <a:ext uri="{FF2B5EF4-FFF2-40B4-BE49-F238E27FC236}">
                  <a16:creationId xmlns:a16="http://schemas.microsoft.com/office/drawing/2014/main" id="{3F800971-ADAC-4347-B715-B4555CB24FDA}"/>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5" name="R213 G157 B255…">
              <a:extLst>
                <a:ext uri="{FF2B5EF4-FFF2-40B4-BE49-F238E27FC236}">
                  <a16:creationId xmlns:a16="http://schemas.microsoft.com/office/drawing/2014/main" id="{750D3DD1-127E-D647-80C5-7BD0F6E9CF25}"/>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6" name="R161 G133 B210…">
              <a:extLst>
                <a:ext uri="{FF2B5EF4-FFF2-40B4-BE49-F238E27FC236}">
                  <a16:creationId xmlns:a16="http://schemas.microsoft.com/office/drawing/2014/main" id="{ED4CDA45-5E01-3243-A90F-BB3DE2375CAB}"/>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7" name="R0 G120 B212…">
              <a:extLst>
                <a:ext uri="{FF2B5EF4-FFF2-40B4-BE49-F238E27FC236}">
                  <a16:creationId xmlns:a16="http://schemas.microsoft.com/office/drawing/2014/main" id="{85312296-97D8-6840-BB8B-63E20577CA51}"/>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8" name="R36 G58 B94…">
              <a:extLst>
                <a:ext uri="{FF2B5EF4-FFF2-40B4-BE49-F238E27FC236}">
                  <a16:creationId xmlns:a16="http://schemas.microsoft.com/office/drawing/2014/main" id="{B2160F5A-63C0-9846-A61F-4D24B8BDE9E3}"/>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9" name="R80 G230 B255…">
              <a:extLst>
                <a:ext uri="{FF2B5EF4-FFF2-40B4-BE49-F238E27FC236}">
                  <a16:creationId xmlns:a16="http://schemas.microsoft.com/office/drawing/2014/main" id="{89923A7C-BE87-8D42-A3FA-1DCE6B6F31F7}"/>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20" name="R40 G167 B233…">
              <a:extLst>
                <a:ext uri="{FF2B5EF4-FFF2-40B4-BE49-F238E27FC236}">
                  <a16:creationId xmlns:a16="http://schemas.microsoft.com/office/drawing/2014/main" id="{9ABDA324-B076-9A42-BA84-2DA3493FC71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1" name="R0 G133 B117   Hex #008575   C100 M15 Y60 K0   PMS 3285 C">
              <a:extLst>
                <a:ext uri="{FF2B5EF4-FFF2-40B4-BE49-F238E27FC236}">
                  <a16:creationId xmlns:a16="http://schemas.microsoft.com/office/drawing/2014/main" id="{C76ABFD5-F3B6-5344-87FF-F698D4F6A4B0}"/>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2" name="R39 G75 B71   Hex #274b47…">
              <a:extLst>
                <a:ext uri="{FF2B5EF4-FFF2-40B4-BE49-F238E27FC236}">
                  <a16:creationId xmlns:a16="http://schemas.microsoft.com/office/drawing/2014/main" id="{2AFD252E-1AEC-5741-B99C-5DAEA63DDF96}"/>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3" name="R48 G229 B208…">
              <a:extLst>
                <a:ext uri="{FF2B5EF4-FFF2-40B4-BE49-F238E27FC236}">
                  <a16:creationId xmlns:a16="http://schemas.microsoft.com/office/drawing/2014/main" id="{EAA41001-6B52-EF40-96D7-971948EABB98}"/>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4" name="R40 G194 B209…">
              <a:extLst>
                <a:ext uri="{FF2B5EF4-FFF2-40B4-BE49-F238E27FC236}">
                  <a16:creationId xmlns:a16="http://schemas.microsoft.com/office/drawing/2014/main" id="{B1CBFCA2-92F6-BD4A-972E-D3D37F347673}"/>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5" name="R16 G124 B16  Hex #107c10  C75 M0 Y100 K0   PMS 362 C">
              <a:extLst>
                <a:ext uri="{FF2B5EF4-FFF2-40B4-BE49-F238E27FC236}">
                  <a16:creationId xmlns:a16="http://schemas.microsoft.com/office/drawing/2014/main" id="{A2EC5BE3-EB70-0742-A12B-9681FB8CF09D}"/>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6" name="R5 G75 B22   Hex #054b16…">
              <a:extLst>
                <a:ext uri="{FF2B5EF4-FFF2-40B4-BE49-F238E27FC236}">
                  <a16:creationId xmlns:a16="http://schemas.microsoft.com/office/drawing/2014/main" id="{499712BF-D2E0-CD4C-87FA-862BB816B2FB}"/>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7" name="R155 G240 B11…">
              <a:extLst>
                <a:ext uri="{FF2B5EF4-FFF2-40B4-BE49-F238E27FC236}">
                  <a16:creationId xmlns:a16="http://schemas.microsoft.com/office/drawing/2014/main" id="{AFDA10FE-0491-E446-9CEE-FD84CD46EC75}"/>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8" name="R127 G186 B0…">
              <a:extLst>
                <a:ext uri="{FF2B5EF4-FFF2-40B4-BE49-F238E27FC236}">
                  <a16:creationId xmlns:a16="http://schemas.microsoft.com/office/drawing/2014/main" id="{CDE02636-0442-6743-AEE6-BFA7438CE50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9" name="R216 G59 B1…">
              <a:extLst>
                <a:ext uri="{FF2B5EF4-FFF2-40B4-BE49-F238E27FC236}">
                  <a16:creationId xmlns:a16="http://schemas.microsoft.com/office/drawing/2014/main" id="{6604AA48-78A9-814B-BF45-DB637BCCAA4E}"/>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30" name="R107 G41 B41…">
              <a:extLst>
                <a:ext uri="{FF2B5EF4-FFF2-40B4-BE49-F238E27FC236}">
                  <a16:creationId xmlns:a16="http://schemas.microsoft.com/office/drawing/2014/main" id="{BEF89C42-1CE3-4A44-B8E9-D950745167A6}"/>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1" name="R255 G147 B73…">
              <a:extLst>
                <a:ext uri="{FF2B5EF4-FFF2-40B4-BE49-F238E27FC236}">
                  <a16:creationId xmlns:a16="http://schemas.microsoft.com/office/drawing/2014/main" id="{C8CE703B-F93A-884F-87C7-7EF6ADE18CA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2" name="R241 G101 B34…">
              <a:extLst>
                <a:ext uri="{FF2B5EF4-FFF2-40B4-BE49-F238E27FC236}">
                  <a16:creationId xmlns:a16="http://schemas.microsoft.com/office/drawing/2014/main" id="{2B345FC2-522A-ED45-A540-A282F3A59672}"/>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3" name="R255 G185 B0…">
              <a:extLst>
                <a:ext uri="{FF2B5EF4-FFF2-40B4-BE49-F238E27FC236}">
                  <a16:creationId xmlns:a16="http://schemas.microsoft.com/office/drawing/2014/main" id="{61DB5B1C-BA87-E148-8BCA-F7BE00755B1F}"/>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4" name="R106 G75 B22…">
              <a:extLst>
                <a:ext uri="{FF2B5EF4-FFF2-40B4-BE49-F238E27FC236}">
                  <a16:creationId xmlns:a16="http://schemas.microsoft.com/office/drawing/2014/main" id="{7D9C2C93-5FA3-5C4E-864A-5C8EF86A619E}"/>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5" name="R254 G240 B0…">
              <a:extLst>
                <a:ext uri="{FF2B5EF4-FFF2-40B4-BE49-F238E27FC236}">
                  <a16:creationId xmlns:a16="http://schemas.microsoft.com/office/drawing/2014/main" id="{7DDB271E-F25E-C346-BA0E-E2FA851EAE04}"/>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6" name="R254 G212 B0…">
              <a:extLst>
                <a:ext uri="{FF2B5EF4-FFF2-40B4-BE49-F238E27FC236}">
                  <a16:creationId xmlns:a16="http://schemas.microsoft.com/office/drawing/2014/main" id="{FCB4BFC4-7870-CA40-890E-79B2345EFDDE}"/>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7" name="Image" descr="Image">
              <a:extLst>
                <a:ext uri="{FF2B5EF4-FFF2-40B4-BE49-F238E27FC236}">
                  <a16:creationId xmlns:a16="http://schemas.microsoft.com/office/drawing/2014/main" id="{F7CBA398-7286-4B48-A037-01C2789FD183}"/>
                </a:ext>
              </a:extLst>
            </p:cNvPr>
            <p:cNvPicPr>
              <a:picLocks noChangeAspect="1"/>
            </p:cNvPicPr>
            <p:nvPr userDrawn="1"/>
          </p:nvPicPr>
          <p:blipFill>
            <a:blip r:embed="rId5"/>
            <a:stretch>
              <a:fillRect/>
            </a:stretch>
          </p:blipFill>
          <p:spPr>
            <a:xfrm>
              <a:off x="9825738" y="9911907"/>
              <a:ext cx="11204576" cy="501690"/>
            </a:xfrm>
            <a:prstGeom prst="rect">
              <a:avLst/>
            </a:prstGeom>
            <a:ln w="12700">
              <a:miter lim="400000"/>
            </a:ln>
          </p:spPr>
        </p:pic>
        <p:sp>
          <p:nvSpPr>
            <p:cNvPr id="38" name="R242 G242 B242…">
              <a:extLst>
                <a:ext uri="{FF2B5EF4-FFF2-40B4-BE49-F238E27FC236}">
                  <a16:creationId xmlns:a16="http://schemas.microsoft.com/office/drawing/2014/main" id="{A9370A21-4217-F949-B5D0-CA4B1AE096E5}"/>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9" name="R230 G230 B230…">
              <a:extLst>
                <a:ext uri="{FF2B5EF4-FFF2-40B4-BE49-F238E27FC236}">
                  <a16:creationId xmlns:a16="http://schemas.microsoft.com/office/drawing/2014/main" id="{37A7C53A-A05D-2E46-8ACD-6E22AC65B67F}"/>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40" name="R210 G210 B210…">
              <a:extLst>
                <a:ext uri="{FF2B5EF4-FFF2-40B4-BE49-F238E27FC236}">
                  <a16:creationId xmlns:a16="http://schemas.microsoft.com/office/drawing/2014/main" id="{4B72FBD5-F4D3-5446-B0B0-999A325ED83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1" name="R115 G115 B115…">
              <a:extLst>
                <a:ext uri="{FF2B5EF4-FFF2-40B4-BE49-F238E27FC236}">
                  <a16:creationId xmlns:a16="http://schemas.microsoft.com/office/drawing/2014/main" id="{9DCC3AC4-7D4C-0D49-98EA-89E76DC2F3A6}"/>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2" name="R80 G80 B80…">
              <a:extLst>
                <a:ext uri="{FF2B5EF4-FFF2-40B4-BE49-F238E27FC236}">
                  <a16:creationId xmlns:a16="http://schemas.microsoft.com/office/drawing/2014/main" id="{AA230AEE-DB5A-A545-B1EF-145368A79C72}"/>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3" name="R47 G47 B47…">
              <a:extLst>
                <a:ext uri="{FF2B5EF4-FFF2-40B4-BE49-F238E27FC236}">
                  <a16:creationId xmlns:a16="http://schemas.microsoft.com/office/drawing/2014/main" id="{8D6C6E69-FAB2-254E-B990-6CE0F34084ED}"/>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4" name="R0 G0 B0…">
              <a:extLst>
                <a:ext uri="{FF2B5EF4-FFF2-40B4-BE49-F238E27FC236}">
                  <a16:creationId xmlns:a16="http://schemas.microsoft.com/office/drawing/2014/main" id="{A6F71D6F-3E3D-8C4B-85EC-362A9AE0A466}"/>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5" name="Primary">
              <a:extLst>
                <a:ext uri="{FF2B5EF4-FFF2-40B4-BE49-F238E27FC236}">
                  <a16:creationId xmlns:a16="http://schemas.microsoft.com/office/drawing/2014/main" id="{BAD793CC-879C-C349-9E33-94B0E3E443C9}"/>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6" name="Secondary">
              <a:extLst>
                <a:ext uri="{FF2B5EF4-FFF2-40B4-BE49-F238E27FC236}">
                  <a16:creationId xmlns:a16="http://schemas.microsoft.com/office/drawing/2014/main" id="{0DD59233-A460-A741-9E17-4A2830BACA67}"/>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7" name="Primary">
              <a:extLst>
                <a:ext uri="{FF2B5EF4-FFF2-40B4-BE49-F238E27FC236}">
                  <a16:creationId xmlns:a16="http://schemas.microsoft.com/office/drawing/2014/main" id="{B259ACDB-AD6E-5F40-9A46-7A59615320F9}"/>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8" name="Secondary">
              <a:extLst>
                <a:ext uri="{FF2B5EF4-FFF2-40B4-BE49-F238E27FC236}">
                  <a16:creationId xmlns:a16="http://schemas.microsoft.com/office/drawing/2014/main" id="{6F79FA09-BC14-C542-B12D-CB97534E57CF}"/>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pic>
        <p:nvPicPr>
          <p:cNvPr id="53" name="MS logo white - EMF" descr="Microsoft logo white text version">
            <a:extLst>
              <a:ext uri="{FF2B5EF4-FFF2-40B4-BE49-F238E27FC236}">
                <a16:creationId xmlns:a16="http://schemas.microsoft.com/office/drawing/2014/main" id="{1B6D98C7-492C-6440-A348-41EAAD24F494}"/>
              </a:ext>
            </a:extLst>
          </p:cNvPr>
          <p:cNvPicPr>
            <a:picLocks noChangeAspect="1"/>
          </p:cNvPicPr>
          <p:nvPr userDrawn="1"/>
        </p:nvPicPr>
        <p:blipFill>
          <a:blip r:embed="rId6"/>
          <a:stretch>
            <a:fillRect/>
          </a:stretch>
        </p:blipFill>
        <p:spPr bwMode="black">
          <a:xfrm>
            <a:off x="584353" y="585788"/>
            <a:ext cx="1366601" cy="292608"/>
          </a:xfrm>
          <a:prstGeom prst="rect">
            <a:avLst/>
          </a:prstGeom>
        </p:spPr>
      </p:pic>
      <p:sp>
        <p:nvSpPr>
          <p:cNvPr id="49" name="Text Placeholder 9">
            <a:extLst>
              <a:ext uri="{FF2B5EF4-FFF2-40B4-BE49-F238E27FC236}">
                <a16:creationId xmlns:a16="http://schemas.microsoft.com/office/drawing/2014/main" id="{D84AE76E-0F8E-4E4F-AA81-912BDA9A432D}"/>
              </a:ext>
            </a:extLst>
          </p:cNvPr>
          <p:cNvSpPr>
            <a:spLocks noGrp="1"/>
          </p:cNvSpPr>
          <p:nvPr>
            <p:ph type="body" sz="quarter" idx="10" hasCustomPrompt="1"/>
          </p:nvPr>
        </p:nvSpPr>
        <p:spPr>
          <a:xfrm>
            <a:off x="584352" y="3765413"/>
            <a:ext cx="5511648" cy="1292883"/>
          </a:xfrm>
          <a:prstGeom prst="rect">
            <a:avLst/>
          </a:prstGeom>
        </p:spPr>
        <p:txBody>
          <a:bodyPr lIns="0" tIns="0" rIns="0" bIns="0">
            <a:normAutofit/>
          </a:bodyPr>
          <a:lstStyle>
            <a:lvl1pPr marL="0" indent="0">
              <a:buNone/>
              <a:defRPr sz="2000" b="0" i="0" spc="0" baseline="0">
                <a:solidFill>
                  <a:schemeClr val="bg1"/>
                </a:solidFill>
                <a:latin typeface="Segoe UI" panose="020B0502040204020203" pitchFamily="34" charset="0"/>
                <a:cs typeface="Segoe UI" panose="020B0502040204020203" pitchFamily="34" charset="0"/>
              </a:defRPr>
            </a:lvl1pPr>
          </a:lstStyle>
          <a:p>
            <a:pPr lvl="0"/>
            <a:r>
              <a:rPr lang="en-US"/>
              <a:t>Body copy, 20pt</a:t>
            </a:r>
          </a:p>
        </p:txBody>
      </p:sp>
      <p:sp>
        <p:nvSpPr>
          <p:cNvPr id="50" name="Subtitle 2">
            <a:extLst>
              <a:ext uri="{FF2B5EF4-FFF2-40B4-BE49-F238E27FC236}">
                <a16:creationId xmlns:a16="http://schemas.microsoft.com/office/drawing/2014/main" id="{A018086F-C34A-3C41-8B4C-2D6A83134E1B}"/>
              </a:ext>
            </a:extLst>
          </p:cNvPr>
          <p:cNvSpPr>
            <a:spLocks noGrp="1"/>
          </p:cNvSpPr>
          <p:nvPr>
            <p:ph type="subTitle" idx="1" hasCustomPrompt="1"/>
          </p:nvPr>
        </p:nvSpPr>
        <p:spPr>
          <a:xfrm>
            <a:off x="584353" y="2855881"/>
            <a:ext cx="5511647" cy="338554"/>
          </a:xfrm>
          <a:prstGeom prst="rect">
            <a:avLst/>
          </a:prstGeom>
        </p:spPr>
        <p:txBody>
          <a:bodyPr lIns="0" tIns="0" rIns="0" bIns="0">
            <a:spAutoFit/>
          </a:bodyPr>
          <a:lstStyle>
            <a:lvl1pPr marL="0" indent="0" algn="l">
              <a:lnSpc>
                <a:spcPct val="100000"/>
              </a:lnSpc>
              <a:spcBef>
                <a:spcPts val="0"/>
              </a:spcBef>
              <a:buNone/>
              <a:defRPr sz="2200" cap="all" spc="280" baseline="0">
                <a:solidFill>
                  <a:schemeClr val="tx1"/>
                </a:solidFill>
                <a:latin typeface="Segoe UI" panose="020B0502040204020203" pitchFamily="34" charset="0"/>
                <a:cs typeface="Segoe UI"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Speaker name or subtitle, 22pt</a:t>
            </a:r>
          </a:p>
        </p:txBody>
      </p:sp>
      <p:sp>
        <p:nvSpPr>
          <p:cNvPr id="51" name="Title 1">
            <a:extLst>
              <a:ext uri="{FF2B5EF4-FFF2-40B4-BE49-F238E27FC236}">
                <a16:creationId xmlns:a16="http://schemas.microsoft.com/office/drawing/2014/main" id="{D66AECF4-4A52-E344-9154-5AF177201204}"/>
              </a:ext>
            </a:extLst>
          </p:cNvPr>
          <p:cNvSpPr>
            <a:spLocks noGrp="1"/>
          </p:cNvSpPr>
          <p:nvPr>
            <p:ph type="title" hasCustomPrompt="1"/>
          </p:nvPr>
        </p:nvSpPr>
        <p:spPr>
          <a:xfrm>
            <a:off x="588416" y="1444012"/>
            <a:ext cx="5507584" cy="1107996"/>
          </a:xfrm>
          <a:prstGeom prst="rect">
            <a:avLst/>
          </a:prstGeom>
        </p:spPr>
        <p:txBody>
          <a:bodyPr wrap="square" lIns="0" tIns="0" rIns="0" bIns="0" anchor="b" anchorCtr="0">
            <a:spAutoFit/>
          </a:bodyPr>
          <a:lstStyle>
            <a:lvl1pPr marL="0" marR="0" indent="0" algn="l" defTabSz="412667" rtl="0" eaLnBrk="1" fontAlgn="auto" latinLnBrk="0" hangingPunct="1">
              <a:lnSpc>
                <a:spcPct val="100000"/>
              </a:lnSpc>
              <a:spcBef>
                <a:spcPts val="0"/>
              </a:spcBef>
              <a:spcAft>
                <a:spcPts val="0"/>
              </a:spcAft>
              <a:buClrTx/>
              <a:buSzTx/>
              <a:buFontTx/>
              <a:buNone/>
              <a:tabLst/>
              <a:defRPr sz="3600" b="0" i="0" kern="1200" spc="-50" baseline="0">
                <a:solidFill>
                  <a:schemeClr val="bg1"/>
                </a:solidFill>
                <a:latin typeface="Segoe UI Semibold" panose="020B0502040204020203" pitchFamily="34" charset="0"/>
                <a:cs typeface="Segoe UI Semibold" panose="020B0502040204020203" pitchFamily="34" charset="0"/>
              </a:defRPr>
            </a:lvl1pPr>
          </a:lstStyle>
          <a:p>
            <a:r>
              <a:rPr lang="en-US"/>
              <a:t>Event name or presentation title, 36pt</a:t>
            </a:r>
          </a:p>
        </p:txBody>
      </p:sp>
    </p:spTree>
    <p:extLst>
      <p:ext uri="{BB962C8B-B14F-4D97-AF65-F5344CB8AC3E}">
        <p14:creationId xmlns:p14="http://schemas.microsoft.com/office/powerpoint/2010/main" val="2446475272"/>
      </p:ext>
    </p:extLst>
  </p:cSld>
  <p:clrMapOvr>
    <a:masterClrMapping/>
  </p:clrMapOvr>
  <p:extLst>
    <p:ext uri="{DCECCB84-F9BA-43D5-87BE-67443E8EF086}">
      <p15:sldGuideLst xmlns:p15="http://schemas.microsoft.com/office/powerpoint/2012/main"/>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2"/>
        </a:solidFill>
        <a:effectLst/>
      </p:bgPr>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6B71AC10-0A8D-FD4F-9144-4780889F385A}"/>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6" name="Image" descr="Image">
            <a:extLst>
              <a:ext uri="{FF2B5EF4-FFF2-40B4-BE49-F238E27FC236}">
                <a16:creationId xmlns:a16="http://schemas.microsoft.com/office/drawing/2014/main" id="{47B816A4-8209-2048-B6D0-289DEAEF5D18}"/>
              </a:ext>
            </a:extLst>
          </p:cNvPr>
          <p:cNvPicPr>
            <a:picLocks noChangeAspect="1"/>
          </p:cNvPicPr>
          <p:nvPr userDrawn="1"/>
        </p:nvPicPr>
        <p:blipFill>
          <a:blip r:embed="rId3"/>
          <a:stretch>
            <a:fillRect/>
          </a:stretch>
        </p:blipFill>
        <p:spPr>
          <a:xfrm>
            <a:off x="0" y="702520"/>
            <a:ext cx="12190286" cy="6155481"/>
          </a:xfrm>
          <a:prstGeom prst="rect">
            <a:avLst/>
          </a:prstGeom>
          <a:ln w="12700">
            <a:miter lim="400000"/>
          </a:ln>
        </p:spPr>
      </p:pic>
      <p:grpSp>
        <p:nvGrpSpPr>
          <p:cNvPr id="10" name="Group 9">
            <a:extLst>
              <a:ext uri="{FF2B5EF4-FFF2-40B4-BE49-F238E27FC236}">
                <a16:creationId xmlns:a16="http://schemas.microsoft.com/office/drawing/2014/main" id="{EF8F013E-6FA7-5C4F-9D0A-EB84443842DB}"/>
              </a:ext>
            </a:extLst>
          </p:cNvPr>
          <p:cNvGrpSpPr/>
          <p:nvPr userDrawn="1"/>
        </p:nvGrpSpPr>
        <p:grpSpPr>
          <a:xfrm rot="5400000">
            <a:off x="10146364" y="2385921"/>
            <a:ext cx="6714479" cy="2229681"/>
            <a:chOff x="8270283" y="6177473"/>
            <a:chExt cx="12760035" cy="4236124"/>
          </a:xfrm>
        </p:grpSpPr>
        <p:pic>
          <p:nvPicPr>
            <p:cNvPr id="11" name="Image" descr="Image">
              <a:extLst>
                <a:ext uri="{FF2B5EF4-FFF2-40B4-BE49-F238E27FC236}">
                  <a16:creationId xmlns:a16="http://schemas.microsoft.com/office/drawing/2014/main" id="{5A4DE547-92A1-044D-B5D4-1665113CC01C}"/>
                </a:ext>
              </a:extLst>
            </p:cNvPr>
            <p:cNvPicPr>
              <a:picLocks noChangeAspect="1"/>
            </p:cNvPicPr>
            <p:nvPr userDrawn="1"/>
          </p:nvPicPr>
          <p:blipFill>
            <a:blip r:embed="rId4"/>
            <a:srcRect b="20208"/>
            <a:stretch>
              <a:fillRect/>
            </a:stretch>
          </p:blipFill>
          <p:spPr>
            <a:xfrm>
              <a:off x="9825738" y="6285642"/>
              <a:ext cx="11204580" cy="2819606"/>
            </a:xfrm>
            <a:prstGeom prst="rect">
              <a:avLst/>
            </a:prstGeom>
            <a:ln w="12700">
              <a:miter lim="400000"/>
            </a:ln>
          </p:spPr>
        </p:pic>
        <p:sp>
          <p:nvSpPr>
            <p:cNvPr id="12" name="R134 G97 B197…">
              <a:extLst>
                <a:ext uri="{FF2B5EF4-FFF2-40B4-BE49-F238E27FC236}">
                  <a16:creationId xmlns:a16="http://schemas.microsoft.com/office/drawing/2014/main" id="{E330689E-2D41-1C46-86F7-9A1160F37829}"/>
                </a:ext>
              </a:extLst>
            </p:cNvPr>
            <p:cNvSpPr txBox="1"/>
            <p:nvPr userDrawn="1"/>
          </p:nvSpPr>
          <p:spPr>
            <a:xfrm>
              <a:off x="1002816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34 G97 B197</a:t>
              </a:r>
            </a:p>
          </p:txBody>
        </p:sp>
        <p:sp>
          <p:nvSpPr>
            <p:cNvPr id="14" name="R59 G46 B88…">
              <a:extLst>
                <a:ext uri="{FF2B5EF4-FFF2-40B4-BE49-F238E27FC236}">
                  <a16:creationId xmlns:a16="http://schemas.microsoft.com/office/drawing/2014/main" id="{3F800971-ADAC-4347-B715-B4555CB24FDA}"/>
                </a:ext>
              </a:extLst>
            </p:cNvPr>
            <p:cNvSpPr txBox="1"/>
            <p:nvPr userDrawn="1"/>
          </p:nvSpPr>
          <p:spPr>
            <a:xfrm>
              <a:off x="11822346"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59 G46 B88</a:t>
              </a:r>
            </a:p>
          </p:txBody>
        </p:sp>
        <p:sp>
          <p:nvSpPr>
            <p:cNvPr id="15" name="R213 G157 B255…">
              <a:extLst>
                <a:ext uri="{FF2B5EF4-FFF2-40B4-BE49-F238E27FC236}">
                  <a16:creationId xmlns:a16="http://schemas.microsoft.com/office/drawing/2014/main" id="{750D3DD1-127E-D647-80C5-7BD0F6E9CF25}"/>
                </a:ext>
              </a:extLst>
            </p:cNvPr>
            <p:cNvSpPr txBox="1"/>
            <p:nvPr userDrawn="1"/>
          </p:nvSpPr>
          <p:spPr>
            <a:xfrm>
              <a:off x="10028161"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6" name="R161 G133 B210…">
              <a:extLst>
                <a:ext uri="{FF2B5EF4-FFF2-40B4-BE49-F238E27FC236}">
                  <a16:creationId xmlns:a16="http://schemas.microsoft.com/office/drawing/2014/main" id="{ED4CDA45-5E01-3243-A90F-BB3DE2375CAB}"/>
                </a:ext>
              </a:extLst>
            </p:cNvPr>
            <p:cNvSpPr txBox="1"/>
            <p:nvPr userDrawn="1"/>
          </p:nvSpPr>
          <p:spPr>
            <a:xfrm>
              <a:off x="11822346"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61 G133 B210</a:t>
              </a:r>
            </a:p>
          </p:txBody>
        </p:sp>
        <p:sp>
          <p:nvSpPr>
            <p:cNvPr id="17" name="R0 G120 B212…">
              <a:extLst>
                <a:ext uri="{FF2B5EF4-FFF2-40B4-BE49-F238E27FC236}">
                  <a16:creationId xmlns:a16="http://schemas.microsoft.com/office/drawing/2014/main" id="{85312296-97D8-6840-BB8B-63E20577CA51}"/>
                </a:ext>
              </a:extLst>
            </p:cNvPr>
            <p:cNvSpPr txBox="1"/>
            <p:nvPr userDrawn="1"/>
          </p:nvSpPr>
          <p:spPr>
            <a:xfrm>
              <a:off x="13882762"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120 B212 </a:t>
              </a:r>
            </a:p>
          </p:txBody>
        </p:sp>
        <p:sp>
          <p:nvSpPr>
            <p:cNvPr id="18" name="R36 G58 B94…">
              <a:extLst>
                <a:ext uri="{FF2B5EF4-FFF2-40B4-BE49-F238E27FC236}">
                  <a16:creationId xmlns:a16="http://schemas.microsoft.com/office/drawing/2014/main" id="{B2160F5A-63C0-9846-A61F-4D24B8BDE9E3}"/>
                </a:ext>
              </a:extLst>
            </p:cNvPr>
            <p:cNvSpPr txBox="1"/>
            <p:nvPr userDrawn="1"/>
          </p:nvSpPr>
          <p:spPr>
            <a:xfrm>
              <a:off x="1567694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9" name="R80 G230 B255…">
              <a:extLst>
                <a:ext uri="{FF2B5EF4-FFF2-40B4-BE49-F238E27FC236}">
                  <a16:creationId xmlns:a16="http://schemas.microsoft.com/office/drawing/2014/main" id="{89923A7C-BE87-8D42-A3FA-1DCE6B6F31F7}"/>
                </a:ext>
              </a:extLst>
            </p:cNvPr>
            <p:cNvSpPr txBox="1"/>
            <p:nvPr userDrawn="1"/>
          </p:nvSpPr>
          <p:spPr>
            <a:xfrm>
              <a:off x="13882762"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20" name="R40 G167 B233…">
              <a:extLst>
                <a:ext uri="{FF2B5EF4-FFF2-40B4-BE49-F238E27FC236}">
                  <a16:creationId xmlns:a16="http://schemas.microsoft.com/office/drawing/2014/main" id="{9ABDA324-B076-9A42-BA84-2DA3493FC713}"/>
                </a:ext>
              </a:extLst>
            </p:cNvPr>
            <p:cNvSpPr txBox="1"/>
            <p:nvPr userDrawn="1"/>
          </p:nvSpPr>
          <p:spPr>
            <a:xfrm>
              <a:off x="15676945"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0 G167 B233</a:t>
              </a:r>
            </a:p>
          </p:txBody>
        </p:sp>
        <p:sp>
          <p:nvSpPr>
            <p:cNvPr id="21" name="R0 G133 B117   Hex #008575   C100 M15 Y60 K0   PMS 3285 C">
              <a:extLst>
                <a:ext uri="{FF2B5EF4-FFF2-40B4-BE49-F238E27FC236}">
                  <a16:creationId xmlns:a16="http://schemas.microsoft.com/office/drawing/2014/main" id="{C76ABFD5-F3B6-5344-87FF-F698D4F6A4B0}"/>
                </a:ext>
              </a:extLst>
            </p:cNvPr>
            <p:cNvSpPr txBox="1"/>
            <p:nvPr userDrawn="1"/>
          </p:nvSpPr>
          <p:spPr>
            <a:xfrm>
              <a:off x="17737362"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133 B117 </a:t>
              </a:r>
            </a:p>
          </p:txBody>
        </p:sp>
        <p:sp>
          <p:nvSpPr>
            <p:cNvPr id="22" name="R39 G75 B71   Hex #274b47…">
              <a:extLst>
                <a:ext uri="{FF2B5EF4-FFF2-40B4-BE49-F238E27FC236}">
                  <a16:creationId xmlns:a16="http://schemas.microsoft.com/office/drawing/2014/main" id="{2AFD252E-1AEC-5741-B99C-5DAEA63DDF96}"/>
                </a:ext>
              </a:extLst>
            </p:cNvPr>
            <p:cNvSpPr txBox="1"/>
            <p:nvPr userDrawn="1"/>
          </p:nvSpPr>
          <p:spPr>
            <a:xfrm>
              <a:off x="19531545" y="6555303"/>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39 G75 B71 </a:t>
              </a:r>
            </a:p>
          </p:txBody>
        </p:sp>
        <p:sp>
          <p:nvSpPr>
            <p:cNvPr id="23" name="R48 G229 B208…">
              <a:extLst>
                <a:ext uri="{FF2B5EF4-FFF2-40B4-BE49-F238E27FC236}">
                  <a16:creationId xmlns:a16="http://schemas.microsoft.com/office/drawing/2014/main" id="{EAA41001-6B52-EF40-96D7-971948EABB98}"/>
                </a:ext>
              </a:extLst>
            </p:cNvPr>
            <p:cNvSpPr txBox="1"/>
            <p:nvPr userDrawn="1"/>
          </p:nvSpPr>
          <p:spPr>
            <a:xfrm>
              <a:off x="17737362" y="723297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4" name="R40 G194 B209…">
              <a:extLst>
                <a:ext uri="{FF2B5EF4-FFF2-40B4-BE49-F238E27FC236}">
                  <a16:creationId xmlns:a16="http://schemas.microsoft.com/office/drawing/2014/main" id="{B1CBFCA2-92F6-BD4A-972E-D3D37F347673}"/>
                </a:ext>
              </a:extLst>
            </p:cNvPr>
            <p:cNvSpPr txBox="1"/>
            <p:nvPr userDrawn="1"/>
          </p:nvSpPr>
          <p:spPr>
            <a:xfrm>
              <a:off x="19531545" y="7159864"/>
              <a:ext cx="1296343" cy="4874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5" name="R16 G124 B16  Hex #107c10  C75 M0 Y100 K0   PMS 362 C">
              <a:extLst>
                <a:ext uri="{FF2B5EF4-FFF2-40B4-BE49-F238E27FC236}">
                  <a16:creationId xmlns:a16="http://schemas.microsoft.com/office/drawing/2014/main" id="{A2EC5BE3-EB70-0742-A12B-9681FB8CF09D}"/>
                </a:ext>
              </a:extLst>
            </p:cNvPr>
            <p:cNvSpPr txBox="1"/>
            <p:nvPr userDrawn="1"/>
          </p:nvSpPr>
          <p:spPr>
            <a:xfrm>
              <a:off x="10028165"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6 G124 B16 </a:t>
              </a:r>
            </a:p>
          </p:txBody>
        </p:sp>
        <p:sp>
          <p:nvSpPr>
            <p:cNvPr id="26" name="R5 G75 B22   Hex #054b16…">
              <a:extLst>
                <a:ext uri="{FF2B5EF4-FFF2-40B4-BE49-F238E27FC236}">
                  <a16:creationId xmlns:a16="http://schemas.microsoft.com/office/drawing/2014/main" id="{499712BF-D2E0-CD4C-87FA-862BB816B2FB}"/>
                </a:ext>
              </a:extLst>
            </p:cNvPr>
            <p:cNvSpPr txBox="1"/>
            <p:nvPr userDrawn="1"/>
          </p:nvSpPr>
          <p:spPr>
            <a:xfrm>
              <a:off x="11822348" y="8063328"/>
              <a:ext cx="1296343" cy="4874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7" name="R155 G240 B11…">
              <a:extLst>
                <a:ext uri="{FF2B5EF4-FFF2-40B4-BE49-F238E27FC236}">
                  <a16:creationId xmlns:a16="http://schemas.microsoft.com/office/drawing/2014/main" id="{AFDA10FE-0491-E446-9CEE-FD84CD46EC75}"/>
                </a:ext>
              </a:extLst>
            </p:cNvPr>
            <p:cNvSpPr txBox="1"/>
            <p:nvPr userDrawn="1"/>
          </p:nvSpPr>
          <p:spPr>
            <a:xfrm>
              <a:off x="10028165"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8" name="R127 G186 B0…">
              <a:extLst>
                <a:ext uri="{FF2B5EF4-FFF2-40B4-BE49-F238E27FC236}">
                  <a16:creationId xmlns:a16="http://schemas.microsoft.com/office/drawing/2014/main" id="{CDE02636-0442-6743-AEE6-BFA7438CE50A}"/>
                </a:ext>
              </a:extLst>
            </p:cNvPr>
            <p:cNvSpPr txBox="1"/>
            <p:nvPr userDrawn="1"/>
          </p:nvSpPr>
          <p:spPr>
            <a:xfrm>
              <a:off x="11822346"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27 G186 B0</a:t>
              </a:r>
            </a:p>
          </p:txBody>
        </p:sp>
        <p:sp>
          <p:nvSpPr>
            <p:cNvPr id="29" name="R216 G59 B1…">
              <a:extLst>
                <a:ext uri="{FF2B5EF4-FFF2-40B4-BE49-F238E27FC236}">
                  <a16:creationId xmlns:a16="http://schemas.microsoft.com/office/drawing/2014/main" id="{6604AA48-78A9-814B-BF45-DB637BCCAA4E}"/>
                </a:ext>
              </a:extLst>
            </p:cNvPr>
            <p:cNvSpPr txBox="1"/>
            <p:nvPr userDrawn="1"/>
          </p:nvSpPr>
          <p:spPr>
            <a:xfrm>
              <a:off x="13882762"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30" name="R107 G41 B41…">
              <a:extLst>
                <a:ext uri="{FF2B5EF4-FFF2-40B4-BE49-F238E27FC236}">
                  <a16:creationId xmlns:a16="http://schemas.microsoft.com/office/drawing/2014/main" id="{BEF89C42-1CE3-4A44-B8E9-D950745167A6}"/>
                </a:ext>
              </a:extLst>
            </p:cNvPr>
            <p:cNvSpPr txBox="1"/>
            <p:nvPr userDrawn="1"/>
          </p:nvSpPr>
          <p:spPr>
            <a:xfrm>
              <a:off x="15676943"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07 G41 B41 </a:t>
              </a:r>
            </a:p>
          </p:txBody>
        </p:sp>
        <p:sp>
          <p:nvSpPr>
            <p:cNvPr id="31" name="R255 G147 B73…">
              <a:extLst>
                <a:ext uri="{FF2B5EF4-FFF2-40B4-BE49-F238E27FC236}">
                  <a16:creationId xmlns:a16="http://schemas.microsoft.com/office/drawing/2014/main" id="{C8CE703B-F93A-884F-87C7-7EF6ADE18CA4}"/>
                </a:ext>
              </a:extLst>
            </p:cNvPr>
            <p:cNvSpPr txBox="1"/>
            <p:nvPr userDrawn="1"/>
          </p:nvSpPr>
          <p:spPr>
            <a:xfrm>
              <a:off x="13882762"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2" name="R241 G101 B34…">
              <a:extLst>
                <a:ext uri="{FF2B5EF4-FFF2-40B4-BE49-F238E27FC236}">
                  <a16:creationId xmlns:a16="http://schemas.microsoft.com/office/drawing/2014/main" id="{2B345FC2-522A-ED45-A540-A282F3A59672}"/>
                </a:ext>
              </a:extLst>
            </p:cNvPr>
            <p:cNvSpPr txBox="1"/>
            <p:nvPr userDrawn="1"/>
          </p:nvSpPr>
          <p:spPr>
            <a:xfrm>
              <a:off x="15676943"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41 G101 B34</a:t>
              </a:r>
            </a:p>
          </p:txBody>
        </p:sp>
        <p:sp>
          <p:nvSpPr>
            <p:cNvPr id="33" name="R255 G185 B0…">
              <a:extLst>
                <a:ext uri="{FF2B5EF4-FFF2-40B4-BE49-F238E27FC236}">
                  <a16:creationId xmlns:a16="http://schemas.microsoft.com/office/drawing/2014/main" id="{61DB5B1C-BA87-E148-8BCA-F7BE00755B1F}"/>
                </a:ext>
              </a:extLst>
            </p:cNvPr>
            <p:cNvSpPr txBox="1"/>
            <p:nvPr userDrawn="1"/>
          </p:nvSpPr>
          <p:spPr>
            <a:xfrm>
              <a:off x="17737363" y="8136438"/>
              <a:ext cx="1390722"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4" name="R106 G75 B22…">
              <a:extLst>
                <a:ext uri="{FF2B5EF4-FFF2-40B4-BE49-F238E27FC236}">
                  <a16:creationId xmlns:a16="http://schemas.microsoft.com/office/drawing/2014/main" id="{7D9C2C93-5FA3-5C4E-864A-5C8EF86A619E}"/>
                </a:ext>
              </a:extLst>
            </p:cNvPr>
            <p:cNvSpPr txBox="1"/>
            <p:nvPr userDrawn="1"/>
          </p:nvSpPr>
          <p:spPr>
            <a:xfrm>
              <a:off x="19531545" y="813643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5" name="R254 G240 B0…">
              <a:extLst>
                <a:ext uri="{FF2B5EF4-FFF2-40B4-BE49-F238E27FC236}">
                  <a16:creationId xmlns:a16="http://schemas.microsoft.com/office/drawing/2014/main" id="{7DDB271E-F25E-C346-BA0E-E2FA851EAE04}"/>
                </a:ext>
              </a:extLst>
            </p:cNvPr>
            <p:cNvSpPr txBox="1"/>
            <p:nvPr userDrawn="1"/>
          </p:nvSpPr>
          <p:spPr>
            <a:xfrm>
              <a:off x="17737362"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6" name="R254 G212 B0…">
              <a:extLst>
                <a:ext uri="{FF2B5EF4-FFF2-40B4-BE49-F238E27FC236}">
                  <a16:creationId xmlns:a16="http://schemas.microsoft.com/office/drawing/2014/main" id="{FCB4BFC4-7870-CA40-890E-79B2345EFDDE}"/>
                </a:ext>
              </a:extLst>
            </p:cNvPr>
            <p:cNvSpPr txBox="1"/>
            <p:nvPr userDrawn="1"/>
          </p:nvSpPr>
          <p:spPr>
            <a:xfrm>
              <a:off x="19531545" y="8698410"/>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254 G212 B0</a:t>
              </a:r>
            </a:p>
          </p:txBody>
        </p:sp>
        <p:pic>
          <p:nvPicPr>
            <p:cNvPr id="37" name="Image" descr="Image">
              <a:extLst>
                <a:ext uri="{FF2B5EF4-FFF2-40B4-BE49-F238E27FC236}">
                  <a16:creationId xmlns:a16="http://schemas.microsoft.com/office/drawing/2014/main" id="{F7CBA398-7286-4B48-A037-01C2789FD183}"/>
                </a:ext>
              </a:extLst>
            </p:cNvPr>
            <p:cNvPicPr>
              <a:picLocks noChangeAspect="1"/>
            </p:cNvPicPr>
            <p:nvPr userDrawn="1"/>
          </p:nvPicPr>
          <p:blipFill>
            <a:blip r:embed="rId5"/>
            <a:stretch>
              <a:fillRect/>
            </a:stretch>
          </p:blipFill>
          <p:spPr>
            <a:xfrm>
              <a:off x="9825738" y="9911907"/>
              <a:ext cx="11204576" cy="501690"/>
            </a:xfrm>
            <a:prstGeom prst="rect">
              <a:avLst/>
            </a:prstGeom>
            <a:ln w="12700">
              <a:miter lim="400000"/>
            </a:ln>
          </p:spPr>
        </p:pic>
        <p:sp>
          <p:nvSpPr>
            <p:cNvPr id="38" name="R242 G242 B242…">
              <a:extLst>
                <a:ext uri="{FF2B5EF4-FFF2-40B4-BE49-F238E27FC236}">
                  <a16:creationId xmlns:a16="http://schemas.microsoft.com/office/drawing/2014/main" id="{A9370A21-4217-F949-B5D0-CA4B1AE096E5}"/>
                </a:ext>
              </a:extLst>
            </p:cNvPr>
            <p:cNvSpPr txBox="1"/>
            <p:nvPr userDrawn="1"/>
          </p:nvSpPr>
          <p:spPr>
            <a:xfrm>
              <a:off x="10028161" y="9992155"/>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9" name="R230 G230 B230…">
              <a:extLst>
                <a:ext uri="{FF2B5EF4-FFF2-40B4-BE49-F238E27FC236}">
                  <a16:creationId xmlns:a16="http://schemas.microsoft.com/office/drawing/2014/main" id="{37A7C53A-A05D-2E46-8ACD-6E22AC65B67F}"/>
                </a:ext>
              </a:extLst>
            </p:cNvPr>
            <p:cNvSpPr txBox="1"/>
            <p:nvPr userDrawn="1"/>
          </p:nvSpPr>
          <p:spPr>
            <a:xfrm>
              <a:off x="11620264"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40" name="R210 G210 B210…">
              <a:extLst>
                <a:ext uri="{FF2B5EF4-FFF2-40B4-BE49-F238E27FC236}">
                  <a16:creationId xmlns:a16="http://schemas.microsoft.com/office/drawing/2014/main" id="{4B72FBD5-F4D3-5446-B0B0-999A325ED83C}"/>
                </a:ext>
              </a:extLst>
            </p:cNvPr>
            <p:cNvSpPr txBox="1"/>
            <p:nvPr userDrawn="1"/>
          </p:nvSpPr>
          <p:spPr>
            <a:xfrm>
              <a:off x="13212361"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1" name="R115 G115 B115…">
              <a:extLst>
                <a:ext uri="{FF2B5EF4-FFF2-40B4-BE49-F238E27FC236}">
                  <a16:creationId xmlns:a16="http://schemas.microsoft.com/office/drawing/2014/main" id="{9DCC3AC4-7D4C-0D49-98EA-89E76DC2F3A6}"/>
                </a:ext>
              </a:extLst>
            </p:cNvPr>
            <p:cNvSpPr txBox="1"/>
            <p:nvPr userDrawn="1"/>
          </p:nvSpPr>
          <p:spPr>
            <a:xfrm>
              <a:off x="14804462" y="999215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115 G115 B115</a:t>
              </a:r>
            </a:p>
          </p:txBody>
        </p:sp>
        <p:sp>
          <p:nvSpPr>
            <p:cNvPr id="42" name="R80 G80 B80…">
              <a:extLst>
                <a:ext uri="{FF2B5EF4-FFF2-40B4-BE49-F238E27FC236}">
                  <a16:creationId xmlns:a16="http://schemas.microsoft.com/office/drawing/2014/main" id="{AA230AEE-DB5A-A545-B1EF-145368A79C72}"/>
                </a:ext>
              </a:extLst>
            </p:cNvPr>
            <p:cNvSpPr txBox="1"/>
            <p:nvPr userDrawn="1"/>
          </p:nvSpPr>
          <p:spPr>
            <a:xfrm>
              <a:off x="16396563" y="9992159"/>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80 G80 B80 </a:t>
              </a:r>
            </a:p>
          </p:txBody>
        </p:sp>
        <p:sp>
          <p:nvSpPr>
            <p:cNvPr id="43" name="R47 G47 B47…">
              <a:extLst>
                <a:ext uri="{FF2B5EF4-FFF2-40B4-BE49-F238E27FC236}">
                  <a16:creationId xmlns:a16="http://schemas.microsoft.com/office/drawing/2014/main" id="{8D6C6E69-FAB2-254E-B990-6CE0F34084ED}"/>
                </a:ext>
              </a:extLst>
            </p:cNvPr>
            <p:cNvSpPr txBox="1"/>
            <p:nvPr userDrawn="1"/>
          </p:nvSpPr>
          <p:spPr>
            <a:xfrm>
              <a:off x="18001362"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4" name="R0 G0 B0…">
              <a:extLst>
                <a:ext uri="{FF2B5EF4-FFF2-40B4-BE49-F238E27FC236}">
                  <a16:creationId xmlns:a16="http://schemas.microsoft.com/office/drawing/2014/main" id="{A6F71D6F-3E3D-8C4B-85EC-362A9AE0A466}"/>
                </a:ext>
              </a:extLst>
            </p:cNvPr>
            <p:cNvSpPr txBox="1"/>
            <p:nvPr userDrawn="1"/>
          </p:nvSpPr>
          <p:spPr>
            <a:xfrm>
              <a:off x="19593463" y="9992157"/>
              <a:ext cx="1296343" cy="3411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5" name="Primary">
              <a:extLst>
                <a:ext uri="{FF2B5EF4-FFF2-40B4-BE49-F238E27FC236}">
                  <a16:creationId xmlns:a16="http://schemas.microsoft.com/office/drawing/2014/main" id="{BAD793CC-879C-C349-9E33-94B0E3E443C9}"/>
                </a:ext>
              </a:extLst>
            </p:cNvPr>
            <p:cNvSpPr txBox="1"/>
            <p:nvPr userDrawn="1"/>
          </p:nvSpPr>
          <p:spPr>
            <a:xfrm>
              <a:off x="8523983" y="6177473"/>
              <a:ext cx="1002236" cy="81080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6" name="Secondary">
              <a:extLst>
                <a:ext uri="{FF2B5EF4-FFF2-40B4-BE49-F238E27FC236}">
                  <a16:creationId xmlns:a16="http://schemas.microsoft.com/office/drawing/2014/main" id="{0DD59233-A460-A741-9E17-4A2830BACA67}"/>
                </a:ext>
              </a:extLst>
            </p:cNvPr>
            <p:cNvSpPr txBox="1"/>
            <p:nvPr userDrawn="1"/>
          </p:nvSpPr>
          <p:spPr>
            <a:xfrm>
              <a:off x="8270283" y="6832581"/>
              <a:ext cx="1279449" cy="81080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7" name="Primary">
              <a:extLst>
                <a:ext uri="{FF2B5EF4-FFF2-40B4-BE49-F238E27FC236}">
                  <a16:creationId xmlns:a16="http://schemas.microsoft.com/office/drawing/2014/main" id="{B259ACDB-AD6E-5F40-9A46-7A59615320F9}"/>
                </a:ext>
              </a:extLst>
            </p:cNvPr>
            <p:cNvSpPr txBox="1"/>
            <p:nvPr userDrawn="1"/>
          </p:nvSpPr>
          <p:spPr>
            <a:xfrm>
              <a:off x="8523985" y="7629038"/>
              <a:ext cx="1002236" cy="81080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8" name="Secondary">
              <a:extLst>
                <a:ext uri="{FF2B5EF4-FFF2-40B4-BE49-F238E27FC236}">
                  <a16:creationId xmlns:a16="http://schemas.microsoft.com/office/drawing/2014/main" id="{6F79FA09-BC14-C542-B12D-CB97534E57CF}"/>
                </a:ext>
              </a:extLst>
            </p:cNvPr>
            <p:cNvSpPr txBox="1"/>
            <p:nvPr userDrawn="1"/>
          </p:nvSpPr>
          <p:spPr>
            <a:xfrm>
              <a:off x="8270286" y="8328046"/>
              <a:ext cx="1279449" cy="81080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ext Placeholder 9">
            <a:extLst>
              <a:ext uri="{FF2B5EF4-FFF2-40B4-BE49-F238E27FC236}">
                <a16:creationId xmlns:a16="http://schemas.microsoft.com/office/drawing/2014/main" id="{D84AE76E-0F8E-4E4F-AA81-912BDA9A432D}"/>
              </a:ext>
            </a:extLst>
          </p:cNvPr>
          <p:cNvSpPr>
            <a:spLocks noGrp="1"/>
          </p:cNvSpPr>
          <p:nvPr>
            <p:ph type="body" sz="quarter" idx="10" hasCustomPrompt="1"/>
          </p:nvPr>
        </p:nvSpPr>
        <p:spPr>
          <a:xfrm>
            <a:off x="584351" y="2644422"/>
            <a:ext cx="7207011" cy="1710033"/>
          </a:xfrm>
          <a:prstGeom prst="rect">
            <a:avLst/>
          </a:prstGeom>
        </p:spPr>
        <p:txBody>
          <a:bodyPr lIns="0" tIns="0" rIns="0" bIns="0">
            <a:normAutofit/>
          </a:bodyPr>
          <a:lstStyle>
            <a:lvl1pPr marL="0" indent="0">
              <a:lnSpc>
                <a:spcPct val="100000"/>
              </a:lnSpc>
              <a:spcAft>
                <a:spcPts val="600"/>
              </a:spcAft>
              <a:buNone/>
              <a:defRPr sz="2000" b="0" i="0" spc="0" baseline="0">
                <a:solidFill>
                  <a:schemeClr val="bg1"/>
                </a:solidFill>
                <a:latin typeface="Segoe UI" panose="020B0502040204020203" pitchFamily="34" charset="0"/>
                <a:cs typeface="Segoe UI" panose="020B0502040204020203" pitchFamily="34" charset="0"/>
              </a:defRPr>
            </a:lvl1pPr>
          </a:lstStyle>
          <a:p>
            <a:pPr lvl="0"/>
            <a:r>
              <a:rPr lang="en-US"/>
              <a:t>Body copy, 20pt</a:t>
            </a:r>
          </a:p>
        </p:txBody>
      </p:sp>
      <p:sp>
        <p:nvSpPr>
          <p:cNvPr id="50" name="Subtitle 2">
            <a:extLst>
              <a:ext uri="{FF2B5EF4-FFF2-40B4-BE49-F238E27FC236}">
                <a16:creationId xmlns:a16="http://schemas.microsoft.com/office/drawing/2014/main" id="{A018086F-C34A-3C41-8B4C-2D6A83134E1B}"/>
              </a:ext>
            </a:extLst>
          </p:cNvPr>
          <p:cNvSpPr>
            <a:spLocks noGrp="1"/>
          </p:cNvSpPr>
          <p:nvPr>
            <p:ph type="subTitle" idx="1" hasCustomPrompt="1"/>
          </p:nvPr>
        </p:nvSpPr>
        <p:spPr>
          <a:xfrm>
            <a:off x="584353" y="533243"/>
            <a:ext cx="5511647" cy="276999"/>
          </a:xfrm>
          <a:prstGeom prst="rect">
            <a:avLst/>
          </a:prstGeom>
        </p:spPr>
        <p:txBody>
          <a:bodyPr lIns="0" tIns="0" rIns="0" bIns="0">
            <a:spAutoFit/>
          </a:bodyPr>
          <a:lstStyle>
            <a:lvl1pPr marL="0" indent="0" algn="l">
              <a:lnSpc>
                <a:spcPct val="100000"/>
              </a:lnSpc>
              <a:spcBef>
                <a:spcPts val="0"/>
              </a:spcBef>
              <a:buNone/>
              <a:defRPr sz="1800" cap="all" spc="280" baseline="0">
                <a:solidFill>
                  <a:schemeClr val="tx1"/>
                </a:solidFill>
                <a:latin typeface="Segoe UI" panose="020B0502040204020203" pitchFamily="34" charset="0"/>
                <a:cs typeface="Segoe UI"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Category, 18pt</a:t>
            </a:r>
          </a:p>
        </p:txBody>
      </p:sp>
      <p:sp>
        <p:nvSpPr>
          <p:cNvPr id="51" name="Title 1">
            <a:extLst>
              <a:ext uri="{FF2B5EF4-FFF2-40B4-BE49-F238E27FC236}">
                <a16:creationId xmlns:a16="http://schemas.microsoft.com/office/drawing/2014/main" id="{D66AECF4-4A52-E344-9154-5AF177201204}"/>
              </a:ext>
            </a:extLst>
          </p:cNvPr>
          <p:cNvSpPr>
            <a:spLocks noGrp="1"/>
          </p:cNvSpPr>
          <p:nvPr>
            <p:ph type="title" hasCustomPrompt="1"/>
          </p:nvPr>
        </p:nvSpPr>
        <p:spPr>
          <a:xfrm>
            <a:off x="588416" y="1629321"/>
            <a:ext cx="5507584" cy="553998"/>
          </a:xfrm>
          <a:prstGeom prst="rect">
            <a:avLst/>
          </a:prstGeom>
        </p:spPr>
        <p:txBody>
          <a:bodyPr wrap="square" lIns="0" tIns="0" rIns="0" bIns="0" anchor="b" anchorCtr="0">
            <a:spAutoFit/>
          </a:bodyPr>
          <a:lstStyle>
            <a:lvl1pPr marL="0" marR="0" indent="0" algn="l" defTabSz="412667" rtl="0" eaLnBrk="1" fontAlgn="auto" latinLnBrk="0" hangingPunct="1">
              <a:lnSpc>
                <a:spcPct val="100000"/>
              </a:lnSpc>
              <a:spcBef>
                <a:spcPts val="0"/>
              </a:spcBef>
              <a:spcAft>
                <a:spcPts val="0"/>
              </a:spcAft>
              <a:buClrTx/>
              <a:buSzTx/>
              <a:buFontTx/>
              <a:buNone/>
              <a:tabLst/>
              <a:defRPr sz="3600" b="0" i="0" kern="1200" spc="-50" baseline="0">
                <a:solidFill>
                  <a:schemeClr val="bg1"/>
                </a:solidFill>
                <a:latin typeface="Segoe UI Semibold" panose="020B0502040204020203" pitchFamily="34" charset="0"/>
                <a:cs typeface="Segoe UI Semibold" panose="020B0502040204020203" pitchFamily="34" charset="0"/>
              </a:defRPr>
            </a:lvl1pPr>
          </a:lstStyle>
          <a:p>
            <a:r>
              <a:rPr lang="en-US"/>
              <a:t>Section title, 36pt</a:t>
            </a:r>
          </a:p>
        </p:txBody>
      </p:sp>
    </p:spTree>
    <p:extLst>
      <p:ext uri="{BB962C8B-B14F-4D97-AF65-F5344CB8AC3E}">
        <p14:creationId xmlns:p14="http://schemas.microsoft.com/office/powerpoint/2010/main" val="1465292182"/>
      </p:ext>
    </p:extLst>
  </p:cSld>
  <p:clrMapOvr>
    <a:masterClrMapping/>
  </p:clrMapOvr>
  <p:extLst>
    <p:ext uri="{DCECCB84-F9BA-43D5-87BE-67443E8EF086}">
      <p15:sldGuideLst xmlns:p15="http://schemas.microsoft.com/office/powerpoint/2012/main"/>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Section Divider (No Background)">
    <p:bg>
      <p:bgPr>
        <a:solidFill>
          <a:schemeClr val="tx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F8F013E-6FA7-5C4F-9D0A-EB84443842DB}"/>
              </a:ext>
            </a:extLst>
          </p:cNvPr>
          <p:cNvGrpSpPr/>
          <p:nvPr userDrawn="1"/>
        </p:nvGrpSpPr>
        <p:grpSpPr>
          <a:xfrm rot="5400000">
            <a:off x="10146364" y="2385921"/>
            <a:ext cx="6714479" cy="2229681"/>
            <a:chOff x="8270283" y="6177473"/>
            <a:chExt cx="12760035" cy="4236124"/>
          </a:xfrm>
        </p:grpSpPr>
        <p:pic>
          <p:nvPicPr>
            <p:cNvPr id="11" name="Image" descr="Image">
              <a:extLst>
                <a:ext uri="{FF2B5EF4-FFF2-40B4-BE49-F238E27FC236}">
                  <a16:creationId xmlns:a16="http://schemas.microsoft.com/office/drawing/2014/main" id="{5A4DE547-92A1-044D-B5D4-1665113CC01C}"/>
                </a:ext>
              </a:extLst>
            </p:cNvPr>
            <p:cNvPicPr>
              <a:picLocks noChangeAspect="1"/>
            </p:cNvPicPr>
            <p:nvPr userDrawn="1"/>
          </p:nvPicPr>
          <p:blipFill>
            <a:blip r:embed="rId2"/>
            <a:srcRect b="20208"/>
            <a:stretch>
              <a:fillRect/>
            </a:stretch>
          </p:blipFill>
          <p:spPr>
            <a:xfrm>
              <a:off x="9825738" y="6285642"/>
              <a:ext cx="11204580" cy="2819606"/>
            </a:xfrm>
            <a:prstGeom prst="rect">
              <a:avLst/>
            </a:prstGeom>
            <a:ln w="12700">
              <a:miter lim="400000"/>
            </a:ln>
          </p:spPr>
        </p:pic>
        <p:sp>
          <p:nvSpPr>
            <p:cNvPr id="12" name="R134 G97 B197…">
              <a:extLst>
                <a:ext uri="{FF2B5EF4-FFF2-40B4-BE49-F238E27FC236}">
                  <a16:creationId xmlns:a16="http://schemas.microsoft.com/office/drawing/2014/main" id="{E330689E-2D41-1C46-86F7-9A1160F37829}"/>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4" name="R59 G46 B88…">
              <a:extLst>
                <a:ext uri="{FF2B5EF4-FFF2-40B4-BE49-F238E27FC236}">
                  <a16:creationId xmlns:a16="http://schemas.microsoft.com/office/drawing/2014/main" id="{3F800971-ADAC-4347-B715-B4555CB24FDA}"/>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5" name="R213 G157 B255…">
              <a:extLst>
                <a:ext uri="{FF2B5EF4-FFF2-40B4-BE49-F238E27FC236}">
                  <a16:creationId xmlns:a16="http://schemas.microsoft.com/office/drawing/2014/main" id="{750D3DD1-127E-D647-80C5-7BD0F6E9CF25}"/>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6" name="R161 G133 B210…">
              <a:extLst>
                <a:ext uri="{FF2B5EF4-FFF2-40B4-BE49-F238E27FC236}">
                  <a16:creationId xmlns:a16="http://schemas.microsoft.com/office/drawing/2014/main" id="{ED4CDA45-5E01-3243-A90F-BB3DE2375CAB}"/>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7" name="R0 G120 B212…">
              <a:extLst>
                <a:ext uri="{FF2B5EF4-FFF2-40B4-BE49-F238E27FC236}">
                  <a16:creationId xmlns:a16="http://schemas.microsoft.com/office/drawing/2014/main" id="{85312296-97D8-6840-BB8B-63E20577CA51}"/>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8" name="R36 G58 B94…">
              <a:extLst>
                <a:ext uri="{FF2B5EF4-FFF2-40B4-BE49-F238E27FC236}">
                  <a16:creationId xmlns:a16="http://schemas.microsoft.com/office/drawing/2014/main" id="{B2160F5A-63C0-9846-A61F-4D24B8BDE9E3}"/>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9" name="R80 G230 B255…">
              <a:extLst>
                <a:ext uri="{FF2B5EF4-FFF2-40B4-BE49-F238E27FC236}">
                  <a16:creationId xmlns:a16="http://schemas.microsoft.com/office/drawing/2014/main" id="{89923A7C-BE87-8D42-A3FA-1DCE6B6F31F7}"/>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20" name="R40 G167 B233…">
              <a:extLst>
                <a:ext uri="{FF2B5EF4-FFF2-40B4-BE49-F238E27FC236}">
                  <a16:creationId xmlns:a16="http://schemas.microsoft.com/office/drawing/2014/main" id="{9ABDA324-B076-9A42-BA84-2DA3493FC71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1" name="R0 G133 B117   Hex #008575   C100 M15 Y60 K0   PMS 3285 C">
              <a:extLst>
                <a:ext uri="{FF2B5EF4-FFF2-40B4-BE49-F238E27FC236}">
                  <a16:creationId xmlns:a16="http://schemas.microsoft.com/office/drawing/2014/main" id="{C76ABFD5-F3B6-5344-87FF-F698D4F6A4B0}"/>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2" name="R39 G75 B71   Hex #274b47…">
              <a:extLst>
                <a:ext uri="{FF2B5EF4-FFF2-40B4-BE49-F238E27FC236}">
                  <a16:creationId xmlns:a16="http://schemas.microsoft.com/office/drawing/2014/main" id="{2AFD252E-1AEC-5741-B99C-5DAEA63DDF96}"/>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3" name="R48 G229 B208…">
              <a:extLst>
                <a:ext uri="{FF2B5EF4-FFF2-40B4-BE49-F238E27FC236}">
                  <a16:creationId xmlns:a16="http://schemas.microsoft.com/office/drawing/2014/main" id="{EAA41001-6B52-EF40-96D7-971948EABB98}"/>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4" name="R40 G194 B209…">
              <a:extLst>
                <a:ext uri="{FF2B5EF4-FFF2-40B4-BE49-F238E27FC236}">
                  <a16:creationId xmlns:a16="http://schemas.microsoft.com/office/drawing/2014/main" id="{B1CBFCA2-92F6-BD4A-972E-D3D37F347673}"/>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5" name="R16 G124 B16  Hex #107c10  C75 M0 Y100 K0   PMS 362 C">
              <a:extLst>
                <a:ext uri="{FF2B5EF4-FFF2-40B4-BE49-F238E27FC236}">
                  <a16:creationId xmlns:a16="http://schemas.microsoft.com/office/drawing/2014/main" id="{A2EC5BE3-EB70-0742-A12B-9681FB8CF09D}"/>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6" name="R5 G75 B22   Hex #054b16…">
              <a:extLst>
                <a:ext uri="{FF2B5EF4-FFF2-40B4-BE49-F238E27FC236}">
                  <a16:creationId xmlns:a16="http://schemas.microsoft.com/office/drawing/2014/main" id="{499712BF-D2E0-CD4C-87FA-862BB816B2FB}"/>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7" name="R155 G240 B11…">
              <a:extLst>
                <a:ext uri="{FF2B5EF4-FFF2-40B4-BE49-F238E27FC236}">
                  <a16:creationId xmlns:a16="http://schemas.microsoft.com/office/drawing/2014/main" id="{AFDA10FE-0491-E446-9CEE-FD84CD46EC75}"/>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8" name="R127 G186 B0…">
              <a:extLst>
                <a:ext uri="{FF2B5EF4-FFF2-40B4-BE49-F238E27FC236}">
                  <a16:creationId xmlns:a16="http://schemas.microsoft.com/office/drawing/2014/main" id="{CDE02636-0442-6743-AEE6-BFA7438CE50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9" name="R216 G59 B1…">
              <a:extLst>
                <a:ext uri="{FF2B5EF4-FFF2-40B4-BE49-F238E27FC236}">
                  <a16:creationId xmlns:a16="http://schemas.microsoft.com/office/drawing/2014/main" id="{6604AA48-78A9-814B-BF45-DB637BCCAA4E}"/>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30" name="R107 G41 B41…">
              <a:extLst>
                <a:ext uri="{FF2B5EF4-FFF2-40B4-BE49-F238E27FC236}">
                  <a16:creationId xmlns:a16="http://schemas.microsoft.com/office/drawing/2014/main" id="{BEF89C42-1CE3-4A44-B8E9-D950745167A6}"/>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1" name="R255 G147 B73…">
              <a:extLst>
                <a:ext uri="{FF2B5EF4-FFF2-40B4-BE49-F238E27FC236}">
                  <a16:creationId xmlns:a16="http://schemas.microsoft.com/office/drawing/2014/main" id="{C8CE703B-F93A-884F-87C7-7EF6ADE18CA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2" name="R241 G101 B34…">
              <a:extLst>
                <a:ext uri="{FF2B5EF4-FFF2-40B4-BE49-F238E27FC236}">
                  <a16:creationId xmlns:a16="http://schemas.microsoft.com/office/drawing/2014/main" id="{2B345FC2-522A-ED45-A540-A282F3A59672}"/>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3" name="R255 G185 B0…">
              <a:extLst>
                <a:ext uri="{FF2B5EF4-FFF2-40B4-BE49-F238E27FC236}">
                  <a16:creationId xmlns:a16="http://schemas.microsoft.com/office/drawing/2014/main" id="{61DB5B1C-BA87-E148-8BCA-F7BE00755B1F}"/>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4" name="R106 G75 B22…">
              <a:extLst>
                <a:ext uri="{FF2B5EF4-FFF2-40B4-BE49-F238E27FC236}">
                  <a16:creationId xmlns:a16="http://schemas.microsoft.com/office/drawing/2014/main" id="{7D9C2C93-5FA3-5C4E-864A-5C8EF86A619E}"/>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5" name="R254 G240 B0…">
              <a:extLst>
                <a:ext uri="{FF2B5EF4-FFF2-40B4-BE49-F238E27FC236}">
                  <a16:creationId xmlns:a16="http://schemas.microsoft.com/office/drawing/2014/main" id="{7DDB271E-F25E-C346-BA0E-E2FA851EAE04}"/>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6" name="R254 G212 B0…">
              <a:extLst>
                <a:ext uri="{FF2B5EF4-FFF2-40B4-BE49-F238E27FC236}">
                  <a16:creationId xmlns:a16="http://schemas.microsoft.com/office/drawing/2014/main" id="{FCB4BFC4-7870-CA40-890E-79B2345EFDDE}"/>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7" name="Image" descr="Image">
              <a:extLst>
                <a:ext uri="{FF2B5EF4-FFF2-40B4-BE49-F238E27FC236}">
                  <a16:creationId xmlns:a16="http://schemas.microsoft.com/office/drawing/2014/main" id="{F7CBA398-7286-4B48-A037-01C2789FD183}"/>
                </a:ext>
              </a:extLst>
            </p:cNvPr>
            <p:cNvPicPr>
              <a:picLocks noChangeAspect="1"/>
            </p:cNvPicPr>
            <p:nvPr userDrawn="1"/>
          </p:nvPicPr>
          <p:blipFill>
            <a:blip r:embed="rId3"/>
            <a:stretch>
              <a:fillRect/>
            </a:stretch>
          </p:blipFill>
          <p:spPr>
            <a:xfrm>
              <a:off x="9825738" y="9911907"/>
              <a:ext cx="11204576" cy="501690"/>
            </a:xfrm>
            <a:prstGeom prst="rect">
              <a:avLst/>
            </a:prstGeom>
            <a:ln w="12700">
              <a:miter lim="400000"/>
            </a:ln>
          </p:spPr>
        </p:pic>
        <p:sp>
          <p:nvSpPr>
            <p:cNvPr id="38" name="R242 G242 B242…">
              <a:extLst>
                <a:ext uri="{FF2B5EF4-FFF2-40B4-BE49-F238E27FC236}">
                  <a16:creationId xmlns:a16="http://schemas.microsoft.com/office/drawing/2014/main" id="{A9370A21-4217-F949-B5D0-CA4B1AE096E5}"/>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9" name="R230 G230 B230…">
              <a:extLst>
                <a:ext uri="{FF2B5EF4-FFF2-40B4-BE49-F238E27FC236}">
                  <a16:creationId xmlns:a16="http://schemas.microsoft.com/office/drawing/2014/main" id="{37A7C53A-A05D-2E46-8ACD-6E22AC65B67F}"/>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40" name="R210 G210 B210…">
              <a:extLst>
                <a:ext uri="{FF2B5EF4-FFF2-40B4-BE49-F238E27FC236}">
                  <a16:creationId xmlns:a16="http://schemas.microsoft.com/office/drawing/2014/main" id="{4B72FBD5-F4D3-5446-B0B0-999A325ED83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1" name="R115 G115 B115…">
              <a:extLst>
                <a:ext uri="{FF2B5EF4-FFF2-40B4-BE49-F238E27FC236}">
                  <a16:creationId xmlns:a16="http://schemas.microsoft.com/office/drawing/2014/main" id="{9DCC3AC4-7D4C-0D49-98EA-89E76DC2F3A6}"/>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2" name="R80 G80 B80…">
              <a:extLst>
                <a:ext uri="{FF2B5EF4-FFF2-40B4-BE49-F238E27FC236}">
                  <a16:creationId xmlns:a16="http://schemas.microsoft.com/office/drawing/2014/main" id="{AA230AEE-DB5A-A545-B1EF-145368A79C72}"/>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3" name="R47 G47 B47…">
              <a:extLst>
                <a:ext uri="{FF2B5EF4-FFF2-40B4-BE49-F238E27FC236}">
                  <a16:creationId xmlns:a16="http://schemas.microsoft.com/office/drawing/2014/main" id="{8D6C6E69-FAB2-254E-B990-6CE0F34084ED}"/>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4" name="R0 G0 B0…">
              <a:extLst>
                <a:ext uri="{FF2B5EF4-FFF2-40B4-BE49-F238E27FC236}">
                  <a16:creationId xmlns:a16="http://schemas.microsoft.com/office/drawing/2014/main" id="{A6F71D6F-3E3D-8C4B-85EC-362A9AE0A466}"/>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5" name="Primary">
              <a:extLst>
                <a:ext uri="{FF2B5EF4-FFF2-40B4-BE49-F238E27FC236}">
                  <a16:creationId xmlns:a16="http://schemas.microsoft.com/office/drawing/2014/main" id="{BAD793CC-879C-C349-9E33-94B0E3E443C9}"/>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6" name="Secondary">
              <a:extLst>
                <a:ext uri="{FF2B5EF4-FFF2-40B4-BE49-F238E27FC236}">
                  <a16:creationId xmlns:a16="http://schemas.microsoft.com/office/drawing/2014/main" id="{0DD59233-A460-A741-9E17-4A2830BACA67}"/>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7" name="Primary">
              <a:extLst>
                <a:ext uri="{FF2B5EF4-FFF2-40B4-BE49-F238E27FC236}">
                  <a16:creationId xmlns:a16="http://schemas.microsoft.com/office/drawing/2014/main" id="{B259ACDB-AD6E-5F40-9A46-7A59615320F9}"/>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8" name="Secondary">
              <a:extLst>
                <a:ext uri="{FF2B5EF4-FFF2-40B4-BE49-F238E27FC236}">
                  <a16:creationId xmlns:a16="http://schemas.microsoft.com/office/drawing/2014/main" id="{6F79FA09-BC14-C542-B12D-CB97534E57CF}"/>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ext Placeholder 9">
            <a:extLst>
              <a:ext uri="{FF2B5EF4-FFF2-40B4-BE49-F238E27FC236}">
                <a16:creationId xmlns:a16="http://schemas.microsoft.com/office/drawing/2014/main" id="{D84AE76E-0F8E-4E4F-AA81-912BDA9A432D}"/>
              </a:ext>
            </a:extLst>
          </p:cNvPr>
          <p:cNvSpPr>
            <a:spLocks noGrp="1"/>
          </p:cNvSpPr>
          <p:nvPr>
            <p:ph type="body" sz="quarter" idx="10" hasCustomPrompt="1"/>
          </p:nvPr>
        </p:nvSpPr>
        <p:spPr>
          <a:xfrm>
            <a:off x="584351" y="2644422"/>
            <a:ext cx="7207011" cy="1710033"/>
          </a:xfrm>
          <a:prstGeom prst="rect">
            <a:avLst/>
          </a:prstGeom>
        </p:spPr>
        <p:txBody>
          <a:bodyPr lIns="0" tIns="0" rIns="0" bIns="0">
            <a:normAutofit/>
          </a:bodyPr>
          <a:lstStyle>
            <a:lvl1pPr marL="0" indent="0">
              <a:lnSpc>
                <a:spcPct val="100000"/>
              </a:lnSpc>
              <a:spcAft>
                <a:spcPts val="600"/>
              </a:spcAft>
              <a:buNone/>
              <a:defRPr sz="2000" b="0" i="0" spc="0" baseline="0">
                <a:solidFill>
                  <a:schemeClr val="bg1"/>
                </a:solidFill>
                <a:latin typeface="Segoe UI" panose="020B0502040204020203" pitchFamily="34" charset="0"/>
                <a:cs typeface="Segoe UI" panose="020B0502040204020203" pitchFamily="34" charset="0"/>
              </a:defRPr>
            </a:lvl1pPr>
          </a:lstStyle>
          <a:p>
            <a:pPr lvl="0"/>
            <a:r>
              <a:rPr lang="en-US"/>
              <a:t>Body copy, 20pt</a:t>
            </a:r>
          </a:p>
        </p:txBody>
      </p:sp>
      <p:sp>
        <p:nvSpPr>
          <p:cNvPr id="50" name="Subtitle 2">
            <a:extLst>
              <a:ext uri="{FF2B5EF4-FFF2-40B4-BE49-F238E27FC236}">
                <a16:creationId xmlns:a16="http://schemas.microsoft.com/office/drawing/2014/main" id="{A018086F-C34A-3C41-8B4C-2D6A83134E1B}"/>
              </a:ext>
            </a:extLst>
          </p:cNvPr>
          <p:cNvSpPr>
            <a:spLocks noGrp="1"/>
          </p:cNvSpPr>
          <p:nvPr>
            <p:ph type="subTitle" idx="1" hasCustomPrompt="1"/>
          </p:nvPr>
        </p:nvSpPr>
        <p:spPr>
          <a:xfrm>
            <a:off x="584353" y="533243"/>
            <a:ext cx="5511647" cy="276999"/>
          </a:xfrm>
          <a:prstGeom prst="rect">
            <a:avLst/>
          </a:prstGeom>
        </p:spPr>
        <p:txBody>
          <a:bodyPr lIns="0" tIns="0" rIns="0" bIns="0">
            <a:spAutoFit/>
          </a:bodyPr>
          <a:lstStyle>
            <a:lvl1pPr marL="0" indent="0" algn="l">
              <a:lnSpc>
                <a:spcPct val="100000"/>
              </a:lnSpc>
              <a:spcBef>
                <a:spcPts val="0"/>
              </a:spcBef>
              <a:buNone/>
              <a:defRPr sz="1800" cap="all" spc="280" baseline="0">
                <a:solidFill>
                  <a:schemeClr val="tx1"/>
                </a:solidFill>
                <a:latin typeface="Segoe UI" panose="020B0502040204020203" pitchFamily="34" charset="0"/>
                <a:cs typeface="Segoe UI"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Category, 18pt</a:t>
            </a:r>
          </a:p>
        </p:txBody>
      </p:sp>
      <p:sp>
        <p:nvSpPr>
          <p:cNvPr id="51" name="Title 1">
            <a:extLst>
              <a:ext uri="{FF2B5EF4-FFF2-40B4-BE49-F238E27FC236}">
                <a16:creationId xmlns:a16="http://schemas.microsoft.com/office/drawing/2014/main" id="{D66AECF4-4A52-E344-9154-5AF177201204}"/>
              </a:ext>
            </a:extLst>
          </p:cNvPr>
          <p:cNvSpPr>
            <a:spLocks noGrp="1"/>
          </p:cNvSpPr>
          <p:nvPr>
            <p:ph type="title" hasCustomPrompt="1"/>
          </p:nvPr>
        </p:nvSpPr>
        <p:spPr>
          <a:xfrm>
            <a:off x="588416" y="1629321"/>
            <a:ext cx="5507584" cy="553998"/>
          </a:xfrm>
          <a:prstGeom prst="rect">
            <a:avLst/>
          </a:prstGeom>
        </p:spPr>
        <p:txBody>
          <a:bodyPr wrap="square" lIns="0" tIns="0" rIns="0" bIns="0" anchor="b" anchorCtr="0">
            <a:spAutoFit/>
          </a:bodyPr>
          <a:lstStyle>
            <a:lvl1pPr marL="0" marR="0" indent="0" algn="l" defTabSz="412667" rtl="0" eaLnBrk="1" fontAlgn="auto" latinLnBrk="0" hangingPunct="1">
              <a:lnSpc>
                <a:spcPct val="100000"/>
              </a:lnSpc>
              <a:spcBef>
                <a:spcPts val="0"/>
              </a:spcBef>
              <a:spcAft>
                <a:spcPts val="0"/>
              </a:spcAft>
              <a:buClrTx/>
              <a:buSzTx/>
              <a:buFontTx/>
              <a:buNone/>
              <a:tabLst/>
              <a:defRPr sz="3600" b="0" i="0" kern="1200" spc="-50" baseline="0">
                <a:solidFill>
                  <a:schemeClr val="bg1"/>
                </a:solidFill>
                <a:latin typeface="Segoe UI Semibold" panose="020B0502040204020203" pitchFamily="34" charset="0"/>
                <a:cs typeface="Segoe UI Semibold" panose="020B0502040204020203" pitchFamily="34" charset="0"/>
              </a:defRPr>
            </a:lvl1pPr>
          </a:lstStyle>
          <a:p>
            <a:r>
              <a:rPr lang="en-US"/>
              <a:t>Section title, 36pt</a:t>
            </a:r>
          </a:p>
        </p:txBody>
      </p:sp>
    </p:spTree>
    <p:extLst>
      <p:ext uri="{BB962C8B-B14F-4D97-AF65-F5344CB8AC3E}">
        <p14:creationId xmlns:p14="http://schemas.microsoft.com/office/powerpoint/2010/main" val="3516826070"/>
      </p:ext>
    </p:extLst>
  </p:cSld>
  <p:clrMapOvr>
    <a:masterClrMapping/>
  </p:clrMapOvr>
  <p:extLst>
    <p:ext uri="{DCECCB84-F9BA-43D5-87BE-67443E8EF086}">
      <p15:sldGuideLst xmlns:p15="http://schemas.microsoft.com/office/powerpoint/2012/main"/>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Quot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12FEBD5-49E3-C446-A597-42EE5424D5A7}"/>
              </a:ext>
            </a:extLst>
          </p:cNvPr>
          <p:cNvGrpSpPr/>
          <p:nvPr userDrawn="1"/>
        </p:nvGrpSpPr>
        <p:grpSpPr>
          <a:xfrm rot="5400000">
            <a:off x="10146364" y="2385921"/>
            <a:ext cx="6714479" cy="2229681"/>
            <a:chOff x="8270283" y="6177473"/>
            <a:chExt cx="12760035" cy="4236124"/>
          </a:xfrm>
        </p:grpSpPr>
        <p:pic>
          <p:nvPicPr>
            <p:cNvPr id="8" name="Image" descr="Image">
              <a:extLst>
                <a:ext uri="{FF2B5EF4-FFF2-40B4-BE49-F238E27FC236}">
                  <a16:creationId xmlns:a16="http://schemas.microsoft.com/office/drawing/2014/main" id="{E41E9AA5-0778-3542-97EA-F44972C8F1CC}"/>
                </a:ext>
              </a:extLst>
            </p:cNvPr>
            <p:cNvPicPr>
              <a:picLocks noChangeAspect="1"/>
            </p:cNvPicPr>
            <p:nvPr userDrawn="1"/>
          </p:nvPicPr>
          <p:blipFill>
            <a:blip r:embed="rId2"/>
            <a:srcRect b="20208"/>
            <a:stretch>
              <a:fillRect/>
            </a:stretch>
          </p:blipFill>
          <p:spPr>
            <a:xfrm>
              <a:off x="9825738" y="6285642"/>
              <a:ext cx="11204580" cy="2819606"/>
            </a:xfrm>
            <a:prstGeom prst="rect">
              <a:avLst/>
            </a:prstGeom>
            <a:ln w="12700">
              <a:miter lim="400000"/>
            </a:ln>
          </p:spPr>
        </p:pic>
        <p:sp>
          <p:nvSpPr>
            <p:cNvPr id="10" name="R134 G97 B197…">
              <a:extLst>
                <a:ext uri="{FF2B5EF4-FFF2-40B4-BE49-F238E27FC236}">
                  <a16:creationId xmlns:a16="http://schemas.microsoft.com/office/drawing/2014/main" id="{915E47AF-83A3-A44D-B193-F125B1DE3BC7}"/>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1" name="R59 G46 B88…">
              <a:extLst>
                <a:ext uri="{FF2B5EF4-FFF2-40B4-BE49-F238E27FC236}">
                  <a16:creationId xmlns:a16="http://schemas.microsoft.com/office/drawing/2014/main" id="{2F4545F3-64C8-694F-9C0C-71366F9FA3A8}"/>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2" name="R213 G157 B255…">
              <a:extLst>
                <a:ext uri="{FF2B5EF4-FFF2-40B4-BE49-F238E27FC236}">
                  <a16:creationId xmlns:a16="http://schemas.microsoft.com/office/drawing/2014/main" id="{47A94842-DC45-D14C-B810-E9162D2EE11B}"/>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3" name="R161 G133 B210…">
              <a:extLst>
                <a:ext uri="{FF2B5EF4-FFF2-40B4-BE49-F238E27FC236}">
                  <a16:creationId xmlns:a16="http://schemas.microsoft.com/office/drawing/2014/main" id="{15C9013E-79CE-E34D-AAE0-18E5DFB50D47}"/>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4" name="R0 G120 B212…">
              <a:extLst>
                <a:ext uri="{FF2B5EF4-FFF2-40B4-BE49-F238E27FC236}">
                  <a16:creationId xmlns:a16="http://schemas.microsoft.com/office/drawing/2014/main" id="{29C0AD35-B13C-BF4E-9BF1-CBAE32A35544}"/>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5" name="R36 G58 B94…">
              <a:extLst>
                <a:ext uri="{FF2B5EF4-FFF2-40B4-BE49-F238E27FC236}">
                  <a16:creationId xmlns:a16="http://schemas.microsoft.com/office/drawing/2014/main" id="{81EF71D7-0CD2-0F48-86A6-FA331571E522}"/>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6" name="R80 G230 B255…">
              <a:extLst>
                <a:ext uri="{FF2B5EF4-FFF2-40B4-BE49-F238E27FC236}">
                  <a16:creationId xmlns:a16="http://schemas.microsoft.com/office/drawing/2014/main" id="{F499D641-9351-A54B-B73F-D7D726D5B982}"/>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7" name="R40 G167 B233…">
              <a:extLst>
                <a:ext uri="{FF2B5EF4-FFF2-40B4-BE49-F238E27FC236}">
                  <a16:creationId xmlns:a16="http://schemas.microsoft.com/office/drawing/2014/main" id="{048F16B3-CA53-9042-AA21-4EB7B369DB7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18" name="R0 G133 B117   Hex #008575   C100 M15 Y60 K0   PMS 3285 C">
              <a:extLst>
                <a:ext uri="{FF2B5EF4-FFF2-40B4-BE49-F238E27FC236}">
                  <a16:creationId xmlns:a16="http://schemas.microsoft.com/office/drawing/2014/main" id="{134CF326-2327-6849-88FE-500E811324BE}"/>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19" name="R39 G75 B71   Hex #274b47…">
              <a:extLst>
                <a:ext uri="{FF2B5EF4-FFF2-40B4-BE49-F238E27FC236}">
                  <a16:creationId xmlns:a16="http://schemas.microsoft.com/office/drawing/2014/main" id="{892B996E-EE0B-354D-92BC-AFBCA407504F}"/>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0" name="R48 G229 B208…">
              <a:extLst>
                <a:ext uri="{FF2B5EF4-FFF2-40B4-BE49-F238E27FC236}">
                  <a16:creationId xmlns:a16="http://schemas.microsoft.com/office/drawing/2014/main" id="{9B0F7AD4-097B-BA4D-8A29-079CCB91C44D}"/>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1" name="R40 G194 B209…">
              <a:extLst>
                <a:ext uri="{FF2B5EF4-FFF2-40B4-BE49-F238E27FC236}">
                  <a16:creationId xmlns:a16="http://schemas.microsoft.com/office/drawing/2014/main" id="{E52CA30C-B399-374C-8B0F-9CFFF4824D66}"/>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2" name="R16 G124 B16  Hex #107c10  C75 M0 Y100 K0   PMS 362 C">
              <a:extLst>
                <a:ext uri="{FF2B5EF4-FFF2-40B4-BE49-F238E27FC236}">
                  <a16:creationId xmlns:a16="http://schemas.microsoft.com/office/drawing/2014/main" id="{6AF75F9E-5F0D-6647-A520-1392717C46A6}"/>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3" name="R5 G75 B22   Hex #054b16…">
              <a:extLst>
                <a:ext uri="{FF2B5EF4-FFF2-40B4-BE49-F238E27FC236}">
                  <a16:creationId xmlns:a16="http://schemas.microsoft.com/office/drawing/2014/main" id="{36CDB567-2AE8-F040-9C76-0F3697213CDC}"/>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4" name="R155 G240 B11…">
              <a:extLst>
                <a:ext uri="{FF2B5EF4-FFF2-40B4-BE49-F238E27FC236}">
                  <a16:creationId xmlns:a16="http://schemas.microsoft.com/office/drawing/2014/main" id="{F899EA5C-838B-5A4E-AC69-BDA6F2A9B3C9}"/>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5" name="R127 G186 B0…">
              <a:extLst>
                <a:ext uri="{FF2B5EF4-FFF2-40B4-BE49-F238E27FC236}">
                  <a16:creationId xmlns:a16="http://schemas.microsoft.com/office/drawing/2014/main" id="{218A26A7-413C-5E46-AE1D-42A01E861BB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6" name="R216 G59 B1…">
              <a:extLst>
                <a:ext uri="{FF2B5EF4-FFF2-40B4-BE49-F238E27FC236}">
                  <a16:creationId xmlns:a16="http://schemas.microsoft.com/office/drawing/2014/main" id="{70177420-5AC8-FD44-A4CD-937736C2FDF9}"/>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7" name="R107 G41 B41…">
              <a:extLst>
                <a:ext uri="{FF2B5EF4-FFF2-40B4-BE49-F238E27FC236}">
                  <a16:creationId xmlns:a16="http://schemas.microsoft.com/office/drawing/2014/main" id="{CF52CB64-C9DC-654E-ACEE-D9229745FE68}"/>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28" name="R255 G147 B73…">
              <a:extLst>
                <a:ext uri="{FF2B5EF4-FFF2-40B4-BE49-F238E27FC236}">
                  <a16:creationId xmlns:a16="http://schemas.microsoft.com/office/drawing/2014/main" id="{7EE730B8-BBA1-254A-B6FF-9C9C3B3DDC95}"/>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29" name="R241 G101 B34…">
              <a:extLst>
                <a:ext uri="{FF2B5EF4-FFF2-40B4-BE49-F238E27FC236}">
                  <a16:creationId xmlns:a16="http://schemas.microsoft.com/office/drawing/2014/main" id="{6B2EDBE8-5654-5D45-8871-0E3B9562AA7D}"/>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0" name="R255 G185 B0…">
              <a:extLst>
                <a:ext uri="{FF2B5EF4-FFF2-40B4-BE49-F238E27FC236}">
                  <a16:creationId xmlns:a16="http://schemas.microsoft.com/office/drawing/2014/main" id="{FFAC7D5F-D584-2E4D-AC0C-6C1154DB7AFE}"/>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1" name="R106 G75 B22…">
              <a:extLst>
                <a:ext uri="{FF2B5EF4-FFF2-40B4-BE49-F238E27FC236}">
                  <a16:creationId xmlns:a16="http://schemas.microsoft.com/office/drawing/2014/main" id="{98A3A9D5-4F64-2D41-919C-4E0AD61BA335}"/>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2" name="R254 G240 B0…">
              <a:extLst>
                <a:ext uri="{FF2B5EF4-FFF2-40B4-BE49-F238E27FC236}">
                  <a16:creationId xmlns:a16="http://schemas.microsoft.com/office/drawing/2014/main" id="{4BAB4743-3FA8-6943-8BB7-4BCFCB83173D}"/>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3" name="R254 G212 B0…">
              <a:extLst>
                <a:ext uri="{FF2B5EF4-FFF2-40B4-BE49-F238E27FC236}">
                  <a16:creationId xmlns:a16="http://schemas.microsoft.com/office/drawing/2014/main" id="{51AB4D71-14D0-EB42-951C-0FBA72168AE3}"/>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4" name="Image" descr="Image">
              <a:extLst>
                <a:ext uri="{FF2B5EF4-FFF2-40B4-BE49-F238E27FC236}">
                  <a16:creationId xmlns:a16="http://schemas.microsoft.com/office/drawing/2014/main" id="{0417AC03-2690-1841-BD29-3847665DB82F}"/>
                </a:ext>
              </a:extLst>
            </p:cNvPr>
            <p:cNvPicPr>
              <a:picLocks noChangeAspect="1"/>
            </p:cNvPicPr>
            <p:nvPr userDrawn="1"/>
          </p:nvPicPr>
          <p:blipFill>
            <a:blip r:embed="rId3"/>
            <a:stretch>
              <a:fillRect/>
            </a:stretch>
          </p:blipFill>
          <p:spPr>
            <a:xfrm>
              <a:off x="9825738" y="9911907"/>
              <a:ext cx="11204576" cy="501690"/>
            </a:xfrm>
            <a:prstGeom prst="rect">
              <a:avLst/>
            </a:prstGeom>
            <a:ln w="12700">
              <a:miter lim="400000"/>
            </a:ln>
          </p:spPr>
        </p:pic>
        <p:sp>
          <p:nvSpPr>
            <p:cNvPr id="35" name="R242 G242 B242…">
              <a:extLst>
                <a:ext uri="{FF2B5EF4-FFF2-40B4-BE49-F238E27FC236}">
                  <a16:creationId xmlns:a16="http://schemas.microsoft.com/office/drawing/2014/main" id="{33047C28-EE31-F24E-88CB-41A179A9DA1A}"/>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6" name="R230 G230 B230…">
              <a:extLst>
                <a:ext uri="{FF2B5EF4-FFF2-40B4-BE49-F238E27FC236}">
                  <a16:creationId xmlns:a16="http://schemas.microsoft.com/office/drawing/2014/main" id="{6F781E64-5B55-A948-91F9-BEDE9B9ADE01}"/>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7" name="R210 G210 B210…">
              <a:extLst>
                <a:ext uri="{FF2B5EF4-FFF2-40B4-BE49-F238E27FC236}">
                  <a16:creationId xmlns:a16="http://schemas.microsoft.com/office/drawing/2014/main" id="{258F27DF-E03D-0743-A234-C830D0EF856B}"/>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38" name="R115 G115 B115…">
              <a:extLst>
                <a:ext uri="{FF2B5EF4-FFF2-40B4-BE49-F238E27FC236}">
                  <a16:creationId xmlns:a16="http://schemas.microsoft.com/office/drawing/2014/main" id="{16EB18EA-852A-9F41-9686-371D8DE5DB11}"/>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39" name="R80 G80 B80…">
              <a:extLst>
                <a:ext uri="{FF2B5EF4-FFF2-40B4-BE49-F238E27FC236}">
                  <a16:creationId xmlns:a16="http://schemas.microsoft.com/office/drawing/2014/main" id="{B71B009F-CB0C-B047-9B59-AA249EE6BF5A}"/>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0" name="R47 G47 B47…">
              <a:extLst>
                <a:ext uri="{FF2B5EF4-FFF2-40B4-BE49-F238E27FC236}">
                  <a16:creationId xmlns:a16="http://schemas.microsoft.com/office/drawing/2014/main" id="{987A249A-5B9A-6241-B0E0-BFEF26AC87D2}"/>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1" name="R0 G0 B0…">
              <a:extLst>
                <a:ext uri="{FF2B5EF4-FFF2-40B4-BE49-F238E27FC236}">
                  <a16:creationId xmlns:a16="http://schemas.microsoft.com/office/drawing/2014/main" id="{04EA0E46-A0A9-5F40-896A-ED64FA5109FF}"/>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2" name="Primary">
              <a:extLst>
                <a:ext uri="{FF2B5EF4-FFF2-40B4-BE49-F238E27FC236}">
                  <a16:creationId xmlns:a16="http://schemas.microsoft.com/office/drawing/2014/main" id="{BDA4ABD0-FA71-D84E-B392-B37E00806C0B}"/>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3" name="Secondary">
              <a:extLst>
                <a:ext uri="{FF2B5EF4-FFF2-40B4-BE49-F238E27FC236}">
                  <a16:creationId xmlns:a16="http://schemas.microsoft.com/office/drawing/2014/main" id="{795DB9EA-7409-004E-9363-E5E41E4F8607}"/>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4" name="Primary">
              <a:extLst>
                <a:ext uri="{FF2B5EF4-FFF2-40B4-BE49-F238E27FC236}">
                  <a16:creationId xmlns:a16="http://schemas.microsoft.com/office/drawing/2014/main" id="{70BF4A6F-EC3A-BA49-A38B-73895A710312}"/>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1C2F1ED6-C52A-0247-AE06-750B40923153}"/>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8" name="Text Placeholder 4">
            <a:extLst>
              <a:ext uri="{FF2B5EF4-FFF2-40B4-BE49-F238E27FC236}">
                <a16:creationId xmlns:a16="http://schemas.microsoft.com/office/drawing/2014/main" id="{57A0282C-9D5D-2A48-BAAA-DBDFA4AF4284}"/>
              </a:ext>
            </a:extLst>
          </p:cNvPr>
          <p:cNvSpPr>
            <a:spLocks noGrp="1"/>
          </p:cNvSpPr>
          <p:nvPr>
            <p:ph type="body" sz="quarter" idx="10" hasCustomPrompt="1"/>
          </p:nvPr>
        </p:nvSpPr>
        <p:spPr>
          <a:xfrm>
            <a:off x="2611552" y="2460172"/>
            <a:ext cx="6968897" cy="1349602"/>
          </a:xfrm>
          <a:prstGeom prst="rect">
            <a:avLst/>
          </a:prstGeom>
        </p:spPr>
        <p:txBody>
          <a:bodyPr/>
          <a:lstStyle>
            <a:lvl1pPr marL="0" indent="0" algn="ctr">
              <a:lnSpc>
                <a:spcPct val="120000"/>
              </a:lnSpc>
              <a:buNone/>
              <a:defRPr sz="2200" b="0" i="0" spc="0" baseline="0">
                <a:solidFill>
                  <a:schemeClr val="bg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a:t>
            </a:r>
            <a:br>
              <a:rPr lang="en-US"/>
            </a:b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br>
              <a:rPr lang="en-US"/>
            </a:br>
            <a:r>
              <a:rPr lang="en-US" err="1"/>
              <a:t>incididunt</a:t>
            </a:r>
            <a:r>
              <a:rPr lang="en-US"/>
              <a:t> </a:t>
            </a:r>
            <a:r>
              <a:rPr lang="en-US" err="1"/>
              <a:t>ut</a:t>
            </a:r>
            <a:r>
              <a:rPr lang="en-US"/>
              <a:t> </a:t>
            </a:r>
            <a:r>
              <a:rPr lang="en-US" err="1"/>
              <a:t>labore</a:t>
            </a:r>
            <a:r>
              <a:rPr lang="en-US"/>
              <a:t> et dolore magna </a:t>
            </a:r>
            <a:r>
              <a:rPr lang="en-US" err="1"/>
              <a:t>aliqua</a:t>
            </a:r>
            <a:r>
              <a:rPr lang="en-US"/>
              <a:t>.” 22pt</a:t>
            </a:r>
          </a:p>
        </p:txBody>
      </p:sp>
      <p:sp>
        <p:nvSpPr>
          <p:cNvPr id="50" name="Subtitle 2">
            <a:extLst>
              <a:ext uri="{FF2B5EF4-FFF2-40B4-BE49-F238E27FC236}">
                <a16:creationId xmlns:a16="http://schemas.microsoft.com/office/drawing/2014/main" id="{8A133AA0-E92B-524D-82C2-9BD453301949}"/>
              </a:ext>
            </a:extLst>
          </p:cNvPr>
          <p:cNvSpPr>
            <a:spLocks noGrp="1"/>
          </p:cNvSpPr>
          <p:nvPr>
            <p:ph type="subTitle" idx="1" hasCustomPrompt="1"/>
          </p:nvPr>
        </p:nvSpPr>
        <p:spPr>
          <a:xfrm>
            <a:off x="2611553" y="4137077"/>
            <a:ext cx="6968896" cy="430887"/>
          </a:xfrm>
          <a:prstGeom prst="rect">
            <a:avLst/>
          </a:prstGeom>
        </p:spPr>
        <p:txBody>
          <a:bodyPr wrap="square">
            <a:spAutoFit/>
          </a:bodyPr>
          <a:lstStyle>
            <a:lvl1pPr marL="0" indent="0" algn="ctr">
              <a:lnSpc>
                <a:spcPct val="100000"/>
              </a:lnSpc>
              <a:buNone/>
              <a:defRPr sz="2200" cap="all" spc="440" baseline="0">
                <a:solidFill>
                  <a:schemeClr val="tx1"/>
                </a:solidFill>
                <a:latin typeface="Segoe UI" panose="020B0502040204020203" pitchFamily="34" charset="0"/>
                <a:cs typeface="Segoe UI"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Speaker name or subtitle, 22pt</a:t>
            </a:r>
          </a:p>
        </p:txBody>
      </p:sp>
    </p:spTree>
    <p:extLst>
      <p:ext uri="{BB962C8B-B14F-4D97-AF65-F5344CB8AC3E}">
        <p14:creationId xmlns:p14="http://schemas.microsoft.com/office/powerpoint/2010/main" val="126529759"/>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preserve="1" userDrawn="1">
  <p:cSld name="Special Section Divider">
    <p:bg>
      <p:bgPr>
        <a:solidFill>
          <a:srgbClr val="F2F2F2"/>
        </a:solidFill>
        <a:effectLst/>
      </p:bgPr>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23E8EA90-A74B-1644-8AAF-65FE0006F75A}"/>
              </a:ext>
            </a:extLst>
          </p:cNvPr>
          <p:cNvPicPr>
            <a:picLocks noChangeAspect="1"/>
          </p:cNvPicPr>
          <p:nvPr userDrawn="1"/>
        </p:nvPicPr>
        <p:blipFill>
          <a:blip r:embed="rId2"/>
          <a:stretch>
            <a:fillRect/>
          </a:stretch>
        </p:blipFill>
        <p:spPr>
          <a:xfrm>
            <a:off x="2812923" y="0"/>
            <a:ext cx="9379077" cy="6227998"/>
          </a:xfrm>
          <a:prstGeom prst="rect">
            <a:avLst/>
          </a:prstGeom>
          <a:ln w="12700">
            <a:miter lim="400000"/>
          </a:ln>
        </p:spPr>
      </p:pic>
      <p:sp>
        <p:nvSpPr>
          <p:cNvPr id="8" name="Rounded Rectangle">
            <a:extLst>
              <a:ext uri="{FF2B5EF4-FFF2-40B4-BE49-F238E27FC236}">
                <a16:creationId xmlns:a16="http://schemas.microsoft.com/office/drawing/2014/main" id="{D977F431-0689-8C41-B7A7-3F422DA3B700}"/>
              </a:ext>
            </a:extLst>
          </p:cNvPr>
          <p:cNvSpPr/>
          <p:nvPr userDrawn="1"/>
        </p:nvSpPr>
        <p:spPr>
          <a:xfrm>
            <a:off x="1408021" y="1082401"/>
            <a:ext cx="9375960" cy="4693198"/>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00"/>
          </a:p>
        </p:txBody>
      </p:sp>
      <p:pic>
        <p:nvPicPr>
          <p:cNvPr id="9" name="Image" descr="Image">
            <a:extLst>
              <a:ext uri="{FF2B5EF4-FFF2-40B4-BE49-F238E27FC236}">
                <a16:creationId xmlns:a16="http://schemas.microsoft.com/office/drawing/2014/main" id="{4DA96CE1-B3E4-7D4F-BE51-C00D0B1BEBFE}"/>
              </a:ext>
            </a:extLst>
          </p:cNvPr>
          <p:cNvPicPr>
            <a:picLocks noChangeAspect="1"/>
          </p:cNvPicPr>
          <p:nvPr userDrawn="1"/>
        </p:nvPicPr>
        <p:blipFill>
          <a:blip r:embed="rId3"/>
          <a:stretch>
            <a:fillRect/>
          </a:stretch>
        </p:blipFill>
        <p:spPr>
          <a:xfrm>
            <a:off x="8047" y="8948"/>
            <a:ext cx="12192000" cy="6858000"/>
          </a:xfrm>
          <a:prstGeom prst="rect">
            <a:avLst/>
          </a:prstGeom>
          <a:ln w="12700">
            <a:miter lim="400000"/>
          </a:ln>
        </p:spPr>
      </p:pic>
      <p:sp>
        <p:nvSpPr>
          <p:cNvPr id="5" name="Title 1">
            <a:extLst>
              <a:ext uri="{FF2B5EF4-FFF2-40B4-BE49-F238E27FC236}">
                <a16:creationId xmlns:a16="http://schemas.microsoft.com/office/drawing/2014/main" id="{7FEDD2F8-AEE0-8D4B-8642-3DF4E1390824}"/>
              </a:ext>
            </a:extLst>
          </p:cNvPr>
          <p:cNvSpPr>
            <a:spLocks noGrp="1"/>
          </p:cNvSpPr>
          <p:nvPr>
            <p:ph type="title" hasCustomPrompt="1"/>
          </p:nvPr>
        </p:nvSpPr>
        <p:spPr>
          <a:xfrm>
            <a:off x="2545781" y="2666823"/>
            <a:ext cx="7127680" cy="553998"/>
          </a:xfrm>
          <a:prstGeom prst="rect">
            <a:avLst/>
          </a:prstGeom>
        </p:spPr>
        <p:txBody>
          <a:bodyPr wrap="square" lIns="0" tIns="0" rIns="0" bIns="0">
            <a:noAutofit/>
          </a:bodyPr>
          <a:lstStyle>
            <a:lvl1pPr marL="4571">
              <a:lnSpc>
                <a:spcPct val="100000"/>
              </a:lnSpc>
              <a:defRPr sz="3600" b="1" i="0" spc="-50" baseline="0">
                <a:solidFill>
                  <a:srgbClr val="243A5E"/>
                </a:solidFill>
                <a:latin typeface="Segoe UI Semibold" panose="020B0502040204020203" pitchFamily="34" charset="0"/>
                <a:cs typeface="Segoe UI Semibold" panose="020B0502040204020203" pitchFamily="34" charset="0"/>
              </a:defRPr>
            </a:lvl1pPr>
          </a:lstStyle>
          <a:p>
            <a:r>
              <a:rPr lang="en-US"/>
              <a:t>Presentation title, 36pt</a:t>
            </a:r>
          </a:p>
        </p:txBody>
      </p:sp>
      <p:sp>
        <p:nvSpPr>
          <p:cNvPr id="6" name="Subtitle 2">
            <a:extLst>
              <a:ext uri="{FF2B5EF4-FFF2-40B4-BE49-F238E27FC236}">
                <a16:creationId xmlns:a16="http://schemas.microsoft.com/office/drawing/2014/main" id="{9E0105FF-A462-154A-9AEE-AD7318DF04E2}"/>
              </a:ext>
            </a:extLst>
          </p:cNvPr>
          <p:cNvSpPr>
            <a:spLocks noGrp="1"/>
          </p:cNvSpPr>
          <p:nvPr>
            <p:ph type="subTitle" idx="1" hasCustomPrompt="1"/>
          </p:nvPr>
        </p:nvSpPr>
        <p:spPr>
          <a:xfrm>
            <a:off x="2541820" y="2012658"/>
            <a:ext cx="7131642" cy="338554"/>
          </a:xfrm>
          <a:prstGeom prst="rect">
            <a:avLst/>
          </a:prstGeom>
        </p:spPr>
        <p:txBody>
          <a:bodyPr wrap="square" lIns="0" tIns="0" rIns="0" bIns="0">
            <a:spAutoFit/>
          </a:bodyPr>
          <a:lstStyle>
            <a:lvl1pPr marL="0" indent="0" algn="l">
              <a:lnSpc>
                <a:spcPct val="100000"/>
              </a:lnSpc>
              <a:spcBef>
                <a:spcPts val="0"/>
              </a:spcBef>
              <a:buNone/>
              <a:defRPr sz="2200" cap="all" spc="280" baseline="0">
                <a:solidFill>
                  <a:srgbClr val="0078D4"/>
                </a:solidFill>
                <a:latin typeface="Segoe UI" panose="020B0502040204020203" pitchFamily="34" charset="0"/>
                <a:cs typeface="Segoe UI"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Speaker name or subtitle, 22pt</a:t>
            </a:r>
          </a:p>
        </p:txBody>
      </p:sp>
      <p:sp>
        <p:nvSpPr>
          <p:cNvPr id="10" name="Text Placeholder 9">
            <a:extLst>
              <a:ext uri="{FF2B5EF4-FFF2-40B4-BE49-F238E27FC236}">
                <a16:creationId xmlns:a16="http://schemas.microsoft.com/office/drawing/2014/main" id="{408D70BC-3E91-4744-93D8-5A1B55811711}"/>
              </a:ext>
            </a:extLst>
          </p:cNvPr>
          <p:cNvSpPr>
            <a:spLocks noGrp="1"/>
          </p:cNvSpPr>
          <p:nvPr>
            <p:ph type="body" sz="quarter" idx="10" hasCustomPrompt="1"/>
          </p:nvPr>
        </p:nvSpPr>
        <p:spPr>
          <a:xfrm>
            <a:off x="2545782" y="3536433"/>
            <a:ext cx="7127679" cy="1454023"/>
          </a:xfrm>
          <a:prstGeom prst="rect">
            <a:avLst/>
          </a:prstGeom>
        </p:spPr>
        <p:txBody>
          <a:bodyPr lIns="0" tIns="0" rIns="0" bIns="0">
            <a:normAutofit/>
          </a:bodyPr>
          <a:lstStyle>
            <a:lvl1pPr marL="0" indent="0">
              <a:buNone/>
              <a:defRPr sz="2000" b="0" i="0" spc="0">
                <a:solidFill>
                  <a:srgbClr val="2F2F2F"/>
                </a:solidFill>
                <a:latin typeface="Segoe UI" panose="020B0502040204020203" pitchFamily="34" charset="0"/>
                <a:cs typeface="Segoe UI" panose="020B0502040204020203" pitchFamily="34" charset="0"/>
              </a:defRPr>
            </a:lvl1pPr>
          </a:lstStyle>
          <a:p>
            <a:pPr lvl="0"/>
            <a:r>
              <a:rPr lang="en-US"/>
              <a:t>Body copy, 20pt</a:t>
            </a:r>
          </a:p>
        </p:txBody>
      </p:sp>
      <p:grpSp>
        <p:nvGrpSpPr>
          <p:cNvPr id="11" name="Group 10">
            <a:extLst>
              <a:ext uri="{FF2B5EF4-FFF2-40B4-BE49-F238E27FC236}">
                <a16:creationId xmlns:a16="http://schemas.microsoft.com/office/drawing/2014/main" id="{B9884A09-66B7-CF4C-9E8A-7359F25D6FE7}"/>
              </a:ext>
            </a:extLst>
          </p:cNvPr>
          <p:cNvGrpSpPr/>
          <p:nvPr userDrawn="1"/>
        </p:nvGrpSpPr>
        <p:grpSpPr>
          <a:xfrm rot="5400000">
            <a:off x="10146364" y="2385921"/>
            <a:ext cx="6714479" cy="2229681"/>
            <a:chOff x="8270283" y="6177473"/>
            <a:chExt cx="12760035" cy="4236124"/>
          </a:xfrm>
        </p:grpSpPr>
        <p:pic>
          <p:nvPicPr>
            <p:cNvPr id="12" name="Image" descr="Image">
              <a:extLst>
                <a:ext uri="{FF2B5EF4-FFF2-40B4-BE49-F238E27FC236}">
                  <a16:creationId xmlns:a16="http://schemas.microsoft.com/office/drawing/2014/main" id="{BFD6579F-2E0B-AC4E-B3CF-F8E77C54053E}"/>
                </a:ext>
              </a:extLst>
            </p:cNvPr>
            <p:cNvPicPr>
              <a:picLocks noChangeAspect="1"/>
            </p:cNvPicPr>
            <p:nvPr userDrawn="1"/>
          </p:nvPicPr>
          <p:blipFill>
            <a:blip r:embed="rId4"/>
            <a:srcRect b="20208"/>
            <a:stretch>
              <a:fillRect/>
            </a:stretch>
          </p:blipFill>
          <p:spPr>
            <a:xfrm>
              <a:off x="9825738" y="6285642"/>
              <a:ext cx="11204580" cy="2819606"/>
            </a:xfrm>
            <a:prstGeom prst="rect">
              <a:avLst/>
            </a:prstGeom>
            <a:ln w="12700">
              <a:miter lim="400000"/>
            </a:ln>
          </p:spPr>
        </p:pic>
        <p:sp>
          <p:nvSpPr>
            <p:cNvPr id="13" name="R134 G97 B197…">
              <a:extLst>
                <a:ext uri="{FF2B5EF4-FFF2-40B4-BE49-F238E27FC236}">
                  <a16:creationId xmlns:a16="http://schemas.microsoft.com/office/drawing/2014/main" id="{C1FB9FD0-9348-D44A-B22B-BA9C683ED97E}"/>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4" name="R59 G46 B88…">
              <a:extLst>
                <a:ext uri="{FF2B5EF4-FFF2-40B4-BE49-F238E27FC236}">
                  <a16:creationId xmlns:a16="http://schemas.microsoft.com/office/drawing/2014/main" id="{F8BE03AA-34DA-4049-B449-11A0EE1852CE}"/>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5" name="R213 G157 B255…">
              <a:extLst>
                <a:ext uri="{FF2B5EF4-FFF2-40B4-BE49-F238E27FC236}">
                  <a16:creationId xmlns:a16="http://schemas.microsoft.com/office/drawing/2014/main" id="{2B0C9B98-814E-2F4A-8F45-17752BEDEFFE}"/>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6" name="R161 G133 B210…">
              <a:extLst>
                <a:ext uri="{FF2B5EF4-FFF2-40B4-BE49-F238E27FC236}">
                  <a16:creationId xmlns:a16="http://schemas.microsoft.com/office/drawing/2014/main" id="{7B698C4F-5365-EA49-9E8E-37D03F323454}"/>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7" name="R0 G120 B212…">
              <a:extLst>
                <a:ext uri="{FF2B5EF4-FFF2-40B4-BE49-F238E27FC236}">
                  <a16:creationId xmlns:a16="http://schemas.microsoft.com/office/drawing/2014/main" id="{FD35F576-63A9-D94A-9E52-E9846D10E673}"/>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8" name="R36 G58 B94…">
              <a:extLst>
                <a:ext uri="{FF2B5EF4-FFF2-40B4-BE49-F238E27FC236}">
                  <a16:creationId xmlns:a16="http://schemas.microsoft.com/office/drawing/2014/main" id="{75AD73AB-A303-AB4D-BE93-3CC19BEE95EE}"/>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20" name="R80 G230 B255…">
              <a:extLst>
                <a:ext uri="{FF2B5EF4-FFF2-40B4-BE49-F238E27FC236}">
                  <a16:creationId xmlns:a16="http://schemas.microsoft.com/office/drawing/2014/main" id="{73A6DAC9-3DF7-1247-B432-B0151529BE90}"/>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21" name="R40 G167 B233…">
              <a:extLst>
                <a:ext uri="{FF2B5EF4-FFF2-40B4-BE49-F238E27FC236}">
                  <a16:creationId xmlns:a16="http://schemas.microsoft.com/office/drawing/2014/main" id="{0F76C5AE-1071-044C-AA75-BF4F88A80762}"/>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2" name="R0 G133 B117   Hex #008575   C100 M15 Y60 K0   PMS 3285 C">
              <a:extLst>
                <a:ext uri="{FF2B5EF4-FFF2-40B4-BE49-F238E27FC236}">
                  <a16:creationId xmlns:a16="http://schemas.microsoft.com/office/drawing/2014/main" id="{D035A622-20C6-674D-ABDC-CB954413DF1C}"/>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3" name="R39 G75 B71   Hex #274b47…">
              <a:extLst>
                <a:ext uri="{FF2B5EF4-FFF2-40B4-BE49-F238E27FC236}">
                  <a16:creationId xmlns:a16="http://schemas.microsoft.com/office/drawing/2014/main" id="{61E4D389-EB97-A448-AD60-AEDEB2F00D3A}"/>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4" name="R48 G229 B208…">
              <a:extLst>
                <a:ext uri="{FF2B5EF4-FFF2-40B4-BE49-F238E27FC236}">
                  <a16:creationId xmlns:a16="http://schemas.microsoft.com/office/drawing/2014/main" id="{B439E7C5-9742-434B-AD0D-FDF86B290917}"/>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5" name="R40 G194 B209…">
              <a:extLst>
                <a:ext uri="{FF2B5EF4-FFF2-40B4-BE49-F238E27FC236}">
                  <a16:creationId xmlns:a16="http://schemas.microsoft.com/office/drawing/2014/main" id="{5A894DB0-0F8E-2F4F-A2AB-6D410D902A92}"/>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6" name="R16 G124 B16  Hex #107c10  C75 M0 Y100 K0   PMS 362 C">
              <a:extLst>
                <a:ext uri="{FF2B5EF4-FFF2-40B4-BE49-F238E27FC236}">
                  <a16:creationId xmlns:a16="http://schemas.microsoft.com/office/drawing/2014/main" id="{F38A69B6-9F9E-CC48-91C2-1575DD38A32F}"/>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7" name="R5 G75 B22   Hex #054b16…">
              <a:extLst>
                <a:ext uri="{FF2B5EF4-FFF2-40B4-BE49-F238E27FC236}">
                  <a16:creationId xmlns:a16="http://schemas.microsoft.com/office/drawing/2014/main" id="{28A274DA-9171-9747-AB5C-EF263821F373}"/>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8" name="R155 G240 B11…">
              <a:extLst>
                <a:ext uri="{FF2B5EF4-FFF2-40B4-BE49-F238E27FC236}">
                  <a16:creationId xmlns:a16="http://schemas.microsoft.com/office/drawing/2014/main" id="{56DA42B8-D18A-0347-81E1-BE7A8DE6AF9A}"/>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9" name="R127 G186 B0…">
              <a:extLst>
                <a:ext uri="{FF2B5EF4-FFF2-40B4-BE49-F238E27FC236}">
                  <a16:creationId xmlns:a16="http://schemas.microsoft.com/office/drawing/2014/main" id="{407A1C50-6794-EC45-AD4A-3097DBC245F1}"/>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30" name="R216 G59 B1…">
              <a:extLst>
                <a:ext uri="{FF2B5EF4-FFF2-40B4-BE49-F238E27FC236}">
                  <a16:creationId xmlns:a16="http://schemas.microsoft.com/office/drawing/2014/main" id="{D095C4F1-2383-4949-9E67-33D47E26159C}"/>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31" name="R107 G41 B41…">
              <a:extLst>
                <a:ext uri="{FF2B5EF4-FFF2-40B4-BE49-F238E27FC236}">
                  <a16:creationId xmlns:a16="http://schemas.microsoft.com/office/drawing/2014/main" id="{EF879688-380F-CF44-BF84-F8F8CF2581B1}"/>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2" name="R255 G147 B73…">
              <a:extLst>
                <a:ext uri="{FF2B5EF4-FFF2-40B4-BE49-F238E27FC236}">
                  <a16:creationId xmlns:a16="http://schemas.microsoft.com/office/drawing/2014/main" id="{82FE479A-A702-DE46-A103-A0B4A98D60D1}"/>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3" name="R241 G101 B34…">
              <a:extLst>
                <a:ext uri="{FF2B5EF4-FFF2-40B4-BE49-F238E27FC236}">
                  <a16:creationId xmlns:a16="http://schemas.microsoft.com/office/drawing/2014/main" id="{914E0248-5807-5649-9D67-8A87B157D20B}"/>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4" name="R255 G185 B0…">
              <a:extLst>
                <a:ext uri="{FF2B5EF4-FFF2-40B4-BE49-F238E27FC236}">
                  <a16:creationId xmlns:a16="http://schemas.microsoft.com/office/drawing/2014/main" id="{1E86FE6E-DB36-9648-ABCD-0F63CD0E146B}"/>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5" name="R106 G75 B22…">
              <a:extLst>
                <a:ext uri="{FF2B5EF4-FFF2-40B4-BE49-F238E27FC236}">
                  <a16:creationId xmlns:a16="http://schemas.microsoft.com/office/drawing/2014/main" id="{86EBDE02-9B34-2743-B3AD-5D720A45069F}"/>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6" name="R254 G240 B0…">
              <a:extLst>
                <a:ext uri="{FF2B5EF4-FFF2-40B4-BE49-F238E27FC236}">
                  <a16:creationId xmlns:a16="http://schemas.microsoft.com/office/drawing/2014/main" id="{E044BB2C-917C-3B4E-84ED-F00A40EAE94C}"/>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7" name="R254 G212 B0…">
              <a:extLst>
                <a:ext uri="{FF2B5EF4-FFF2-40B4-BE49-F238E27FC236}">
                  <a16:creationId xmlns:a16="http://schemas.microsoft.com/office/drawing/2014/main" id="{820FBC61-BF59-6640-893D-9D946A1839A7}"/>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8" name="Image" descr="Image">
              <a:extLst>
                <a:ext uri="{FF2B5EF4-FFF2-40B4-BE49-F238E27FC236}">
                  <a16:creationId xmlns:a16="http://schemas.microsoft.com/office/drawing/2014/main" id="{5E5B3702-F2FD-1E4E-83F0-6B0FDE5E6A87}"/>
                </a:ext>
              </a:extLst>
            </p:cNvPr>
            <p:cNvPicPr>
              <a:picLocks noChangeAspect="1"/>
            </p:cNvPicPr>
            <p:nvPr userDrawn="1"/>
          </p:nvPicPr>
          <p:blipFill>
            <a:blip r:embed="rId5"/>
            <a:stretch>
              <a:fillRect/>
            </a:stretch>
          </p:blipFill>
          <p:spPr>
            <a:xfrm>
              <a:off x="9825738" y="9911907"/>
              <a:ext cx="11204576" cy="501690"/>
            </a:xfrm>
            <a:prstGeom prst="rect">
              <a:avLst/>
            </a:prstGeom>
            <a:ln w="12700">
              <a:miter lim="400000"/>
            </a:ln>
          </p:spPr>
        </p:pic>
        <p:sp>
          <p:nvSpPr>
            <p:cNvPr id="39" name="R242 G242 B242…">
              <a:extLst>
                <a:ext uri="{FF2B5EF4-FFF2-40B4-BE49-F238E27FC236}">
                  <a16:creationId xmlns:a16="http://schemas.microsoft.com/office/drawing/2014/main" id="{7FD4C549-DEC5-C847-9BF6-96A17A0494AF}"/>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40" name="R230 G230 B230…">
              <a:extLst>
                <a:ext uri="{FF2B5EF4-FFF2-40B4-BE49-F238E27FC236}">
                  <a16:creationId xmlns:a16="http://schemas.microsoft.com/office/drawing/2014/main" id="{186A0629-84F2-1540-A7BC-B0D5DF45C618}"/>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41" name="R210 G210 B210…">
              <a:extLst>
                <a:ext uri="{FF2B5EF4-FFF2-40B4-BE49-F238E27FC236}">
                  <a16:creationId xmlns:a16="http://schemas.microsoft.com/office/drawing/2014/main" id="{742C97BE-E444-1342-A76A-5E826DB46E35}"/>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2" name="R115 G115 B115…">
              <a:extLst>
                <a:ext uri="{FF2B5EF4-FFF2-40B4-BE49-F238E27FC236}">
                  <a16:creationId xmlns:a16="http://schemas.microsoft.com/office/drawing/2014/main" id="{7B71431F-7920-A544-9F1F-A6D24C6CCBE7}"/>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3" name="R80 G80 B80…">
              <a:extLst>
                <a:ext uri="{FF2B5EF4-FFF2-40B4-BE49-F238E27FC236}">
                  <a16:creationId xmlns:a16="http://schemas.microsoft.com/office/drawing/2014/main" id="{783434BE-F9AF-E041-92AC-A6BE7DB4468E}"/>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4" name="R47 G47 B47…">
              <a:extLst>
                <a:ext uri="{FF2B5EF4-FFF2-40B4-BE49-F238E27FC236}">
                  <a16:creationId xmlns:a16="http://schemas.microsoft.com/office/drawing/2014/main" id="{D0BA6446-B29C-AD4C-AE45-FBC71AF5173A}"/>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5" name="R0 G0 B0…">
              <a:extLst>
                <a:ext uri="{FF2B5EF4-FFF2-40B4-BE49-F238E27FC236}">
                  <a16:creationId xmlns:a16="http://schemas.microsoft.com/office/drawing/2014/main" id="{86DD875A-469B-8D41-92AB-A3FE4768DDD4}"/>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6" name="Primary">
              <a:extLst>
                <a:ext uri="{FF2B5EF4-FFF2-40B4-BE49-F238E27FC236}">
                  <a16:creationId xmlns:a16="http://schemas.microsoft.com/office/drawing/2014/main" id="{4309B6D7-CDB6-EA43-9320-ECB48361CE31}"/>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83539199-EE3A-C247-A7C1-9154C58676F7}"/>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8" name="Primary">
              <a:extLst>
                <a:ext uri="{FF2B5EF4-FFF2-40B4-BE49-F238E27FC236}">
                  <a16:creationId xmlns:a16="http://schemas.microsoft.com/office/drawing/2014/main" id="{EB21E731-90CB-9241-9072-F6AEDAAC9EAA}"/>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9" name="Secondary">
              <a:extLst>
                <a:ext uri="{FF2B5EF4-FFF2-40B4-BE49-F238E27FC236}">
                  <a16:creationId xmlns:a16="http://schemas.microsoft.com/office/drawing/2014/main" id="{CA8AE9DD-3463-8841-9DB8-A6D11E28DA75}"/>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Tree>
    <p:extLst>
      <p:ext uri="{BB962C8B-B14F-4D97-AF65-F5344CB8AC3E}">
        <p14:creationId xmlns:p14="http://schemas.microsoft.com/office/powerpoint/2010/main" val="12654508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5456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preserve="1" userDrawn="1">
  <p:cSld name="Table">
    <p:bg>
      <p:bgPr>
        <a:solidFill>
          <a:srgbClr val="F2F2F2"/>
        </a:solidFill>
        <a:effectLst/>
      </p:bgPr>
    </p:bg>
    <p:spTree>
      <p:nvGrpSpPr>
        <p:cNvPr id="1" name=""/>
        <p:cNvGrpSpPr/>
        <p:nvPr/>
      </p:nvGrpSpPr>
      <p:grpSpPr>
        <a:xfrm>
          <a:off x="0" y="0"/>
          <a:ext cx="0" cy="0"/>
          <a:chOff x="0" y="0"/>
          <a:chExt cx="0" cy="0"/>
        </a:xfrm>
      </p:grpSpPr>
      <p:pic>
        <p:nvPicPr>
          <p:cNvPr id="53" name="Image" descr="Image">
            <a:extLst>
              <a:ext uri="{FF2B5EF4-FFF2-40B4-BE49-F238E27FC236}">
                <a16:creationId xmlns:a16="http://schemas.microsoft.com/office/drawing/2014/main" id="{B942BBF3-5645-DE4F-B190-43E9BF1C8042}"/>
              </a:ext>
            </a:extLst>
          </p:cNvPr>
          <p:cNvPicPr>
            <a:picLocks noChangeAspect="1"/>
          </p:cNvPicPr>
          <p:nvPr userDrawn="1"/>
        </p:nvPicPr>
        <p:blipFill>
          <a:blip r:embed="rId2"/>
          <a:stretch>
            <a:fillRect/>
          </a:stretch>
        </p:blipFill>
        <p:spPr>
          <a:xfrm>
            <a:off x="2403108" y="-23619"/>
            <a:ext cx="9971751" cy="6653019"/>
          </a:xfrm>
          <a:prstGeom prst="rect">
            <a:avLst/>
          </a:prstGeom>
          <a:ln w="12700">
            <a:miter lim="400000"/>
          </a:ln>
        </p:spPr>
      </p:pic>
      <p:sp>
        <p:nvSpPr>
          <p:cNvPr id="8" name="Rounded Rectangle">
            <a:extLst>
              <a:ext uri="{FF2B5EF4-FFF2-40B4-BE49-F238E27FC236}">
                <a16:creationId xmlns:a16="http://schemas.microsoft.com/office/drawing/2014/main" id="{D977F431-0689-8C41-B7A7-3F422DA3B700}"/>
              </a:ext>
            </a:extLst>
          </p:cNvPr>
          <p:cNvSpPr/>
          <p:nvPr userDrawn="1"/>
        </p:nvSpPr>
        <p:spPr>
          <a:xfrm>
            <a:off x="570062" y="571500"/>
            <a:ext cx="11051878" cy="5715000"/>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r>
              <a:rPr lang="en-US" sz="1600"/>
              <a:t>v</a:t>
            </a:r>
            <a:endParaRPr sz="1600"/>
          </a:p>
        </p:txBody>
      </p:sp>
      <p:grpSp>
        <p:nvGrpSpPr>
          <p:cNvPr id="9" name="Group 8">
            <a:extLst>
              <a:ext uri="{FF2B5EF4-FFF2-40B4-BE49-F238E27FC236}">
                <a16:creationId xmlns:a16="http://schemas.microsoft.com/office/drawing/2014/main" id="{EDA14B0C-B26A-EA42-9EE1-1EDAF238ADBD}"/>
              </a:ext>
            </a:extLst>
          </p:cNvPr>
          <p:cNvGrpSpPr/>
          <p:nvPr userDrawn="1"/>
        </p:nvGrpSpPr>
        <p:grpSpPr>
          <a:xfrm rot="5400000">
            <a:off x="10146364" y="2385921"/>
            <a:ext cx="6714479" cy="2229681"/>
            <a:chOff x="8270283" y="6177473"/>
            <a:chExt cx="12760035" cy="4236124"/>
          </a:xfrm>
        </p:grpSpPr>
        <p:pic>
          <p:nvPicPr>
            <p:cNvPr id="11" name="Image" descr="Image">
              <a:extLst>
                <a:ext uri="{FF2B5EF4-FFF2-40B4-BE49-F238E27FC236}">
                  <a16:creationId xmlns:a16="http://schemas.microsoft.com/office/drawing/2014/main" id="{A1674A59-7BBC-8B44-A314-3837101693CB}"/>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3" name="R134 G97 B197…">
              <a:extLst>
                <a:ext uri="{FF2B5EF4-FFF2-40B4-BE49-F238E27FC236}">
                  <a16:creationId xmlns:a16="http://schemas.microsoft.com/office/drawing/2014/main" id="{6C1F8F76-B8DD-6A4A-83FD-0096284A3AF8}"/>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4" name="R59 G46 B88…">
              <a:extLst>
                <a:ext uri="{FF2B5EF4-FFF2-40B4-BE49-F238E27FC236}">
                  <a16:creationId xmlns:a16="http://schemas.microsoft.com/office/drawing/2014/main" id="{80D0B581-3793-A54E-A8CA-0D65C37C24D6}"/>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5" name="R213 G157 B255…">
              <a:extLst>
                <a:ext uri="{FF2B5EF4-FFF2-40B4-BE49-F238E27FC236}">
                  <a16:creationId xmlns:a16="http://schemas.microsoft.com/office/drawing/2014/main" id="{3EBA1A0A-4A52-234B-B84F-4444FE763055}"/>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6" name="R161 G133 B210…">
              <a:extLst>
                <a:ext uri="{FF2B5EF4-FFF2-40B4-BE49-F238E27FC236}">
                  <a16:creationId xmlns:a16="http://schemas.microsoft.com/office/drawing/2014/main" id="{2F49017C-5984-C644-8BA6-C7183A58E0B7}"/>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7" name="R0 G120 B212…">
              <a:extLst>
                <a:ext uri="{FF2B5EF4-FFF2-40B4-BE49-F238E27FC236}">
                  <a16:creationId xmlns:a16="http://schemas.microsoft.com/office/drawing/2014/main" id="{9F14269F-727C-1646-8E19-C97672A4CBC7}"/>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8" name="R36 G58 B94…">
              <a:extLst>
                <a:ext uri="{FF2B5EF4-FFF2-40B4-BE49-F238E27FC236}">
                  <a16:creationId xmlns:a16="http://schemas.microsoft.com/office/drawing/2014/main" id="{239CC50F-7FF2-4E46-A462-373C371BCD84}"/>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20" name="R80 G230 B255…">
              <a:extLst>
                <a:ext uri="{FF2B5EF4-FFF2-40B4-BE49-F238E27FC236}">
                  <a16:creationId xmlns:a16="http://schemas.microsoft.com/office/drawing/2014/main" id="{3AB30C35-19B2-7343-882D-11CC573FC6E1}"/>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21" name="R40 G167 B233…">
              <a:extLst>
                <a:ext uri="{FF2B5EF4-FFF2-40B4-BE49-F238E27FC236}">
                  <a16:creationId xmlns:a16="http://schemas.microsoft.com/office/drawing/2014/main" id="{06E399F4-0F32-304A-832C-C42FB1A47F7A}"/>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2" name="R0 G133 B117   Hex #008575   C100 M15 Y60 K0   PMS 3285 C">
              <a:extLst>
                <a:ext uri="{FF2B5EF4-FFF2-40B4-BE49-F238E27FC236}">
                  <a16:creationId xmlns:a16="http://schemas.microsoft.com/office/drawing/2014/main" id="{96FB653D-3C3A-8341-AD81-043F7167D1C4}"/>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3" name="R39 G75 B71   Hex #274b47…">
              <a:extLst>
                <a:ext uri="{FF2B5EF4-FFF2-40B4-BE49-F238E27FC236}">
                  <a16:creationId xmlns:a16="http://schemas.microsoft.com/office/drawing/2014/main" id="{1D58E9C1-33E8-9442-A7A6-0FA9F60BD860}"/>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4" name="R48 G229 B208…">
              <a:extLst>
                <a:ext uri="{FF2B5EF4-FFF2-40B4-BE49-F238E27FC236}">
                  <a16:creationId xmlns:a16="http://schemas.microsoft.com/office/drawing/2014/main" id="{0926053B-75EE-FC46-812C-DF588274AC67}"/>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5" name="R40 G194 B209…">
              <a:extLst>
                <a:ext uri="{FF2B5EF4-FFF2-40B4-BE49-F238E27FC236}">
                  <a16:creationId xmlns:a16="http://schemas.microsoft.com/office/drawing/2014/main" id="{1EB69650-4B18-B242-9DDF-0DD5750D27DE}"/>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6" name="R16 G124 B16  Hex #107c10  C75 M0 Y100 K0   PMS 362 C">
              <a:extLst>
                <a:ext uri="{FF2B5EF4-FFF2-40B4-BE49-F238E27FC236}">
                  <a16:creationId xmlns:a16="http://schemas.microsoft.com/office/drawing/2014/main" id="{DE540432-0FC0-6440-88E4-7630B85B3C51}"/>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7" name="R5 G75 B22   Hex #054b16…">
              <a:extLst>
                <a:ext uri="{FF2B5EF4-FFF2-40B4-BE49-F238E27FC236}">
                  <a16:creationId xmlns:a16="http://schemas.microsoft.com/office/drawing/2014/main" id="{0F62778F-D43C-1544-9EFD-1A2CECB66D89}"/>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8" name="R155 G240 B11…">
              <a:extLst>
                <a:ext uri="{FF2B5EF4-FFF2-40B4-BE49-F238E27FC236}">
                  <a16:creationId xmlns:a16="http://schemas.microsoft.com/office/drawing/2014/main" id="{32AD0ADE-FF6F-A94F-B2D9-FCCFF8B5ABEA}"/>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9" name="R127 G186 B0…">
              <a:extLst>
                <a:ext uri="{FF2B5EF4-FFF2-40B4-BE49-F238E27FC236}">
                  <a16:creationId xmlns:a16="http://schemas.microsoft.com/office/drawing/2014/main" id="{897F0079-D282-B843-B403-495661886DBC}"/>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30" name="R216 G59 B1…">
              <a:extLst>
                <a:ext uri="{FF2B5EF4-FFF2-40B4-BE49-F238E27FC236}">
                  <a16:creationId xmlns:a16="http://schemas.microsoft.com/office/drawing/2014/main" id="{B3B9EB2F-23B8-444A-8219-38060D83AC47}"/>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31" name="R107 G41 B41…">
              <a:extLst>
                <a:ext uri="{FF2B5EF4-FFF2-40B4-BE49-F238E27FC236}">
                  <a16:creationId xmlns:a16="http://schemas.microsoft.com/office/drawing/2014/main" id="{3557B259-79F5-FD4E-ABDD-E847BAE18085}"/>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2" name="R255 G147 B73…">
              <a:extLst>
                <a:ext uri="{FF2B5EF4-FFF2-40B4-BE49-F238E27FC236}">
                  <a16:creationId xmlns:a16="http://schemas.microsoft.com/office/drawing/2014/main" id="{EB769A36-14B8-4648-B1E4-BEAD2DB6A0F8}"/>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3" name="R241 G101 B34…">
              <a:extLst>
                <a:ext uri="{FF2B5EF4-FFF2-40B4-BE49-F238E27FC236}">
                  <a16:creationId xmlns:a16="http://schemas.microsoft.com/office/drawing/2014/main" id="{470D6450-4581-EF4D-8B93-CB615383263A}"/>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4" name="R255 G185 B0…">
              <a:extLst>
                <a:ext uri="{FF2B5EF4-FFF2-40B4-BE49-F238E27FC236}">
                  <a16:creationId xmlns:a16="http://schemas.microsoft.com/office/drawing/2014/main" id="{632749AD-96EC-3343-B1A6-9E0C867ADECF}"/>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5" name="R106 G75 B22…">
              <a:extLst>
                <a:ext uri="{FF2B5EF4-FFF2-40B4-BE49-F238E27FC236}">
                  <a16:creationId xmlns:a16="http://schemas.microsoft.com/office/drawing/2014/main" id="{F9E35FC1-A35F-B745-90EA-57105623AB8B}"/>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6" name="R254 G240 B0…">
              <a:extLst>
                <a:ext uri="{FF2B5EF4-FFF2-40B4-BE49-F238E27FC236}">
                  <a16:creationId xmlns:a16="http://schemas.microsoft.com/office/drawing/2014/main" id="{7BC41431-9EC5-8E4C-8D3B-B32A568DBB01}"/>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7" name="R254 G212 B0…">
              <a:extLst>
                <a:ext uri="{FF2B5EF4-FFF2-40B4-BE49-F238E27FC236}">
                  <a16:creationId xmlns:a16="http://schemas.microsoft.com/office/drawing/2014/main" id="{2D1985BA-6797-E74E-95DB-0E553C8D27A1}"/>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8" name="Image" descr="Image">
              <a:extLst>
                <a:ext uri="{FF2B5EF4-FFF2-40B4-BE49-F238E27FC236}">
                  <a16:creationId xmlns:a16="http://schemas.microsoft.com/office/drawing/2014/main" id="{49B5A0FD-559B-1F4B-BDBD-A10AE80E9A3B}"/>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9" name="R242 G242 B242…">
              <a:extLst>
                <a:ext uri="{FF2B5EF4-FFF2-40B4-BE49-F238E27FC236}">
                  <a16:creationId xmlns:a16="http://schemas.microsoft.com/office/drawing/2014/main" id="{C78963B3-FC09-904D-B2FB-C23CC235BA62}"/>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40" name="R230 G230 B230…">
              <a:extLst>
                <a:ext uri="{FF2B5EF4-FFF2-40B4-BE49-F238E27FC236}">
                  <a16:creationId xmlns:a16="http://schemas.microsoft.com/office/drawing/2014/main" id="{9C015F37-056E-FD47-9300-C8B9ACF7926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41" name="R210 G210 B210…">
              <a:extLst>
                <a:ext uri="{FF2B5EF4-FFF2-40B4-BE49-F238E27FC236}">
                  <a16:creationId xmlns:a16="http://schemas.microsoft.com/office/drawing/2014/main" id="{5982986B-5780-BB45-8959-27F8109F4380}"/>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2" name="R115 G115 B115…">
              <a:extLst>
                <a:ext uri="{FF2B5EF4-FFF2-40B4-BE49-F238E27FC236}">
                  <a16:creationId xmlns:a16="http://schemas.microsoft.com/office/drawing/2014/main" id="{7AD658FA-514D-D349-919E-7D334AE7890E}"/>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3" name="R80 G80 B80…">
              <a:extLst>
                <a:ext uri="{FF2B5EF4-FFF2-40B4-BE49-F238E27FC236}">
                  <a16:creationId xmlns:a16="http://schemas.microsoft.com/office/drawing/2014/main" id="{B62D8CC2-25BD-9145-95E4-001346F89CE3}"/>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4" name="R47 G47 B47…">
              <a:extLst>
                <a:ext uri="{FF2B5EF4-FFF2-40B4-BE49-F238E27FC236}">
                  <a16:creationId xmlns:a16="http://schemas.microsoft.com/office/drawing/2014/main" id="{BD4A5539-C8D0-ED46-A50E-D18D37146AA8}"/>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5" name="R0 G0 B0…">
              <a:extLst>
                <a:ext uri="{FF2B5EF4-FFF2-40B4-BE49-F238E27FC236}">
                  <a16:creationId xmlns:a16="http://schemas.microsoft.com/office/drawing/2014/main" id="{FBE70931-AE50-964D-8193-DB001E6AA459}"/>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6" name="Primary">
              <a:extLst>
                <a:ext uri="{FF2B5EF4-FFF2-40B4-BE49-F238E27FC236}">
                  <a16:creationId xmlns:a16="http://schemas.microsoft.com/office/drawing/2014/main" id="{238D6FF9-3818-5244-923C-36F5F49DA0BC}"/>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5BF1272E-4AC2-FC49-97E2-4BD3DADABB6D}"/>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8" name="Primary">
              <a:extLst>
                <a:ext uri="{FF2B5EF4-FFF2-40B4-BE49-F238E27FC236}">
                  <a16:creationId xmlns:a16="http://schemas.microsoft.com/office/drawing/2014/main" id="{D5BEA3CD-7D1E-EA40-A4C4-DBF39ABE550A}"/>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9" name="Secondary">
              <a:extLst>
                <a:ext uri="{FF2B5EF4-FFF2-40B4-BE49-F238E27FC236}">
                  <a16:creationId xmlns:a16="http://schemas.microsoft.com/office/drawing/2014/main" id="{125547FF-D3C1-E244-9790-F480D2E6CA6D}"/>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6" name="Table Placeholder 5">
            <a:extLst>
              <a:ext uri="{FF2B5EF4-FFF2-40B4-BE49-F238E27FC236}">
                <a16:creationId xmlns:a16="http://schemas.microsoft.com/office/drawing/2014/main" id="{38465923-E3A5-C94A-AD56-2EB067A44929}"/>
              </a:ext>
            </a:extLst>
          </p:cNvPr>
          <p:cNvSpPr>
            <a:spLocks noGrp="1"/>
          </p:cNvSpPr>
          <p:nvPr>
            <p:ph type="tbl" sz="quarter" idx="10"/>
          </p:nvPr>
        </p:nvSpPr>
        <p:spPr>
          <a:xfrm>
            <a:off x="1300503" y="1750688"/>
            <a:ext cx="9620083" cy="4195590"/>
          </a:xfrm>
          <a:prstGeom prst="rect">
            <a:avLst/>
          </a:prstGeom>
        </p:spPr>
        <p:txBody>
          <a:bodyPr/>
          <a:lstStyle>
            <a:lvl1pPr marL="0" indent="0" algn="ctr">
              <a:buNone/>
              <a:defRPr sz="1800">
                <a:solidFill>
                  <a:srgbClr val="2F2F2F"/>
                </a:solidFill>
                <a:latin typeface="Segoe UI" panose="020B0502040204020203" pitchFamily="34" charset="0"/>
                <a:cs typeface="Segoe UI" panose="020B0502040204020203" pitchFamily="34" charset="0"/>
              </a:defRPr>
            </a:lvl1pPr>
          </a:lstStyle>
          <a:p>
            <a:r>
              <a:rPr lang="en-US"/>
              <a:t>Click icon to add table</a:t>
            </a:r>
          </a:p>
        </p:txBody>
      </p:sp>
      <p:sp>
        <p:nvSpPr>
          <p:cNvPr id="58" name="Title 1">
            <a:extLst>
              <a:ext uri="{FF2B5EF4-FFF2-40B4-BE49-F238E27FC236}">
                <a16:creationId xmlns:a16="http://schemas.microsoft.com/office/drawing/2014/main" id="{C3494CC6-65D3-0B49-A8DF-518C476D7E77}"/>
              </a:ext>
            </a:extLst>
          </p:cNvPr>
          <p:cNvSpPr>
            <a:spLocks noGrp="1"/>
          </p:cNvSpPr>
          <p:nvPr>
            <p:ph type="title" hasCustomPrompt="1"/>
          </p:nvPr>
        </p:nvSpPr>
        <p:spPr>
          <a:xfrm>
            <a:off x="3998078" y="841346"/>
            <a:ext cx="4195845" cy="430887"/>
          </a:xfrm>
          <a:prstGeom prst="rect">
            <a:avLst/>
          </a:prstGeom>
        </p:spPr>
        <p:txBody>
          <a:bodyPr wrap="square" lIns="0" tIns="0" rIns="0" bIns="0">
            <a:spAutoFit/>
          </a:bodyPr>
          <a:lstStyle>
            <a:lvl1pPr marL="4571" algn="ctr">
              <a:lnSpc>
                <a:spcPct val="100000"/>
              </a:lnSpc>
              <a:defRPr sz="2800" b="0" i="0" cap="none" baseline="0">
                <a:solidFill>
                  <a:srgbClr val="2F2F2F"/>
                </a:solidFill>
                <a:latin typeface="Segoe UI Semibold" panose="020B0502040204020203" pitchFamily="34" charset="0"/>
                <a:cs typeface="Segoe UI Semibold" panose="020B0502040204020203" pitchFamily="34" charset="0"/>
              </a:defRPr>
            </a:lvl1pPr>
          </a:lstStyle>
          <a:p>
            <a:r>
              <a:rPr lang="en-US"/>
              <a:t>Section title, 28pt </a:t>
            </a:r>
          </a:p>
        </p:txBody>
      </p:sp>
      <p:pic>
        <p:nvPicPr>
          <p:cNvPr id="54" name="Image" descr="Image">
            <a:extLst>
              <a:ext uri="{FF2B5EF4-FFF2-40B4-BE49-F238E27FC236}">
                <a16:creationId xmlns:a16="http://schemas.microsoft.com/office/drawing/2014/main" id="{3B983ED6-8246-7C4D-81E2-F1FD50243FF1}"/>
              </a:ext>
            </a:extLst>
          </p:cNvPr>
          <p:cNvPicPr>
            <a:picLocks noChangeAspect="1"/>
          </p:cNvPicPr>
          <p:nvPr userDrawn="1"/>
        </p:nvPicPr>
        <p:blipFill>
          <a:blip r:embed="rId5"/>
          <a:stretch>
            <a:fillRect/>
          </a:stretch>
        </p:blipFill>
        <p:spPr>
          <a:xfrm>
            <a:off x="8047" y="8948"/>
            <a:ext cx="12192000" cy="6858000"/>
          </a:xfrm>
          <a:prstGeom prst="rect">
            <a:avLst/>
          </a:prstGeom>
          <a:ln w="12700">
            <a:miter lim="400000"/>
          </a:ln>
        </p:spPr>
      </p:pic>
    </p:spTree>
    <p:extLst>
      <p:ext uri="{BB962C8B-B14F-4D97-AF65-F5344CB8AC3E}">
        <p14:creationId xmlns:p14="http://schemas.microsoft.com/office/powerpoint/2010/main" val="3136050743"/>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preserve="1" userDrawn="1">
  <p:cSld name="Content Three Sections">
    <p:bg>
      <p:bgPr>
        <a:solidFill>
          <a:srgbClr val="F2F2F2"/>
        </a:solidFill>
        <a:effectLst/>
      </p:bgPr>
    </p:bg>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285DDBF9-7413-7642-8040-CF5B54B26232}"/>
              </a:ext>
            </a:extLst>
          </p:cNvPr>
          <p:cNvSpPr/>
          <p:nvPr userDrawn="1"/>
        </p:nvSpPr>
        <p:spPr>
          <a:xfrm>
            <a:off x="3236026" y="1"/>
            <a:ext cx="8955974" cy="6858001"/>
          </a:xfrm>
          <a:prstGeom prst="rect">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FD70957D-AFC5-A245-9EF4-0986EFB881CD}"/>
              </a:ext>
            </a:extLst>
          </p:cNvPr>
          <p:cNvSpPr/>
          <p:nvPr userDrawn="1"/>
        </p:nvSpPr>
        <p:spPr>
          <a:xfrm>
            <a:off x="7714013" y="-1"/>
            <a:ext cx="4477987" cy="6858001"/>
          </a:xfrm>
          <a:prstGeom prst="rect">
            <a:avLst/>
          </a:prstGeom>
          <a:solidFill>
            <a:schemeClr val="tx2"/>
          </a:solidFill>
          <a:ln w="12700">
            <a:miter lim="400000"/>
          </a:ln>
        </p:spPr>
        <p:txBody>
          <a:bodyPr lIns="0" tIns="0" rIns="0" bIns="0" anchor="ctr"/>
          <a:lstStyle/>
          <a:p>
            <a:pPr algn="ctr">
              <a:lnSpc>
                <a:spcPct val="100000"/>
              </a:lnSpc>
              <a:defRPr sz="3200" spc="0">
                <a:solidFill>
                  <a:srgbClr val="274B47"/>
                </a:solidFill>
                <a:latin typeface="Helvetica Neue Medium"/>
                <a:ea typeface="Helvetica Neue Medium"/>
                <a:cs typeface="Helvetica Neue Medium"/>
                <a:sym typeface="Helvetica Neue Medium"/>
              </a:defRPr>
            </a:pPr>
            <a:endParaRPr sz="1600">
              <a:solidFill>
                <a:schemeClr val="tx2"/>
              </a:solidFill>
            </a:endParaRPr>
          </a:p>
        </p:txBody>
      </p:sp>
      <p:sp>
        <p:nvSpPr>
          <p:cNvPr id="6" name="Subtitle 2">
            <a:extLst>
              <a:ext uri="{FF2B5EF4-FFF2-40B4-BE49-F238E27FC236}">
                <a16:creationId xmlns:a16="http://schemas.microsoft.com/office/drawing/2014/main" id="{9E0105FF-A462-154A-9AEE-AD7318DF04E2}"/>
              </a:ext>
            </a:extLst>
          </p:cNvPr>
          <p:cNvSpPr>
            <a:spLocks noGrp="1"/>
          </p:cNvSpPr>
          <p:nvPr>
            <p:ph type="subTitle" idx="1" hasCustomPrompt="1"/>
          </p:nvPr>
        </p:nvSpPr>
        <p:spPr>
          <a:xfrm>
            <a:off x="3856612" y="582151"/>
            <a:ext cx="3236814" cy="338554"/>
          </a:xfrm>
          <a:prstGeom prst="rect">
            <a:avLst/>
          </a:prstGeom>
        </p:spPr>
        <p:txBody>
          <a:bodyPr lIns="0" tIns="0" rIns="0" bIns="0">
            <a:spAutoFit/>
          </a:bodyPr>
          <a:lstStyle>
            <a:lvl1pPr marL="0" indent="0" algn="l">
              <a:lnSpc>
                <a:spcPct val="100000"/>
              </a:lnSpc>
              <a:spcBef>
                <a:spcPts val="0"/>
              </a:spcBef>
              <a:buNone/>
              <a:defRPr sz="2200" b="0" i="0" spc="0" baseline="0">
                <a:solidFill>
                  <a:schemeClr val="tx2"/>
                </a:solidFill>
                <a:latin typeface="Segoe UI Semibold" panose="020B0502040204020203" pitchFamily="34" charset="0"/>
                <a:cs typeface="Segoe UI Semibold"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Subtitle, 22pt</a:t>
            </a:r>
          </a:p>
        </p:txBody>
      </p:sp>
      <p:sp>
        <p:nvSpPr>
          <p:cNvPr id="10" name="Text Placeholder 9">
            <a:extLst>
              <a:ext uri="{FF2B5EF4-FFF2-40B4-BE49-F238E27FC236}">
                <a16:creationId xmlns:a16="http://schemas.microsoft.com/office/drawing/2014/main" id="{408D70BC-3E91-4744-93D8-5A1B55811711}"/>
              </a:ext>
            </a:extLst>
          </p:cNvPr>
          <p:cNvSpPr>
            <a:spLocks noGrp="1"/>
          </p:cNvSpPr>
          <p:nvPr>
            <p:ph type="body" sz="quarter" idx="10" hasCustomPrompt="1"/>
          </p:nvPr>
        </p:nvSpPr>
        <p:spPr>
          <a:xfrm>
            <a:off x="3856612" y="1689674"/>
            <a:ext cx="3236814" cy="4596827"/>
          </a:xfrm>
          <a:prstGeom prst="rect">
            <a:avLst/>
          </a:prstGeom>
        </p:spPr>
        <p:txBody>
          <a:bodyPr lIns="0" tIns="0" rIns="0" bIns="0">
            <a:normAutofit/>
          </a:bodyPr>
          <a:lstStyle>
            <a:lvl1pPr marL="0" indent="0">
              <a:lnSpc>
                <a:spcPct val="100000"/>
              </a:lnSpc>
              <a:buNone/>
              <a:defRPr sz="2000" b="0" i="0" spc="0">
                <a:solidFill>
                  <a:srgbClr val="2F2F2F"/>
                </a:solidFill>
                <a:latin typeface="Segoe UI" panose="020B0502040204020203" pitchFamily="34" charset="0"/>
                <a:cs typeface="Segoe UI" panose="020B0502040204020203" pitchFamily="34" charset="0"/>
              </a:defRPr>
            </a:lvl1pPr>
          </a:lstStyle>
          <a:p>
            <a:pPr lvl="0"/>
            <a:r>
              <a:rPr lang="en-US"/>
              <a:t>Body copy, 20pt</a:t>
            </a:r>
          </a:p>
        </p:txBody>
      </p:sp>
      <p:sp>
        <p:nvSpPr>
          <p:cNvPr id="13" name="Line">
            <a:extLst>
              <a:ext uri="{FF2B5EF4-FFF2-40B4-BE49-F238E27FC236}">
                <a16:creationId xmlns:a16="http://schemas.microsoft.com/office/drawing/2014/main" id="{A9F0FCE7-BFE4-F947-8D14-7145162ABC3D}"/>
              </a:ext>
            </a:extLst>
          </p:cNvPr>
          <p:cNvSpPr/>
          <p:nvPr userDrawn="1"/>
        </p:nvSpPr>
        <p:spPr>
          <a:xfrm>
            <a:off x="3856612" y="1305189"/>
            <a:ext cx="3236813" cy="0"/>
          </a:xfrm>
          <a:prstGeom prst="line">
            <a:avLst/>
          </a:prstGeom>
          <a:ln w="25400" cap="rnd">
            <a:solidFill>
              <a:schemeClr val="tx1"/>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00"/>
          </a:p>
        </p:txBody>
      </p:sp>
      <p:sp>
        <p:nvSpPr>
          <p:cNvPr id="15" name="Text Placeholder 9">
            <a:extLst>
              <a:ext uri="{FF2B5EF4-FFF2-40B4-BE49-F238E27FC236}">
                <a16:creationId xmlns:a16="http://schemas.microsoft.com/office/drawing/2014/main" id="{07164E44-9B05-9145-B57E-B2E4814EF8D0}"/>
              </a:ext>
            </a:extLst>
          </p:cNvPr>
          <p:cNvSpPr>
            <a:spLocks noGrp="1"/>
          </p:cNvSpPr>
          <p:nvPr>
            <p:ph type="body" sz="quarter" idx="11" hasCustomPrompt="1"/>
          </p:nvPr>
        </p:nvSpPr>
        <p:spPr>
          <a:xfrm>
            <a:off x="8331630" y="1689674"/>
            <a:ext cx="3290310" cy="4596827"/>
          </a:xfrm>
          <a:prstGeom prst="rect">
            <a:avLst/>
          </a:prstGeom>
        </p:spPr>
        <p:txBody>
          <a:bodyPr lIns="0" tIns="0" rIns="0" bIns="0">
            <a:normAutofit/>
          </a:bodyPr>
          <a:lstStyle>
            <a:lvl1pPr marL="0" indent="0">
              <a:lnSpc>
                <a:spcPct val="100000"/>
              </a:lnSpc>
              <a:buNone/>
              <a:defRPr sz="2000" b="0" i="0" spc="0">
                <a:solidFill>
                  <a:schemeClr val="bg1"/>
                </a:solidFill>
                <a:latin typeface="Segoe UI" panose="020B0502040204020203" pitchFamily="34" charset="0"/>
                <a:cs typeface="Segoe UI" panose="020B0502040204020203" pitchFamily="34" charset="0"/>
              </a:defRPr>
            </a:lvl1pPr>
          </a:lstStyle>
          <a:p>
            <a:pPr lvl="0"/>
            <a:r>
              <a:rPr lang="en-US"/>
              <a:t>Body copy, 20pt</a:t>
            </a:r>
          </a:p>
        </p:txBody>
      </p:sp>
      <p:sp>
        <p:nvSpPr>
          <p:cNvPr id="16" name="Line">
            <a:extLst>
              <a:ext uri="{FF2B5EF4-FFF2-40B4-BE49-F238E27FC236}">
                <a16:creationId xmlns:a16="http://schemas.microsoft.com/office/drawing/2014/main" id="{3FE1788A-05BA-5C43-A47C-1225A43BD09F}"/>
              </a:ext>
            </a:extLst>
          </p:cNvPr>
          <p:cNvSpPr/>
          <p:nvPr userDrawn="1"/>
        </p:nvSpPr>
        <p:spPr>
          <a:xfrm>
            <a:off x="8331630" y="1305189"/>
            <a:ext cx="3290310" cy="0"/>
          </a:xfrm>
          <a:prstGeom prst="line">
            <a:avLst/>
          </a:prstGeom>
          <a:ln w="25400" cap="rnd">
            <a:solidFill>
              <a:schemeClr val="tx1"/>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00"/>
          </a:p>
        </p:txBody>
      </p:sp>
      <p:grpSp>
        <p:nvGrpSpPr>
          <p:cNvPr id="17" name="Group 16">
            <a:extLst>
              <a:ext uri="{FF2B5EF4-FFF2-40B4-BE49-F238E27FC236}">
                <a16:creationId xmlns:a16="http://schemas.microsoft.com/office/drawing/2014/main" id="{7DABA23F-FA23-0B4A-8DCA-FA506BBBF5ED}"/>
              </a:ext>
            </a:extLst>
          </p:cNvPr>
          <p:cNvGrpSpPr/>
          <p:nvPr userDrawn="1"/>
        </p:nvGrpSpPr>
        <p:grpSpPr>
          <a:xfrm rot="5400000">
            <a:off x="10146364" y="2385921"/>
            <a:ext cx="6714479" cy="2229681"/>
            <a:chOff x="8270283" y="6177473"/>
            <a:chExt cx="12760035" cy="4236124"/>
          </a:xfrm>
        </p:grpSpPr>
        <p:pic>
          <p:nvPicPr>
            <p:cNvPr id="18" name="Image" descr="Image">
              <a:extLst>
                <a:ext uri="{FF2B5EF4-FFF2-40B4-BE49-F238E27FC236}">
                  <a16:creationId xmlns:a16="http://schemas.microsoft.com/office/drawing/2014/main" id="{B778CBFD-74BD-2641-8079-3A67E3899572}"/>
                </a:ext>
              </a:extLst>
            </p:cNvPr>
            <p:cNvPicPr>
              <a:picLocks noChangeAspect="1"/>
            </p:cNvPicPr>
            <p:nvPr userDrawn="1"/>
          </p:nvPicPr>
          <p:blipFill>
            <a:blip r:embed="rId2"/>
            <a:srcRect b="20208"/>
            <a:stretch>
              <a:fillRect/>
            </a:stretch>
          </p:blipFill>
          <p:spPr>
            <a:xfrm>
              <a:off x="9825738" y="6285642"/>
              <a:ext cx="11204580" cy="2819606"/>
            </a:xfrm>
            <a:prstGeom prst="rect">
              <a:avLst/>
            </a:prstGeom>
            <a:ln w="12700">
              <a:miter lim="400000"/>
            </a:ln>
          </p:spPr>
        </p:pic>
        <p:sp>
          <p:nvSpPr>
            <p:cNvPr id="20" name="R134 G97 B197…">
              <a:extLst>
                <a:ext uri="{FF2B5EF4-FFF2-40B4-BE49-F238E27FC236}">
                  <a16:creationId xmlns:a16="http://schemas.microsoft.com/office/drawing/2014/main" id="{6008BA1C-EA05-7148-AB36-CD2C3C99D239}"/>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21" name="R59 G46 B88…">
              <a:extLst>
                <a:ext uri="{FF2B5EF4-FFF2-40B4-BE49-F238E27FC236}">
                  <a16:creationId xmlns:a16="http://schemas.microsoft.com/office/drawing/2014/main" id="{A6787898-B4C1-4C42-923E-4A5D1CF68085}"/>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22" name="R213 G157 B255…">
              <a:extLst>
                <a:ext uri="{FF2B5EF4-FFF2-40B4-BE49-F238E27FC236}">
                  <a16:creationId xmlns:a16="http://schemas.microsoft.com/office/drawing/2014/main" id="{B57B02CE-A624-9C4B-8901-64CF2104367E}"/>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23" name="R161 G133 B210…">
              <a:extLst>
                <a:ext uri="{FF2B5EF4-FFF2-40B4-BE49-F238E27FC236}">
                  <a16:creationId xmlns:a16="http://schemas.microsoft.com/office/drawing/2014/main" id="{682A293B-E3A7-364D-BC21-F656A5F98A1F}"/>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24" name="R0 G120 B212…">
              <a:extLst>
                <a:ext uri="{FF2B5EF4-FFF2-40B4-BE49-F238E27FC236}">
                  <a16:creationId xmlns:a16="http://schemas.microsoft.com/office/drawing/2014/main" id="{917234B2-A505-C140-AD38-D8936AF0A300}"/>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25" name="R36 G58 B94…">
              <a:extLst>
                <a:ext uri="{FF2B5EF4-FFF2-40B4-BE49-F238E27FC236}">
                  <a16:creationId xmlns:a16="http://schemas.microsoft.com/office/drawing/2014/main" id="{4EBA5D09-2EE5-0945-A466-202D1995FE72}"/>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26" name="R80 G230 B255…">
              <a:extLst>
                <a:ext uri="{FF2B5EF4-FFF2-40B4-BE49-F238E27FC236}">
                  <a16:creationId xmlns:a16="http://schemas.microsoft.com/office/drawing/2014/main" id="{C0C8B097-10F9-BB48-856E-9828906740A5}"/>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27" name="R40 G167 B233…">
              <a:extLst>
                <a:ext uri="{FF2B5EF4-FFF2-40B4-BE49-F238E27FC236}">
                  <a16:creationId xmlns:a16="http://schemas.microsoft.com/office/drawing/2014/main" id="{C7228242-AF00-5448-A847-5E49AB492F98}"/>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8" name="R0 G133 B117   Hex #008575   C100 M15 Y60 K0   PMS 3285 C">
              <a:extLst>
                <a:ext uri="{FF2B5EF4-FFF2-40B4-BE49-F238E27FC236}">
                  <a16:creationId xmlns:a16="http://schemas.microsoft.com/office/drawing/2014/main" id="{AA0C1832-0A15-D44A-A1BA-A06375C3A0D0}"/>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9" name="R39 G75 B71   Hex #274b47…">
              <a:extLst>
                <a:ext uri="{FF2B5EF4-FFF2-40B4-BE49-F238E27FC236}">
                  <a16:creationId xmlns:a16="http://schemas.microsoft.com/office/drawing/2014/main" id="{CB9923F5-143B-1546-AA1F-12097FE6B950}"/>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30" name="R48 G229 B208…">
              <a:extLst>
                <a:ext uri="{FF2B5EF4-FFF2-40B4-BE49-F238E27FC236}">
                  <a16:creationId xmlns:a16="http://schemas.microsoft.com/office/drawing/2014/main" id="{A15970EF-72CB-1842-AB2F-6264131A963D}"/>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31" name="R40 G194 B209…">
              <a:extLst>
                <a:ext uri="{FF2B5EF4-FFF2-40B4-BE49-F238E27FC236}">
                  <a16:creationId xmlns:a16="http://schemas.microsoft.com/office/drawing/2014/main" id="{E90098E7-8193-0548-969E-440AEB7E8583}"/>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32" name="R16 G124 B16  Hex #107c10  C75 M0 Y100 K0   PMS 362 C">
              <a:extLst>
                <a:ext uri="{FF2B5EF4-FFF2-40B4-BE49-F238E27FC236}">
                  <a16:creationId xmlns:a16="http://schemas.microsoft.com/office/drawing/2014/main" id="{0FAB675D-403D-DD46-B307-4BF63A807456}"/>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33" name="R5 G75 B22   Hex #054b16…">
              <a:extLst>
                <a:ext uri="{FF2B5EF4-FFF2-40B4-BE49-F238E27FC236}">
                  <a16:creationId xmlns:a16="http://schemas.microsoft.com/office/drawing/2014/main" id="{C2EB1040-EB9C-1341-93B5-58FC97D7B9CF}"/>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34" name="R155 G240 B11…">
              <a:extLst>
                <a:ext uri="{FF2B5EF4-FFF2-40B4-BE49-F238E27FC236}">
                  <a16:creationId xmlns:a16="http://schemas.microsoft.com/office/drawing/2014/main" id="{BBE98AE7-EB6A-B347-9D22-A1F9A4B03D6D}"/>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35" name="R127 G186 B0…">
              <a:extLst>
                <a:ext uri="{FF2B5EF4-FFF2-40B4-BE49-F238E27FC236}">
                  <a16:creationId xmlns:a16="http://schemas.microsoft.com/office/drawing/2014/main" id="{0DF6AC68-F902-D040-BCD2-DDB13536621B}"/>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36" name="R216 G59 B1…">
              <a:extLst>
                <a:ext uri="{FF2B5EF4-FFF2-40B4-BE49-F238E27FC236}">
                  <a16:creationId xmlns:a16="http://schemas.microsoft.com/office/drawing/2014/main" id="{D64F42F4-036E-AA4C-BE83-128744D95EFE}"/>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37" name="R107 G41 B41…">
              <a:extLst>
                <a:ext uri="{FF2B5EF4-FFF2-40B4-BE49-F238E27FC236}">
                  <a16:creationId xmlns:a16="http://schemas.microsoft.com/office/drawing/2014/main" id="{618E49FB-2172-BA4F-B172-B350D668F265}"/>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8" name="R255 G147 B73…">
              <a:extLst>
                <a:ext uri="{FF2B5EF4-FFF2-40B4-BE49-F238E27FC236}">
                  <a16:creationId xmlns:a16="http://schemas.microsoft.com/office/drawing/2014/main" id="{FCD78807-925C-EB46-A9B6-BD5D520EF34E}"/>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9" name="R241 G101 B34…">
              <a:extLst>
                <a:ext uri="{FF2B5EF4-FFF2-40B4-BE49-F238E27FC236}">
                  <a16:creationId xmlns:a16="http://schemas.microsoft.com/office/drawing/2014/main" id="{CF2953A9-BB73-3248-ABEA-E0E9CEE5B016}"/>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40" name="R255 G185 B0…">
              <a:extLst>
                <a:ext uri="{FF2B5EF4-FFF2-40B4-BE49-F238E27FC236}">
                  <a16:creationId xmlns:a16="http://schemas.microsoft.com/office/drawing/2014/main" id="{0C557268-C8DE-2A41-B157-9B70C87EFDD4}"/>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41" name="R106 G75 B22…">
              <a:extLst>
                <a:ext uri="{FF2B5EF4-FFF2-40B4-BE49-F238E27FC236}">
                  <a16:creationId xmlns:a16="http://schemas.microsoft.com/office/drawing/2014/main" id="{95D86A6B-2BC3-0240-A0DE-A536322BB0CB}"/>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42" name="R254 G240 B0…">
              <a:extLst>
                <a:ext uri="{FF2B5EF4-FFF2-40B4-BE49-F238E27FC236}">
                  <a16:creationId xmlns:a16="http://schemas.microsoft.com/office/drawing/2014/main" id="{759477BF-ECE9-0346-8499-2FBE464BD5DD}"/>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43" name="R254 G212 B0…">
              <a:extLst>
                <a:ext uri="{FF2B5EF4-FFF2-40B4-BE49-F238E27FC236}">
                  <a16:creationId xmlns:a16="http://schemas.microsoft.com/office/drawing/2014/main" id="{593C7A29-23E1-1342-8C94-C1F70FD9400E}"/>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44" name="Image" descr="Image">
              <a:extLst>
                <a:ext uri="{FF2B5EF4-FFF2-40B4-BE49-F238E27FC236}">
                  <a16:creationId xmlns:a16="http://schemas.microsoft.com/office/drawing/2014/main" id="{C99CA830-2971-FE43-BFD4-84151E338782}"/>
                </a:ext>
              </a:extLst>
            </p:cNvPr>
            <p:cNvPicPr>
              <a:picLocks noChangeAspect="1"/>
            </p:cNvPicPr>
            <p:nvPr userDrawn="1"/>
          </p:nvPicPr>
          <p:blipFill>
            <a:blip r:embed="rId3"/>
            <a:stretch>
              <a:fillRect/>
            </a:stretch>
          </p:blipFill>
          <p:spPr>
            <a:xfrm>
              <a:off x="9825738" y="9911907"/>
              <a:ext cx="11204576" cy="501690"/>
            </a:xfrm>
            <a:prstGeom prst="rect">
              <a:avLst/>
            </a:prstGeom>
            <a:ln w="12700">
              <a:miter lim="400000"/>
            </a:ln>
          </p:spPr>
        </p:pic>
        <p:sp>
          <p:nvSpPr>
            <p:cNvPr id="45" name="R242 G242 B242…">
              <a:extLst>
                <a:ext uri="{FF2B5EF4-FFF2-40B4-BE49-F238E27FC236}">
                  <a16:creationId xmlns:a16="http://schemas.microsoft.com/office/drawing/2014/main" id="{BBF02AEA-BCC3-004D-AF72-79C170F8648C}"/>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46" name="R230 G230 B230…">
              <a:extLst>
                <a:ext uri="{FF2B5EF4-FFF2-40B4-BE49-F238E27FC236}">
                  <a16:creationId xmlns:a16="http://schemas.microsoft.com/office/drawing/2014/main" id="{6E185071-9D54-6D4B-8084-316F9145FEC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47" name="R210 G210 B210…">
              <a:extLst>
                <a:ext uri="{FF2B5EF4-FFF2-40B4-BE49-F238E27FC236}">
                  <a16:creationId xmlns:a16="http://schemas.microsoft.com/office/drawing/2014/main" id="{E8BFE9D3-11B0-2543-A2D1-0DE0140CCCF0}"/>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8" name="R115 G115 B115…">
              <a:extLst>
                <a:ext uri="{FF2B5EF4-FFF2-40B4-BE49-F238E27FC236}">
                  <a16:creationId xmlns:a16="http://schemas.microsoft.com/office/drawing/2014/main" id="{EF9D546E-38BF-8142-A5F7-B3C6ED064FF9}"/>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9" name="R80 G80 B80…">
              <a:extLst>
                <a:ext uri="{FF2B5EF4-FFF2-40B4-BE49-F238E27FC236}">
                  <a16:creationId xmlns:a16="http://schemas.microsoft.com/office/drawing/2014/main" id="{FEDC3380-FD29-F94C-A3F7-84BEFE3CE80F}"/>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50" name="R47 G47 B47…">
              <a:extLst>
                <a:ext uri="{FF2B5EF4-FFF2-40B4-BE49-F238E27FC236}">
                  <a16:creationId xmlns:a16="http://schemas.microsoft.com/office/drawing/2014/main" id="{D5FD872F-B44A-C44F-8E62-7D5A5247A5D1}"/>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51" name="R0 G0 B0…">
              <a:extLst>
                <a:ext uri="{FF2B5EF4-FFF2-40B4-BE49-F238E27FC236}">
                  <a16:creationId xmlns:a16="http://schemas.microsoft.com/office/drawing/2014/main" id="{E8FED7BB-5E8A-5947-BBA3-4F5BED14308C}"/>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52" name="Primary">
              <a:extLst>
                <a:ext uri="{FF2B5EF4-FFF2-40B4-BE49-F238E27FC236}">
                  <a16:creationId xmlns:a16="http://schemas.microsoft.com/office/drawing/2014/main" id="{4149240F-EE4B-D94E-A0FB-FF71096B4F78}"/>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53" name="Secondary">
              <a:extLst>
                <a:ext uri="{FF2B5EF4-FFF2-40B4-BE49-F238E27FC236}">
                  <a16:creationId xmlns:a16="http://schemas.microsoft.com/office/drawing/2014/main" id="{68C6A8D1-6ECA-7B4E-9390-C11E8450875D}"/>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54" name="Primary">
              <a:extLst>
                <a:ext uri="{FF2B5EF4-FFF2-40B4-BE49-F238E27FC236}">
                  <a16:creationId xmlns:a16="http://schemas.microsoft.com/office/drawing/2014/main" id="{5188337C-FF19-0246-8896-8C1347FC6CE7}"/>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55" name="Secondary">
              <a:extLst>
                <a:ext uri="{FF2B5EF4-FFF2-40B4-BE49-F238E27FC236}">
                  <a16:creationId xmlns:a16="http://schemas.microsoft.com/office/drawing/2014/main" id="{F09ADA02-13DF-4F40-8F75-3978AD60F611}"/>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71" name="Text Placeholder 9">
            <a:extLst>
              <a:ext uri="{FF2B5EF4-FFF2-40B4-BE49-F238E27FC236}">
                <a16:creationId xmlns:a16="http://schemas.microsoft.com/office/drawing/2014/main" id="{B3542D27-BCDA-E340-86F5-6BC5736E8830}"/>
              </a:ext>
            </a:extLst>
          </p:cNvPr>
          <p:cNvSpPr>
            <a:spLocks noGrp="1"/>
          </p:cNvSpPr>
          <p:nvPr>
            <p:ph type="body" sz="quarter" idx="13" hasCustomPrompt="1"/>
          </p:nvPr>
        </p:nvSpPr>
        <p:spPr>
          <a:xfrm>
            <a:off x="8331630" y="582151"/>
            <a:ext cx="3290310" cy="338554"/>
          </a:xfrm>
          <a:prstGeom prst="rect">
            <a:avLst/>
          </a:prstGeom>
        </p:spPr>
        <p:txBody>
          <a:bodyPr wrap="square" lIns="0" tIns="0" rIns="0" bIns="0">
            <a:spAutoFit/>
          </a:bodyPr>
          <a:lstStyle>
            <a:lvl1pPr marL="0" indent="0">
              <a:lnSpc>
                <a:spcPct val="100000"/>
              </a:lnSpc>
              <a:buNone/>
              <a:defRPr sz="2200" b="0" i="0" spc="0">
                <a:solidFill>
                  <a:schemeClr val="bg1"/>
                </a:solidFill>
                <a:latin typeface="Segoe UI Semibold" panose="020B0502040204020203" pitchFamily="34" charset="0"/>
                <a:cs typeface="Segoe UI Semibold" panose="020B0502040204020203" pitchFamily="34" charset="0"/>
              </a:defRPr>
            </a:lvl1pPr>
          </a:lstStyle>
          <a:p>
            <a:pPr lvl="0"/>
            <a:r>
              <a:rPr lang="en-US"/>
              <a:t>Subtitle, 22pt</a:t>
            </a:r>
          </a:p>
        </p:txBody>
      </p:sp>
      <p:sp>
        <p:nvSpPr>
          <p:cNvPr id="56" name="Title 1">
            <a:extLst>
              <a:ext uri="{FF2B5EF4-FFF2-40B4-BE49-F238E27FC236}">
                <a16:creationId xmlns:a16="http://schemas.microsoft.com/office/drawing/2014/main" id="{905B62CA-E9F1-834B-8A07-17B2F35068FE}"/>
              </a:ext>
            </a:extLst>
          </p:cNvPr>
          <p:cNvSpPr>
            <a:spLocks noGrp="1"/>
          </p:cNvSpPr>
          <p:nvPr>
            <p:ph type="title" hasCustomPrompt="1"/>
          </p:nvPr>
        </p:nvSpPr>
        <p:spPr>
          <a:xfrm>
            <a:off x="588416" y="571500"/>
            <a:ext cx="2304532" cy="861774"/>
          </a:xfrm>
          <a:prstGeom prst="rect">
            <a:avLst/>
          </a:prstGeom>
        </p:spPr>
        <p:txBody>
          <a:bodyPr lIns="0" tIns="0" rIns="0" bIns="0">
            <a:spAutoFit/>
          </a:bodyPr>
          <a:lstStyle>
            <a:lvl1pPr marL="4571">
              <a:lnSpc>
                <a:spcPct val="100000"/>
              </a:lnSpc>
              <a:defRPr sz="2800" b="0" i="0" cap="none" baseline="0">
                <a:solidFill>
                  <a:srgbClr val="2F2F2F"/>
                </a:solidFill>
                <a:latin typeface="Segoe UI Semibold" panose="020B0502040204020203" pitchFamily="34" charset="0"/>
                <a:cs typeface="Segoe UI Semibold" panose="020B0502040204020203" pitchFamily="34" charset="0"/>
              </a:defRPr>
            </a:lvl1pPr>
          </a:lstStyle>
          <a:p>
            <a:r>
              <a:rPr lang="en-US"/>
              <a:t>Section title, 28pt </a:t>
            </a:r>
          </a:p>
        </p:txBody>
      </p:sp>
      <p:sp>
        <p:nvSpPr>
          <p:cNvPr id="57" name="Text Placeholder 9">
            <a:extLst>
              <a:ext uri="{FF2B5EF4-FFF2-40B4-BE49-F238E27FC236}">
                <a16:creationId xmlns:a16="http://schemas.microsoft.com/office/drawing/2014/main" id="{26BCB04F-AE36-FC47-9665-CC9B70C43444}"/>
              </a:ext>
            </a:extLst>
          </p:cNvPr>
          <p:cNvSpPr>
            <a:spLocks noGrp="1"/>
          </p:cNvSpPr>
          <p:nvPr>
            <p:ph type="body" sz="quarter" idx="14" hasCustomPrompt="1"/>
          </p:nvPr>
        </p:nvSpPr>
        <p:spPr>
          <a:xfrm>
            <a:off x="574245" y="2353733"/>
            <a:ext cx="2304532" cy="1463970"/>
          </a:xfrm>
          <a:prstGeom prst="rect">
            <a:avLst/>
          </a:prstGeom>
        </p:spPr>
        <p:txBody>
          <a:bodyPr lIns="0" tIns="0" rIns="0" bIns="0">
            <a:normAutofit/>
          </a:bodyPr>
          <a:lstStyle>
            <a:lvl1pPr marL="0" indent="0">
              <a:lnSpc>
                <a:spcPct val="100000"/>
              </a:lnSpc>
              <a:buNone/>
              <a:defRPr sz="2200" b="0" i="0" spc="0">
                <a:solidFill>
                  <a:srgbClr val="2F2F2F"/>
                </a:solidFill>
                <a:latin typeface="Segoe UI" panose="020B0502040204020203" pitchFamily="34" charset="0"/>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1020420307"/>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preserve="1" userDrawn="1">
  <p:cSld name="Comparison 2">
    <p:bg>
      <p:bgPr>
        <a:solidFill>
          <a:srgbClr val="F2F2F2"/>
        </a:solidFill>
        <a:effectLst/>
      </p:bgPr>
    </p:bg>
    <p:spTree>
      <p:nvGrpSpPr>
        <p:cNvPr id="1" name=""/>
        <p:cNvGrpSpPr/>
        <p:nvPr/>
      </p:nvGrpSpPr>
      <p:grpSpPr>
        <a:xfrm>
          <a:off x="0" y="0"/>
          <a:ext cx="0" cy="0"/>
          <a:chOff x="0" y="0"/>
          <a:chExt cx="0" cy="0"/>
        </a:xfrm>
      </p:grpSpPr>
      <p:sp>
        <p:nvSpPr>
          <p:cNvPr id="57" name="Rectangle">
            <a:extLst>
              <a:ext uri="{FF2B5EF4-FFF2-40B4-BE49-F238E27FC236}">
                <a16:creationId xmlns:a16="http://schemas.microsoft.com/office/drawing/2014/main" id="{8FAB358C-C753-DE49-ABA1-43D198836CD7}"/>
              </a:ext>
            </a:extLst>
          </p:cNvPr>
          <p:cNvSpPr/>
          <p:nvPr userDrawn="1"/>
        </p:nvSpPr>
        <p:spPr>
          <a:xfrm>
            <a:off x="3236026" y="-1"/>
            <a:ext cx="8955974" cy="6858001"/>
          </a:xfrm>
          <a:prstGeom prst="rect">
            <a:avLst/>
          </a:prstGeom>
          <a:solidFill>
            <a:schemeClr val="tx2"/>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00"/>
          </a:p>
        </p:txBody>
      </p:sp>
      <p:grpSp>
        <p:nvGrpSpPr>
          <p:cNvPr id="17" name="Group 16">
            <a:extLst>
              <a:ext uri="{FF2B5EF4-FFF2-40B4-BE49-F238E27FC236}">
                <a16:creationId xmlns:a16="http://schemas.microsoft.com/office/drawing/2014/main" id="{7DABA23F-FA23-0B4A-8DCA-FA506BBBF5ED}"/>
              </a:ext>
            </a:extLst>
          </p:cNvPr>
          <p:cNvGrpSpPr/>
          <p:nvPr userDrawn="1"/>
        </p:nvGrpSpPr>
        <p:grpSpPr>
          <a:xfrm rot="5400000">
            <a:off x="10146364" y="2385921"/>
            <a:ext cx="6714479" cy="2229681"/>
            <a:chOff x="8270283" y="6177473"/>
            <a:chExt cx="12760035" cy="4236124"/>
          </a:xfrm>
        </p:grpSpPr>
        <p:pic>
          <p:nvPicPr>
            <p:cNvPr id="18" name="Image" descr="Image">
              <a:extLst>
                <a:ext uri="{FF2B5EF4-FFF2-40B4-BE49-F238E27FC236}">
                  <a16:creationId xmlns:a16="http://schemas.microsoft.com/office/drawing/2014/main" id="{B778CBFD-74BD-2641-8079-3A67E3899572}"/>
                </a:ext>
              </a:extLst>
            </p:cNvPr>
            <p:cNvPicPr>
              <a:picLocks noChangeAspect="1"/>
            </p:cNvPicPr>
            <p:nvPr userDrawn="1"/>
          </p:nvPicPr>
          <p:blipFill>
            <a:blip r:embed="rId2"/>
            <a:srcRect b="20208"/>
            <a:stretch>
              <a:fillRect/>
            </a:stretch>
          </p:blipFill>
          <p:spPr>
            <a:xfrm>
              <a:off x="9825738" y="6285642"/>
              <a:ext cx="11204580" cy="2819606"/>
            </a:xfrm>
            <a:prstGeom prst="rect">
              <a:avLst/>
            </a:prstGeom>
            <a:ln w="12700">
              <a:miter lim="400000"/>
            </a:ln>
          </p:spPr>
        </p:pic>
        <p:sp>
          <p:nvSpPr>
            <p:cNvPr id="20" name="R134 G97 B197…">
              <a:extLst>
                <a:ext uri="{FF2B5EF4-FFF2-40B4-BE49-F238E27FC236}">
                  <a16:creationId xmlns:a16="http://schemas.microsoft.com/office/drawing/2014/main" id="{6008BA1C-EA05-7148-AB36-CD2C3C99D239}"/>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21" name="R59 G46 B88…">
              <a:extLst>
                <a:ext uri="{FF2B5EF4-FFF2-40B4-BE49-F238E27FC236}">
                  <a16:creationId xmlns:a16="http://schemas.microsoft.com/office/drawing/2014/main" id="{A6787898-B4C1-4C42-923E-4A5D1CF68085}"/>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22" name="R213 G157 B255…">
              <a:extLst>
                <a:ext uri="{FF2B5EF4-FFF2-40B4-BE49-F238E27FC236}">
                  <a16:creationId xmlns:a16="http://schemas.microsoft.com/office/drawing/2014/main" id="{B57B02CE-A624-9C4B-8901-64CF2104367E}"/>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23" name="R161 G133 B210…">
              <a:extLst>
                <a:ext uri="{FF2B5EF4-FFF2-40B4-BE49-F238E27FC236}">
                  <a16:creationId xmlns:a16="http://schemas.microsoft.com/office/drawing/2014/main" id="{682A293B-E3A7-364D-BC21-F656A5F98A1F}"/>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24" name="R0 G120 B212…">
              <a:extLst>
                <a:ext uri="{FF2B5EF4-FFF2-40B4-BE49-F238E27FC236}">
                  <a16:creationId xmlns:a16="http://schemas.microsoft.com/office/drawing/2014/main" id="{917234B2-A505-C140-AD38-D8936AF0A300}"/>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25" name="R36 G58 B94…">
              <a:extLst>
                <a:ext uri="{FF2B5EF4-FFF2-40B4-BE49-F238E27FC236}">
                  <a16:creationId xmlns:a16="http://schemas.microsoft.com/office/drawing/2014/main" id="{4EBA5D09-2EE5-0945-A466-202D1995FE72}"/>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26" name="R80 G230 B255…">
              <a:extLst>
                <a:ext uri="{FF2B5EF4-FFF2-40B4-BE49-F238E27FC236}">
                  <a16:creationId xmlns:a16="http://schemas.microsoft.com/office/drawing/2014/main" id="{C0C8B097-10F9-BB48-856E-9828906740A5}"/>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27" name="R40 G167 B233…">
              <a:extLst>
                <a:ext uri="{FF2B5EF4-FFF2-40B4-BE49-F238E27FC236}">
                  <a16:creationId xmlns:a16="http://schemas.microsoft.com/office/drawing/2014/main" id="{C7228242-AF00-5448-A847-5E49AB492F98}"/>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8" name="R0 G133 B117   Hex #008575   C100 M15 Y60 K0   PMS 3285 C">
              <a:extLst>
                <a:ext uri="{FF2B5EF4-FFF2-40B4-BE49-F238E27FC236}">
                  <a16:creationId xmlns:a16="http://schemas.microsoft.com/office/drawing/2014/main" id="{AA0C1832-0A15-D44A-A1BA-A06375C3A0D0}"/>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9" name="R39 G75 B71   Hex #274b47…">
              <a:extLst>
                <a:ext uri="{FF2B5EF4-FFF2-40B4-BE49-F238E27FC236}">
                  <a16:creationId xmlns:a16="http://schemas.microsoft.com/office/drawing/2014/main" id="{CB9923F5-143B-1546-AA1F-12097FE6B950}"/>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30" name="R48 G229 B208…">
              <a:extLst>
                <a:ext uri="{FF2B5EF4-FFF2-40B4-BE49-F238E27FC236}">
                  <a16:creationId xmlns:a16="http://schemas.microsoft.com/office/drawing/2014/main" id="{A15970EF-72CB-1842-AB2F-6264131A963D}"/>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31" name="R40 G194 B209…">
              <a:extLst>
                <a:ext uri="{FF2B5EF4-FFF2-40B4-BE49-F238E27FC236}">
                  <a16:creationId xmlns:a16="http://schemas.microsoft.com/office/drawing/2014/main" id="{E90098E7-8193-0548-969E-440AEB7E8583}"/>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32" name="R16 G124 B16  Hex #107c10  C75 M0 Y100 K0   PMS 362 C">
              <a:extLst>
                <a:ext uri="{FF2B5EF4-FFF2-40B4-BE49-F238E27FC236}">
                  <a16:creationId xmlns:a16="http://schemas.microsoft.com/office/drawing/2014/main" id="{0FAB675D-403D-DD46-B307-4BF63A807456}"/>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33" name="R5 G75 B22   Hex #054b16…">
              <a:extLst>
                <a:ext uri="{FF2B5EF4-FFF2-40B4-BE49-F238E27FC236}">
                  <a16:creationId xmlns:a16="http://schemas.microsoft.com/office/drawing/2014/main" id="{C2EB1040-EB9C-1341-93B5-58FC97D7B9CF}"/>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34" name="R155 G240 B11…">
              <a:extLst>
                <a:ext uri="{FF2B5EF4-FFF2-40B4-BE49-F238E27FC236}">
                  <a16:creationId xmlns:a16="http://schemas.microsoft.com/office/drawing/2014/main" id="{BBE98AE7-EB6A-B347-9D22-A1F9A4B03D6D}"/>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35" name="R127 G186 B0…">
              <a:extLst>
                <a:ext uri="{FF2B5EF4-FFF2-40B4-BE49-F238E27FC236}">
                  <a16:creationId xmlns:a16="http://schemas.microsoft.com/office/drawing/2014/main" id="{0DF6AC68-F902-D040-BCD2-DDB13536621B}"/>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36" name="R216 G59 B1…">
              <a:extLst>
                <a:ext uri="{FF2B5EF4-FFF2-40B4-BE49-F238E27FC236}">
                  <a16:creationId xmlns:a16="http://schemas.microsoft.com/office/drawing/2014/main" id="{D64F42F4-036E-AA4C-BE83-128744D95EFE}"/>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37" name="R107 G41 B41…">
              <a:extLst>
                <a:ext uri="{FF2B5EF4-FFF2-40B4-BE49-F238E27FC236}">
                  <a16:creationId xmlns:a16="http://schemas.microsoft.com/office/drawing/2014/main" id="{618E49FB-2172-BA4F-B172-B350D668F265}"/>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8" name="R255 G147 B73…">
              <a:extLst>
                <a:ext uri="{FF2B5EF4-FFF2-40B4-BE49-F238E27FC236}">
                  <a16:creationId xmlns:a16="http://schemas.microsoft.com/office/drawing/2014/main" id="{FCD78807-925C-EB46-A9B6-BD5D520EF34E}"/>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9" name="R241 G101 B34…">
              <a:extLst>
                <a:ext uri="{FF2B5EF4-FFF2-40B4-BE49-F238E27FC236}">
                  <a16:creationId xmlns:a16="http://schemas.microsoft.com/office/drawing/2014/main" id="{CF2953A9-BB73-3248-ABEA-E0E9CEE5B016}"/>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40" name="R255 G185 B0…">
              <a:extLst>
                <a:ext uri="{FF2B5EF4-FFF2-40B4-BE49-F238E27FC236}">
                  <a16:creationId xmlns:a16="http://schemas.microsoft.com/office/drawing/2014/main" id="{0C557268-C8DE-2A41-B157-9B70C87EFDD4}"/>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41" name="R106 G75 B22…">
              <a:extLst>
                <a:ext uri="{FF2B5EF4-FFF2-40B4-BE49-F238E27FC236}">
                  <a16:creationId xmlns:a16="http://schemas.microsoft.com/office/drawing/2014/main" id="{95D86A6B-2BC3-0240-A0DE-A536322BB0CB}"/>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42" name="R254 G240 B0…">
              <a:extLst>
                <a:ext uri="{FF2B5EF4-FFF2-40B4-BE49-F238E27FC236}">
                  <a16:creationId xmlns:a16="http://schemas.microsoft.com/office/drawing/2014/main" id="{759477BF-ECE9-0346-8499-2FBE464BD5DD}"/>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43" name="R254 G212 B0…">
              <a:extLst>
                <a:ext uri="{FF2B5EF4-FFF2-40B4-BE49-F238E27FC236}">
                  <a16:creationId xmlns:a16="http://schemas.microsoft.com/office/drawing/2014/main" id="{593C7A29-23E1-1342-8C94-C1F70FD9400E}"/>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44" name="Image" descr="Image">
              <a:extLst>
                <a:ext uri="{FF2B5EF4-FFF2-40B4-BE49-F238E27FC236}">
                  <a16:creationId xmlns:a16="http://schemas.microsoft.com/office/drawing/2014/main" id="{C99CA830-2971-FE43-BFD4-84151E338782}"/>
                </a:ext>
              </a:extLst>
            </p:cNvPr>
            <p:cNvPicPr>
              <a:picLocks noChangeAspect="1"/>
            </p:cNvPicPr>
            <p:nvPr userDrawn="1"/>
          </p:nvPicPr>
          <p:blipFill>
            <a:blip r:embed="rId3"/>
            <a:stretch>
              <a:fillRect/>
            </a:stretch>
          </p:blipFill>
          <p:spPr>
            <a:xfrm>
              <a:off x="9825738" y="9911907"/>
              <a:ext cx="11204576" cy="501690"/>
            </a:xfrm>
            <a:prstGeom prst="rect">
              <a:avLst/>
            </a:prstGeom>
            <a:ln w="12700">
              <a:miter lim="400000"/>
            </a:ln>
          </p:spPr>
        </p:pic>
        <p:sp>
          <p:nvSpPr>
            <p:cNvPr id="45" name="R242 G242 B242…">
              <a:extLst>
                <a:ext uri="{FF2B5EF4-FFF2-40B4-BE49-F238E27FC236}">
                  <a16:creationId xmlns:a16="http://schemas.microsoft.com/office/drawing/2014/main" id="{BBF02AEA-BCC3-004D-AF72-79C170F8648C}"/>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46" name="R230 G230 B230…">
              <a:extLst>
                <a:ext uri="{FF2B5EF4-FFF2-40B4-BE49-F238E27FC236}">
                  <a16:creationId xmlns:a16="http://schemas.microsoft.com/office/drawing/2014/main" id="{6E185071-9D54-6D4B-8084-316F9145FEC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47" name="R210 G210 B210…">
              <a:extLst>
                <a:ext uri="{FF2B5EF4-FFF2-40B4-BE49-F238E27FC236}">
                  <a16:creationId xmlns:a16="http://schemas.microsoft.com/office/drawing/2014/main" id="{E8BFE9D3-11B0-2543-A2D1-0DE0140CCCF0}"/>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8" name="R115 G115 B115…">
              <a:extLst>
                <a:ext uri="{FF2B5EF4-FFF2-40B4-BE49-F238E27FC236}">
                  <a16:creationId xmlns:a16="http://schemas.microsoft.com/office/drawing/2014/main" id="{EF9D546E-38BF-8142-A5F7-B3C6ED064FF9}"/>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9" name="R80 G80 B80…">
              <a:extLst>
                <a:ext uri="{FF2B5EF4-FFF2-40B4-BE49-F238E27FC236}">
                  <a16:creationId xmlns:a16="http://schemas.microsoft.com/office/drawing/2014/main" id="{FEDC3380-FD29-F94C-A3F7-84BEFE3CE80F}"/>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50" name="R47 G47 B47…">
              <a:extLst>
                <a:ext uri="{FF2B5EF4-FFF2-40B4-BE49-F238E27FC236}">
                  <a16:creationId xmlns:a16="http://schemas.microsoft.com/office/drawing/2014/main" id="{D5FD872F-B44A-C44F-8E62-7D5A5247A5D1}"/>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51" name="R0 G0 B0…">
              <a:extLst>
                <a:ext uri="{FF2B5EF4-FFF2-40B4-BE49-F238E27FC236}">
                  <a16:creationId xmlns:a16="http://schemas.microsoft.com/office/drawing/2014/main" id="{E8FED7BB-5E8A-5947-BBA3-4F5BED14308C}"/>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52" name="Primary">
              <a:extLst>
                <a:ext uri="{FF2B5EF4-FFF2-40B4-BE49-F238E27FC236}">
                  <a16:creationId xmlns:a16="http://schemas.microsoft.com/office/drawing/2014/main" id="{4149240F-EE4B-D94E-A0FB-FF71096B4F78}"/>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53" name="Secondary">
              <a:extLst>
                <a:ext uri="{FF2B5EF4-FFF2-40B4-BE49-F238E27FC236}">
                  <a16:creationId xmlns:a16="http://schemas.microsoft.com/office/drawing/2014/main" id="{68C6A8D1-6ECA-7B4E-9390-C11E8450875D}"/>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54" name="Primary">
              <a:extLst>
                <a:ext uri="{FF2B5EF4-FFF2-40B4-BE49-F238E27FC236}">
                  <a16:creationId xmlns:a16="http://schemas.microsoft.com/office/drawing/2014/main" id="{5188337C-FF19-0246-8896-8C1347FC6CE7}"/>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55" name="Secondary">
              <a:extLst>
                <a:ext uri="{FF2B5EF4-FFF2-40B4-BE49-F238E27FC236}">
                  <a16:creationId xmlns:a16="http://schemas.microsoft.com/office/drawing/2014/main" id="{F09ADA02-13DF-4F40-8F75-3978AD60F611}"/>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58" name="Text Placeholder 6">
            <a:extLst>
              <a:ext uri="{FF2B5EF4-FFF2-40B4-BE49-F238E27FC236}">
                <a16:creationId xmlns:a16="http://schemas.microsoft.com/office/drawing/2014/main" id="{BB40276A-3C35-4F41-A78D-807415EE3F98}"/>
              </a:ext>
            </a:extLst>
          </p:cNvPr>
          <p:cNvSpPr>
            <a:spLocks noGrp="1"/>
          </p:cNvSpPr>
          <p:nvPr>
            <p:ph type="body" sz="quarter" idx="11" hasCustomPrompt="1"/>
          </p:nvPr>
        </p:nvSpPr>
        <p:spPr>
          <a:xfrm>
            <a:off x="3856612" y="1689674"/>
            <a:ext cx="3547603" cy="4596826"/>
          </a:xfrm>
          <a:prstGeom prst="rect">
            <a:avLst/>
          </a:prstGeom>
        </p:spPr>
        <p:txBody>
          <a:bodyPr lIns="0" tIns="0" rIns="0" bIns="0">
            <a:normAutofit/>
          </a:bodyPr>
          <a:lstStyle>
            <a:lvl1pPr marL="342900" marR="0" indent="-342900" algn="l" defTabSz="457109" rtl="0" eaLnBrk="1" fontAlgn="auto" latinLnBrk="0" hangingPunct="1">
              <a:lnSpc>
                <a:spcPts val="2400"/>
              </a:lnSpc>
              <a:spcBef>
                <a:spcPts val="0"/>
              </a:spcBef>
              <a:spcAft>
                <a:spcPts val="0"/>
              </a:spcAft>
              <a:buClrTx/>
              <a:buSzTx/>
              <a:buFont typeface="Arial" panose="020B0604020202020204" pitchFamily="34" charset="0"/>
              <a:buChar char="•"/>
              <a:tabLst/>
              <a:defRPr sz="2000">
                <a:solidFill>
                  <a:schemeClr val="bg1"/>
                </a:solidFill>
                <a:latin typeface="Segoe UI" panose="020B0502040204020203" pitchFamily="34" charset="0"/>
                <a:cs typeface="Segoe UI" panose="020B0502040204020203" pitchFamily="34" charset="0"/>
              </a:defRPr>
            </a:lvl1pPr>
          </a:lstStyle>
          <a:p>
            <a:pPr lvl="0"/>
            <a:r>
              <a:rPr lang="en-US"/>
              <a:t>Bulleted list, 20pt</a:t>
            </a:r>
          </a:p>
          <a:p>
            <a:pPr lvl="0"/>
            <a:endParaRPr lang="en-US"/>
          </a:p>
          <a:p>
            <a:pPr lvl="0"/>
            <a:r>
              <a:rPr lang="en-US"/>
              <a:t>Bulleted list, 20pt</a:t>
            </a:r>
          </a:p>
          <a:p>
            <a:pPr lvl="0"/>
            <a:endParaRPr lang="en-US"/>
          </a:p>
          <a:p>
            <a:pPr lvl="0"/>
            <a:r>
              <a:rPr lang="en-US"/>
              <a:t>Bulleted list, 20pt</a:t>
            </a:r>
          </a:p>
          <a:p>
            <a:pPr lvl="0"/>
            <a:endParaRPr lang="en-US"/>
          </a:p>
        </p:txBody>
      </p:sp>
      <p:sp>
        <p:nvSpPr>
          <p:cNvPr id="62" name="Title 1">
            <a:extLst>
              <a:ext uri="{FF2B5EF4-FFF2-40B4-BE49-F238E27FC236}">
                <a16:creationId xmlns:a16="http://schemas.microsoft.com/office/drawing/2014/main" id="{8E53ACB7-982D-D144-A6A3-7AAB7A6AB02A}"/>
              </a:ext>
            </a:extLst>
          </p:cNvPr>
          <p:cNvSpPr>
            <a:spLocks noGrp="1"/>
          </p:cNvSpPr>
          <p:nvPr>
            <p:ph type="title" hasCustomPrompt="1"/>
          </p:nvPr>
        </p:nvSpPr>
        <p:spPr>
          <a:xfrm>
            <a:off x="588416" y="571500"/>
            <a:ext cx="2304532" cy="861774"/>
          </a:xfrm>
          <a:prstGeom prst="rect">
            <a:avLst/>
          </a:prstGeom>
        </p:spPr>
        <p:txBody>
          <a:bodyPr lIns="0" tIns="0" rIns="0" bIns="0">
            <a:spAutoFit/>
          </a:bodyPr>
          <a:lstStyle>
            <a:lvl1pPr marL="4571">
              <a:lnSpc>
                <a:spcPct val="100000"/>
              </a:lnSpc>
              <a:defRPr sz="2800" b="0" i="0" cap="none" baseline="0">
                <a:solidFill>
                  <a:srgbClr val="2F2F2F"/>
                </a:solidFill>
                <a:latin typeface="Segoe UI Semibold" panose="020B0502040204020203" pitchFamily="34" charset="0"/>
                <a:cs typeface="Segoe UI Semibold" panose="020B0502040204020203" pitchFamily="34" charset="0"/>
              </a:defRPr>
            </a:lvl1pPr>
          </a:lstStyle>
          <a:p>
            <a:r>
              <a:rPr lang="en-US"/>
              <a:t>Section title, 28pt </a:t>
            </a:r>
          </a:p>
        </p:txBody>
      </p:sp>
      <p:sp>
        <p:nvSpPr>
          <p:cNvPr id="66" name="Subtitle 2">
            <a:extLst>
              <a:ext uri="{FF2B5EF4-FFF2-40B4-BE49-F238E27FC236}">
                <a16:creationId xmlns:a16="http://schemas.microsoft.com/office/drawing/2014/main" id="{81E39848-01D6-8045-9E5D-DC1F4FFEB306}"/>
              </a:ext>
            </a:extLst>
          </p:cNvPr>
          <p:cNvSpPr>
            <a:spLocks noGrp="1"/>
          </p:cNvSpPr>
          <p:nvPr>
            <p:ph type="subTitle" idx="1" hasCustomPrompt="1"/>
          </p:nvPr>
        </p:nvSpPr>
        <p:spPr>
          <a:xfrm>
            <a:off x="3856612" y="582151"/>
            <a:ext cx="7746972" cy="338554"/>
          </a:xfrm>
          <a:prstGeom prst="rect">
            <a:avLst/>
          </a:prstGeom>
        </p:spPr>
        <p:txBody>
          <a:bodyPr wrap="square" lIns="0" tIns="0" rIns="0" bIns="0">
            <a:spAutoFit/>
          </a:bodyPr>
          <a:lstStyle>
            <a:lvl1pPr marL="0" indent="0" algn="l">
              <a:lnSpc>
                <a:spcPct val="100000"/>
              </a:lnSpc>
              <a:spcBef>
                <a:spcPts val="0"/>
              </a:spcBef>
              <a:buNone/>
              <a:defRPr sz="2200" b="0" i="0" spc="0" baseline="0">
                <a:solidFill>
                  <a:schemeClr val="bg1"/>
                </a:solidFill>
                <a:latin typeface="Segoe UI Semibold" panose="020B0502040204020203" pitchFamily="34" charset="0"/>
                <a:cs typeface="Segoe UI Semibold"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Subtitle, 22pt</a:t>
            </a:r>
          </a:p>
        </p:txBody>
      </p:sp>
      <p:sp>
        <p:nvSpPr>
          <p:cNvPr id="67" name="Line">
            <a:extLst>
              <a:ext uri="{FF2B5EF4-FFF2-40B4-BE49-F238E27FC236}">
                <a16:creationId xmlns:a16="http://schemas.microsoft.com/office/drawing/2014/main" id="{B2E2D8D6-F5B4-534A-A4D1-0E6DB730A1E8}"/>
              </a:ext>
            </a:extLst>
          </p:cNvPr>
          <p:cNvSpPr/>
          <p:nvPr userDrawn="1"/>
        </p:nvSpPr>
        <p:spPr>
          <a:xfrm>
            <a:off x="3856612" y="1305189"/>
            <a:ext cx="7765327" cy="0"/>
          </a:xfrm>
          <a:prstGeom prst="line">
            <a:avLst/>
          </a:prstGeom>
          <a:ln w="25400" cap="rnd">
            <a:solidFill>
              <a:schemeClr val="tx1"/>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00"/>
          </a:p>
        </p:txBody>
      </p:sp>
      <p:sp>
        <p:nvSpPr>
          <p:cNvPr id="68" name="Text Placeholder 9">
            <a:extLst>
              <a:ext uri="{FF2B5EF4-FFF2-40B4-BE49-F238E27FC236}">
                <a16:creationId xmlns:a16="http://schemas.microsoft.com/office/drawing/2014/main" id="{07D26115-8743-844F-975D-5420FB736C77}"/>
              </a:ext>
            </a:extLst>
          </p:cNvPr>
          <p:cNvSpPr>
            <a:spLocks noGrp="1"/>
          </p:cNvSpPr>
          <p:nvPr>
            <p:ph type="body" sz="quarter" idx="14" hasCustomPrompt="1"/>
          </p:nvPr>
        </p:nvSpPr>
        <p:spPr>
          <a:xfrm>
            <a:off x="574245" y="2353733"/>
            <a:ext cx="2304532" cy="1463970"/>
          </a:xfrm>
          <a:prstGeom prst="rect">
            <a:avLst/>
          </a:prstGeom>
        </p:spPr>
        <p:txBody>
          <a:bodyPr lIns="0" tIns="0" rIns="0" bIns="0">
            <a:normAutofit/>
          </a:bodyPr>
          <a:lstStyle>
            <a:lvl1pPr marL="0" indent="0">
              <a:lnSpc>
                <a:spcPct val="100000"/>
              </a:lnSpc>
              <a:buNone/>
              <a:defRPr sz="2200" b="0" i="0" spc="0">
                <a:solidFill>
                  <a:srgbClr val="2F2F2F"/>
                </a:solidFill>
                <a:latin typeface="Segoe UI" panose="020B0502040204020203" pitchFamily="34" charset="0"/>
                <a:cs typeface="Segoe UI" panose="020B0502040204020203" pitchFamily="34" charset="0"/>
              </a:defRPr>
            </a:lvl1pPr>
          </a:lstStyle>
          <a:p>
            <a:pPr lvl="0"/>
            <a:r>
              <a:rPr lang="en-US"/>
              <a:t>Body copy, 22pt</a:t>
            </a:r>
          </a:p>
        </p:txBody>
      </p:sp>
      <p:sp>
        <p:nvSpPr>
          <p:cNvPr id="70" name="Text Placeholder 6">
            <a:extLst>
              <a:ext uri="{FF2B5EF4-FFF2-40B4-BE49-F238E27FC236}">
                <a16:creationId xmlns:a16="http://schemas.microsoft.com/office/drawing/2014/main" id="{A0FE3C6D-108A-394B-9819-EF70E115B95C}"/>
              </a:ext>
            </a:extLst>
          </p:cNvPr>
          <p:cNvSpPr>
            <a:spLocks noGrp="1"/>
          </p:cNvSpPr>
          <p:nvPr>
            <p:ph type="body" sz="quarter" idx="15" hasCustomPrompt="1"/>
          </p:nvPr>
        </p:nvSpPr>
        <p:spPr>
          <a:xfrm>
            <a:off x="8066851" y="1689674"/>
            <a:ext cx="3547603" cy="4596826"/>
          </a:xfrm>
          <a:prstGeom prst="rect">
            <a:avLst/>
          </a:prstGeom>
        </p:spPr>
        <p:txBody>
          <a:bodyPr lIns="0" tIns="0" rIns="0" bIns="0">
            <a:normAutofit/>
          </a:bodyPr>
          <a:lstStyle>
            <a:lvl1pPr marL="342900" marR="0" indent="-342900" algn="l" defTabSz="457109" rtl="0" eaLnBrk="1" fontAlgn="auto" latinLnBrk="0" hangingPunct="1">
              <a:lnSpc>
                <a:spcPts val="2400"/>
              </a:lnSpc>
              <a:spcBef>
                <a:spcPts val="0"/>
              </a:spcBef>
              <a:spcAft>
                <a:spcPts val="0"/>
              </a:spcAft>
              <a:buClrTx/>
              <a:buSzTx/>
              <a:buFont typeface="Arial" panose="020B0604020202020204" pitchFamily="34" charset="0"/>
              <a:buChar char="•"/>
              <a:tabLst/>
              <a:defRPr sz="2000">
                <a:solidFill>
                  <a:schemeClr val="bg1"/>
                </a:solidFill>
                <a:latin typeface="Segoe UI" panose="020B0502040204020203" pitchFamily="34" charset="0"/>
                <a:cs typeface="Segoe UI" panose="020B0502040204020203" pitchFamily="34" charset="0"/>
              </a:defRPr>
            </a:lvl1pPr>
          </a:lstStyle>
          <a:p>
            <a:pPr lvl="0"/>
            <a:r>
              <a:rPr lang="en-US"/>
              <a:t>Bulleted list, 20pt</a:t>
            </a:r>
          </a:p>
          <a:p>
            <a:pPr lvl="0"/>
            <a:endParaRPr lang="en-US"/>
          </a:p>
          <a:p>
            <a:pPr lvl="0"/>
            <a:r>
              <a:rPr lang="en-US"/>
              <a:t>Bulleted list, 20pt</a:t>
            </a:r>
          </a:p>
          <a:p>
            <a:pPr lvl="0"/>
            <a:endParaRPr lang="en-US"/>
          </a:p>
          <a:p>
            <a:pPr lvl="0"/>
            <a:r>
              <a:rPr lang="en-US"/>
              <a:t>Bulleted list, 20pt</a:t>
            </a:r>
          </a:p>
          <a:p>
            <a:pPr lvl="0"/>
            <a:endParaRPr lang="en-US"/>
          </a:p>
        </p:txBody>
      </p:sp>
    </p:spTree>
    <p:extLst>
      <p:ext uri="{BB962C8B-B14F-4D97-AF65-F5344CB8AC3E}">
        <p14:creationId xmlns:p14="http://schemas.microsoft.com/office/powerpoint/2010/main" val="4184041211"/>
      </p:ext>
    </p:extLst>
  </p:cSld>
  <p:clrMapOvr>
    <a:masterClrMapping/>
  </p:clrMapOvr>
  <p:extLst>
    <p:ext uri="{DCECCB84-F9BA-43D5-87BE-67443E8EF086}">
      <p15:sldGuideLst xmlns:p15="http://schemas.microsoft.com/office/powerpoint/2012/main"/>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preserve="1" userDrawn="1">
  <p:cSld name="Stats">
    <p:bg>
      <p:bgPr>
        <a:solidFill>
          <a:schemeClr val="bg1">
            <a:lumMod val="95000"/>
          </a:schemeClr>
        </a:solidFill>
        <a:effectLst/>
      </p:bgPr>
    </p:bg>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BFDA789B-4951-7E4F-9C3B-909CDC732B3B}"/>
              </a:ext>
              <a:ext uri="{C183D7F6-B498-43B3-948B-1728B52AA6E4}">
                <adec:decorative xmlns:adec="http://schemas.microsoft.com/office/drawing/2017/decorative" val="1"/>
              </a:ext>
            </a:extLst>
          </p:cNvPr>
          <p:cNvSpPr/>
          <p:nvPr userDrawn="1"/>
        </p:nvSpPr>
        <p:spPr bwMode="auto">
          <a:xfrm>
            <a:off x="570062" y="2012658"/>
            <a:ext cx="5373499" cy="42754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rgbClr val="008C72"/>
              </a:soli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46364" y="2385921"/>
            <a:ext cx="6714479" cy="2229681"/>
            <a:chOff x="8270283" y="6177473"/>
            <a:chExt cx="12760035" cy="4236124"/>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2"/>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3"/>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Subtitle 2">
            <a:extLst>
              <a:ext uri="{FF2B5EF4-FFF2-40B4-BE49-F238E27FC236}">
                <a16:creationId xmlns:a16="http://schemas.microsoft.com/office/drawing/2014/main" id="{561CF63F-2437-0448-A7B0-BF8CA2D795D7}"/>
              </a:ext>
            </a:extLst>
          </p:cNvPr>
          <p:cNvSpPr>
            <a:spLocks noGrp="1"/>
          </p:cNvSpPr>
          <p:nvPr>
            <p:ph type="subTitle" idx="1" hasCustomPrompt="1"/>
          </p:nvPr>
        </p:nvSpPr>
        <p:spPr>
          <a:xfrm>
            <a:off x="810500" y="5264128"/>
            <a:ext cx="4897924" cy="837782"/>
          </a:xfrm>
          <a:prstGeom prst="rect">
            <a:avLst/>
          </a:prstGeom>
        </p:spPr>
        <p:txBody>
          <a:bodyPr wrap="square" lIns="0" tIns="0" rIns="0" bIns="0">
            <a:normAutofit/>
          </a:bodyPr>
          <a:lstStyle>
            <a:lvl1pPr marL="0" indent="0" algn="ctr">
              <a:lnSpc>
                <a:spcPct val="100000"/>
              </a:lnSpc>
              <a:spcBef>
                <a:spcPts val="0"/>
              </a:spcBef>
              <a:buNone/>
              <a:defRPr sz="2200" b="1" i="0" spc="0" baseline="0">
                <a:solidFill>
                  <a:schemeClr val="bg1"/>
                </a:solidFill>
                <a:latin typeface="Segoe UI Semibold" panose="020B0502040204020203" pitchFamily="34" charset="0"/>
                <a:cs typeface="Segoe UI Semibold" panose="020B0502040204020203" pitchFamily="34" charset="0"/>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pPr lvl="0"/>
            <a:r>
              <a:rPr lang="en-US"/>
              <a:t>Caption, 22pt</a:t>
            </a:r>
          </a:p>
        </p:txBody>
      </p:sp>
      <p:sp>
        <p:nvSpPr>
          <p:cNvPr id="51" name="Text Placeholder 4">
            <a:extLst>
              <a:ext uri="{FF2B5EF4-FFF2-40B4-BE49-F238E27FC236}">
                <a16:creationId xmlns:a16="http://schemas.microsoft.com/office/drawing/2014/main" id="{A9C14AAE-A7BF-1540-B73A-64FD214B0443}"/>
              </a:ext>
            </a:extLst>
          </p:cNvPr>
          <p:cNvSpPr>
            <a:spLocks noGrp="1"/>
          </p:cNvSpPr>
          <p:nvPr>
            <p:ph type="body" sz="quarter" idx="12" hasCustomPrompt="1"/>
          </p:nvPr>
        </p:nvSpPr>
        <p:spPr>
          <a:xfrm>
            <a:off x="570062" y="2208626"/>
            <a:ext cx="5362383" cy="2971094"/>
          </a:xfrm>
          <a:prstGeom prst="rect">
            <a:avLst/>
          </a:prstGeom>
        </p:spPr>
        <p:txBody>
          <a:bodyPr lIns="0" tIns="0" rIns="0" bIns="0" anchor="ctr" anchorCtr="0">
            <a:normAutofit/>
          </a:bodyPr>
          <a:lstStyle>
            <a:lvl1pPr marL="0" indent="0" algn="ctr">
              <a:buNone/>
              <a:defRPr sz="30000" b="1" i="0" spc="-50" baseline="0">
                <a:solidFill>
                  <a:schemeClr val="tx1"/>
                </a:solidFill>
                <a:latin typeface="Segoe UI Semibold" panose="020B0502040204020203" pitchFamily="34" charset="0"/>
                <a:cs typeface="Segoe UI Semibold" panose="020B0502040204020203" pitchFamily="34" charset="0"/>
              </a:defRPr>
            </a:lvl1pPr>
            <a:lvl2pPr>
              <a:defRPr sz="35000">
                <a:latin typeface="Segoe UI" panose="020B0502040204020203" pitchFamily="34" charset="0"/>
                <a:cs typeface="Segoe UI" panose="020B0502040204020203" pitchFamily="34" charset="0"/>
              </a:defRPr>
            </a:lvl2pPr>
            <a:lvl3pPr>
              <a:defRPr sz="35000">
                <a:latin typeface="Segoe UI" panose="020B0502040204020203" pitchFamily="34" charset="0"/>
                <a:cs typeface="Segoe UI" panose="020B0502040204020203" pitchFamily="34" charset="0"/>
              </a:defRPr>
            </a:lvl3pPr>
            <a:lvl4pPr>
              <a:defRPr sz="35000">
                <a:latin typeface="Segoe UI" panose="020B0502040204020203" pitchFamily="34" charset="0"/>
                <a:cs typeface="Segoe UI" panose="020B0502040204020203" pitchFamily="34" charset="0"/>
              </a:defRPr>
            </a:lvl4pPr>
            <a:lvl5pPr>
              <a:defRPr sz="35000">
                <a:latin typeface="Segoe UI" panose="020B0502040204020203" pitchFamily="34" charset="0"/>
                <a:cs typeface="Segoe UI" panose="020B0502040204020203" pitchFamily="34" charset="0"/>
              </a:defRPr>
            </a:lvl5pPr>
          </a:lstStyle>
          <a:p>
            <a:pPr lvl="0"/>
            <a:r>
              <a:rPr lang="en-US"/>
              <a:t>#</a:t>
            </a:r>
          </a:p>
        </p:txBody>
      </p:sp>
      <p:sp>
        <p:nvSpPr>
          <p:cNvPr id="59" name="Rectangle 58">
            <a:extLst>
              <a:ext uri="{FF2B5EF4-FFF2-40B4-BE49-F238E27FC236}">
                <a16:creationId xmlns:a16="http://schemas.microsoft.com/office/drawing/2014/main" id="{A2C7CDB4-D72D-1F42-A299-6190662B22FB}"/>
              </a:ext>
              <a:ext uri="{C183D7F6-B498-43B3-948B-1728B52AA6E4}">
                <adec:decorative xmlns:adec="http://schemas.microsoft.com/office/drawing/2017/decorative" val="1"/>
              </a:ext>
            </a:extLst>
          </p:cNvPr>
          <p:cNvSpPr/>
          <p:nvPr userDrawn="1"/>
        </p:nvSpPr>
        <p:spPr bwMode="auto">
          <a:xfrm>
            <a:off x="6249896" y="2012658"/>
            <a:ext cx="2536530" cy="197253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rgbClr val="008C72"/>
              </a:solidFill>
              <a:ea typeface="Segoe UI" pitchFamily="34" charset="0"/>
              <a:cs typeface="Segoe UI" pitchFamily="34" charset="0"/>
            </a:endParaRPr>
          </a:p>
        </p:txBody>
      </p:sp>
      <p:sp>
        <p:nvSpPr>
          <p:cNvPr id="61" name="Text Placeholder 4">
            <a:extLst>
              <a:ext uri="{FF2B5EF4-FFF2-40B4-BE49-F238E27FC236}">
                <a16:creationId xmlns:a16="http://schemas.microsoft.com/office/drawing/2014/main" id="{495B46AA-C175-FC4D-90FB-4FDC0D606036}"/>
              </a:ext>
            </a:extLst>
          </p:cNvPr>
          <p:cNvSpPr>
            <a:spLocks noGrp="1"/>
          </p:cNvSpPr>
          <p:nvPr userDrawn="1">
            <p:ph type="body" sz="quarter" idx="19" hasCustomPrompt="1"/>
          </p:nvPr>
        </p:nvSpPr>
        <p:spPr>
          <a:xfrm>
            <a:off x="6249896" y="2186345"/>
            <a:ext cx="2536530" cy="1201364"/>
          </a:xfrm>
          <a:prstGeom prst="rect">
            <a:avLst/>
          </a:prstGeom>
        </p:spPr>
        <p:txBody>
          <a:bodyPr lIns="0" tIns="0" rIns="0" bIns="0" anchor="ctr" anchorCtr="0">
            <a:noAutofit/>
          </a:bodyPr>
          <a:lstStyle>
            <a:lvl1pPr marL="0" indent="0" algn="ctr">
              <a:buNone/>
              <a:defRPr sz="10000" b="1" i="0" spc="-50" baseline="0">
                <a:solidFill>
                  <a:srgbClr val="2F2F2F"/>
                </a:solidFill>
                <a:latin typeface="Segoe UI Semibold" panose="020B0502040204020203" pitchFamily="34" charset="0"/>
                <a:cs typeface="Segoe UI Semibold" panose="020B0502040204020203" pitchFamily="34" charset="0"/>
              </a:defRPr>
            </a:lvl1pPr>
            <a:lvl2pPr>
              <a:defRPr sz="35000">
                <a:latin typeface="Segoe UI" panose="020B0502040204020203" pitchFamily="34" charset="0"/>
                <a:cs typeface="Segoe UI" panose="020B0502040204020203" pitchFamily="34" charset="0"/>
              </a:defRPr>
            </a:lvl2pPr>
            <a:lvl3pPr>
              <a:defRPr sz="35000">
                <a:latin typeface="Segoe UI" panose="020B0502040204020203" pitchFamily="34" charset="0"/>
                <a:cs typeface="Segoe UI" panose="020B0502040204020203" pitchFamily="34" charset="0"/>
              </a:defRPr>
            </a:lvl3pPr>
            <a:lvl4pPr>
              <a:defRPr sz="35000">
                <a:latin typeface="Segoe UI" panose="020B0502040204020203" pitchFamily="34" charset="0"/>
                <a:cs typeface="Segoe UI" panose="020B0502040204020203" pitchFamily="34" charset="0"/>
              </a:defRPr>
            </a:lvl4pPr>
            <a:lvl5pPr>
              <a:defRPr sz="35000">
                <a:latin typeface="Segoe UI" panose="020B0502040204020203" pitchFamily="34" charset="0"/>
                <a:cs typeface="Segoe UI" panose="020B0502040204020203" pitchFamily="34" charset="0"/>
              </a:defRPr>
            </a:lvl5pPr>
          </a:lstStyle>
          <a:p>
            <a:pPr lvl="0"/>
            <a:r>
              <a:rPr lang="en-US"/>
              <a:t>%</a:t>
            </a:r>
          </a:p>
        </p:txBody>
      </p:sp>
      <p:sp>
        <p:nvSpPr>
          <p:cNvPr id="62" name="Text Placeholder 8">
            <a:extLst>
              <a:ext uri="{FF2B5EF4-FFF2-40B4-BE49-F238E27FC236}">
                <a16:creationId xmlns:a16="http://schemas.microsoft.com/office/drawing/2014/main" id="{7E307910-7EAA-514A-A178-CB1570B2DF1F}"/>
              </a:ext>
            </a:extLst>
          </p:cNvPr>
          <p:cNvSpPr>
            <a:spLocks noGrp="1"/>
          </p:cNvSpPr>
          <p:nvPr userDrawn="1">
            <p:ph type="body" sz="quarter" idx="20" hasCustomPrompt="1"/>
          </p:nvPr>
        </p:nvSpPr>
        <p:spPr>
          <a:xfrm>
            <a:off x="6357029" y="3429000"/>
            <a:ext cx="2305875" cy="384282"/>
          </a:xfrm>
          <a:prstGeom prst="rect">
            <a:avLst/>
          </a:prstGeom>
        </p:spPr>
        <p:txBody>
          <a:bodyPr lIns="0" tIns="0" rIns="0" bIns="0"/>
          <a:lstStyle>
            <a:lvl1pPr marL="0" indent="0" algn="ctr">
              <a:buNone/>
              <a:defRPr b="1" i="0" u="none">
                <a:solidFill>
                  <a:srgbClr val="2F2F2F"/>
                </a:solidFill>
                <a:latin typeface="Segoe UI Semibold" panose="020B0502040204020203" pitchFamily="34" charset="0"/>
                <a:cs typeface="Segoe UI Semibold" panose="020B0502040204020203" pitchFamily="34" charset="0"/>
              </a:defRPr>
            </a:lvl1pPr>
          </a:lstStyle>
          <a:p>
            <a:pPr lvl="0"/>
            <a:r>
              <a:rPr lang="en-US"/>
              <a:t>Caption, 14pt</a:t>
            </a:r>
          </a:p>
        </p:txBody>
      </p:sp>
      <p:sp>
        <p:nvSpPr>
          <p:cNvPr id="75" name="Rectangle 74">
            <a:extLst>
              <a:ext uri="{FF2B5EF4-FFF2-40B4-BE49-F238E27FC236}">
                <a16:creationId xmlns:a16="http://schemas.microsoft.com/office/drawing/2014/main" id="{25B837AD-B4A1-C145-AF08-667A7CDBFA5B}"/>
              </a:ext>
              <a:ext uri="{C183D7F6-B498-43B3-948B-1728B52AA6E4}">
                <adec:decorative xmlns:adec="http://schemas.microsoft.com/office/drawing/2017/decorative" val="1"/>
              </a:ext>
            </a:extLst>
          </p:cNvPr>
          <p:cNvSpPr/>
          <p:nvPr userDrawn="1"/>
        </p:nvSpPr>
        <p:spPr bwMode="auto">
          <a:xfrm>
            <a:off x="6249896" y="4313970"/>
            <a:ext cx="2536530" cy="19725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rgbClr val="30E5D0"/>
              </a:solidFill>
              <a:ea typeface="Segoe UI" pitchFamily="34" charset="0"/>
              <a:cs typeface="Segoe UI" pitchFamily="34" charset="0"/>
            </a:endParaRPr>
          </a:p>
        </p:txBody>
      </p:sp>
      <p:sp>
        <p:nvSpPr>
          <p:cNvPr id="76" name="Text Placeholder 4">
            <a:extLst>
              <a:ext uri="{FF2B5EF4-FFF2-40B4-BE49-F238E27FC236}">
                <a16:creationId xmlns:a16="http://schemas.microsoft.com/office/drawing/2014/main" id="{67473576-B134-6441-A0FC-6F6FB5725C4C}"/>
              </a:ext>
            </a:extLst>
          </p:cNvPr>
          <p:cNvSpPr>
            <a:spLocks noGrp="1"/>
          </p:cNvSpPr>
          <p:nvPr>
            <p:ph type="body" sz="quarter" idx="23" hasCustomPrompt="1"/>
          </p:nvPr>
        </p:nvSpPr>
        <p:spPr>
          <a:xfrm>
            <a:off x="6249896" y="4487657"/>
            <a:ext cx="2536530" cy="1201364"/>
          </a:xfrm>
          <a:prstGeom prst="rect">
            <a:avLst/>
          </a:prstGeom>
        </p:spPr>
        <p:txBody>
          <a:bodyPr lIns="0" tIns="0" rIns="0" bIns="0" anchor="ctr" anchorCtr="0">
            <a:noAutofit/>
          </a:bodyPr>
          <a:lstStyle>
            <a:lvl1pPr marL="0" indent="0" algn="ctr">
              <a:buNone/>
              <a:defRPr sz="10000" b="1" i="0" spc="-50" baseline="0">
                <a:solidFill>
                  <a:schemeClr val="tx2"/>
                </a:solidFill>
                <a:latin typeface="Segoe UI Semibold" panose="020B0502040204020203" pitchFamily="34" charset="0"/>
                <a:cs typeface="Segoe UI Semibold" panose="020B0502040204020203" pitchFamily="34" charset="0"/>
              </a:defRPr>
            </a:lvl1pPr>
            <a:lvl2pPr>
              <a:defRPr sz="35000">
                <a:latin typeface="Segoe UI" panose="020B0502040204020203" pitchFamily="34" charset="0"/>
                <a:cs typeface="Segoe UI" panose="020B0502040204020203" pitchFamily="34" charset="0"/>
              </a:defRPr>
            </a:lvl2pPr>
            <a:lvl3pPr>
              <a:defRPr sz="35000">
                <a:latin typeface="Segoe UI" panose="020B0502040204020203" pitchFamily="34" charset="0"/>
                <a:cs typeface="Segoe UI" panose="020B0502040204020203" pitchFamily="34" charset="0"/>
              </a:defRPr>
            </a:lvl3pPr>
            <a:lvl4pPr>
              <a:defRPr sz="35000">
                <a:latin typeface="Segoe UI" panose="020B0502040204020203" pitchFamily="34" charset="0"/>
                <a:cs typeface="Segoe UI" panose="020B0502040204020203" pitchFamily="34" charset="0"/>
              </a:defRPr>
            </a:lvl4pPr>
            <a:lvl5pPr>
              <a:defRPr sz="35000">
                <a:latin typeface="Segoe UI" panose="020B0502040204020203" pitchFamily="34" charset="0"/>
                <a:cs typeface="Segoe UI" panose="020B0502040204020203" pitchFamily="34" charset="0"/>
              </a:defRPr>
            </a:lvl5pPr>
          </a:lstStyle>
          <a:p>
            <a:pPr lvl="0"/>
            <a:r>
              <a:rPr lang="en-US"/>
              <a:t>#</a:t>
            </a:r>
          </a:p>
        </p:txBody>
      </p:sp>
      <p:sp>
        <p:nvSpPr>
          <p:cNvPr id="77" name="Text Placeholder 8">
            <a:extLst>
              <a:ext uri="{FF2B5EF4-FFF2-40B4-BE49-F238E27FC236}">
                <a16:creationId xmlns:a16="http://schemas.microsoft.com/office/drawing/2014/main" id="{9096492D-AED9-234F-985B-658994F39B81}"/>
              </a:ext>
            </a:extLst>
          </p:cNvPr>
          <p:cNvSpPr>
            <a:spLocks noGrp="1"/>
          </p:cNvSpPr>
          <p:nvPr>
            <p:ph type="body" sz="quarter" idx="24" hasCustomPrompt="1"/>
          </p:nvPr>
        </p:nvSpPr>
        <p:spPr>
          <a:xfrm>
            <a:off x="6357029" y="5730312"/>
            <a:ext cx="2305875" cy="384282"/>
          </a:xfrm>
          <a:prstGeom prst="rect">
            <a:avLst/>
          </a:prstGeom>
        </p:spPr>
        <p:txBody>
          <a:bodyPr lIns="0" tIns="0" rIns="0" bIns="0"/>
          <a:lstStyle>
            <a:lvl1pPr marL="0" indent="0" algn="ctr">
              <a:buNone/>
              <a:defRPr b="1" i="0" u="none">
                <a:solidFill>
                  <a:schemeClr val="tx2"/>
                </a:solidFill>
                <a:latin typeface="Segoe UI Semibold" panose="020B0502040204020203" pitchFamily="34" charset="0"/>
                <a:cs typeface="Segoe UI Semibold" panose="020B0502040204020203" pitchFamily="34" charset="0"/>
              </a:defRPr>
            </a:lvl1pPr>
          </a:lstStyle>
          <a:p>
            <a:pPr lvl="0"/>
            <a:r>
              <a:rPr lang="en-US"/>
              <a:t>Caption, 14pt</a:t>
            </a:r>
          </a:p>
        </p:txBody>
      </p:sp>
      <p:sp>
        <p:nvSpPr>
          <p:cNvPr id="78" name="Rectangle 77">
            <a:extLst>
              <a:ext uri="{FF2B5EF4-FFF2-40B4-BE49-F238E27FC236}">
                <a16:creationId xmlns:a16="http://schemas.microsoft.com/office/drawing/2014/main" id="{35530DEA-5997-BC46-BE1D-FC2413C141BF}"/>
              </a:ext>
              <a:ext uri="{C183D7F6-B498-43B3-948B-1728B52AA6E4}">
                <adec:decorative xmlns:adec="http://schemas.microsoft.com/office/drawing/2017/decorative" val="1"/>
              </a:ext>
            </a:extLst>
          </p:cNvPr>
          <p:cNvSpPr/>
          <p:nvPr userDrawn="1"/>
        </p:nvSpPr>
        <p:spPr bwMode="auto">
          <a:xfrm>
            <a:off x="9079894" y="4313970"/>
            <a:ext cx="2536530" cy="197253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rgbClr val="008C72"/>
              </a:solidFill>
              <a:ea typeface="Segoe UI" pitchFamily="34" charset="0"/>
              <a:cs typeface="Segoe UI" pitchFamily="34" charset="0"/>
            </a:endParaRPr>
          </a:p>
        </p:txBody>
      </p:sp>
      <p:sp>
        <p:nvSpPr>
          <p:cNvPr id="80" name="Text Placeholder 4">
            <a:extLst>
              <a:ext uri="{FF2B5EF4-FFF2-40B4-BE49-F238E27FC236}">
                <a16:creationId xmlns:a16="http://schemas.microsoft.com/office/drawing/2014/main" id="{22DF1C81-B4F6-2845-8F31-ECBDE4DD0952}"/>
              </a:ext>
            </a:extLst>
          </p:cNvPr>
          <p:cNvSpPr>
            <a:spLocks noGrp="1"/>
          </p:cNvSpPr>
          <p:nvPr>
            <p:ph type="body" sz="quarter" idx="25" hasCustomPrompt="1"/>
          </p:nvPr>
        </p:nvSpPr>
        <p:spPr>
          <a:xfrm>
            <a:off x="9079894" y="4487657"/>
            <a:ext cx="2536530" cy="1201364"/>
          </a:xfrm>
          <a:prstGeom prst="rect">
            <a:avLst/>
          </a:prstGeom>
        </p:spPr>
        <p:txBody>
          <a:bodyPr lIns="0" tIns="0" rIns="0" bIns="0" anchor="ctr" anchorCtr="0">
            <a:noAutofit/>
          </a:bodyPr>
          <a:lstStyle>
            <a:lvl1pPr marL="0" indent="0" algn="ctr">
              <a:buNone/>
              <a:defRPr sz="10000" b="1" i="0" spc="-50" baseline="0">
                <a:solidFill>
                  <a:srgbClr val="2F2F2F"/>
                </a:solidFill>
                <a:latin typeface="Segoe UI Semibold" panose="020B0502040204020203" pitchFamily="34" charset="0"/>
                <a:cs typeface="Segoe UI Semibold" panose="020B0502040204020203" pitchFamily="34" charset="0"/>
              </a:defRPr>
            </a:lvl1pPr>
            <a:lvl2pPr>
              <a:defRPr sz="35000">
                <a:latin typeface="Segoe UI" panose="020B0502040204020203" pitchFamily="34" charset="0"/>
                <a:cs typeface="Segoe UI" panose="020B0502040204020203" pitchFamily="34" charset="0"/>
              </a:defRPr>
            </a:lvl2pPr>
            <a:lvl3pPr>
              <a:defRPr sz="35000">
                <a:latin typeface="Segoe UI" panose="020B0502040204020203" pitchFamily="34" charset="0"/>
                <a:cs typeface="Segoe UI" panose="020B0502040204020203" pitchFamily="34" charset="0"/>
              </a:defRPr>
            </a:lvl3pPr>
            <a:lvl4pPr>
              <a:defRPr sz="35000">
                <a:latin typeface="Segoe UI" panose="020B0502040204020203" pitchFamily="34" charset="0"/>
                <a:cs typeface="Segoe UI" panose="020B0502040204020203" pitchFamily="34" charset="0"/>
              </a:defRPr>
            </a:lvl4pPr>
            <a:lvl5pPr>
              <a:defRPr sz="35000">
                <a:latin typeface="Segoe UI" panose="020B0502040204020203" pitchFamily="34" charset="0"/>
                <a:cs typeface="Segoe UI" panose="020B0502040204020203" pitchFamily="34" charset="0"/>
              </a:defRPr>
            </a:lvl5pPr>
          </a:lstStyle>
          <a:p>
            <a:pPr lvl="0"/>
            <a:r>
              <a:rPr lang="en-US"/>
              <a:t>%</a:t>
            </a:r>
          </a:p>
        </p:txBody>
      </p:sp>
      <p:sp>
        <p:nvSpPr>
          <p:cNvPr id="81" name="Text Placeholder 8">
            <a:extLst>
              <a:ext uri="{FF2B5EF4-FFF2-40B4-BE49-F238E27FC236}">
                <a16:creationId xmlns:a16="http://schemas.microsoft.com/office/drawing/2014/main" id="{5BC6A183-9375-824E-B182-08916A0F566B}"/>
              </a:ext>
            </a:extLst>
          </p:cNvPr>
          <p:cNvSpPr>
            <a:spLocks noGrp="1"/>
          </p:cNvSpPr>
          <p:nvPr>
            <p:ph type="body" sz="quarter" idx="26" hasCustomPrompt="1"/>
          </p:nvPr>
        </p:nvSpPr>
        <p:spPr>
          <a:xfrm>
            <a:off x="9187027" y="5730312"/>
            <a:ext cx="2305875" cy="384282"/>
          </a:xfrm>
          <a:prstGeom prst="rect">
            <a:avLst/>
          </a:prstGeom>
        </p:spPr>
        <p:txBody>
          <a:bodyPr lIns="0" tIns="0" rIns="0" bIns="0"/>
          <a:lstStyle>
            <a:lvl1pPr marL="0" indent="0" algn="ctr">
              <a:buNone/>
              <a:defRPr b="1" i="0" u="none">
                <a:solidFill>
                  <a:srgbClr val="2F2F2F"/>
                </a:solidFill>
                <a:latin typeface="Segoe UI Semibold" panose="020B0502040204020203" pitchFamily="34" charset="0"/>
                <a:cs typeface="Segoe UI Semibold" panose="020B0502040204020203" pitchFamily="34" charset="0"/>
              </a:defRPr>
            </a:lvl1pPr>
          </a:lstStyle>
          <a:p>
            <a:pPr lvl="0"/>
            <a:r>
              <a:rPr lang="en-US"/>
              <a:t>Caption, 14pt</a:t>
            </a:r>
          </a:p>
        </p:txBody>
      </p:sp>
      <p:sp>
        <p:nvSpPr>
          <p:cNvPr id="86" name="Rectangle 85">
            <a:extLst>
              <a:ext uri="{FF2B5EF4-FFF2-40B4-BE49-F238E27FC236}">
                <a16:creationId xmlns:a16="http://schemas.microsoft.com/office/drawing/2014/main" id="{33CD4735-EA41-4D45-BB2A-778FDDA0B468}"/>
              </a:ext>
              <a:ext uri="{C183D7F6-B498-43B3-948B-1728B52AA6E4}">
                <adec:decorative xmlns:adec="http://schemas.microsoft.com/office/drawing/2017/decorative" val="1"/>
              </a:ext>
            </a:extLst>
          </p:cNvPr>
          <p:cNvSpPr/>
          <p:nvPr userDrawn="1"/>
        </p:nvSpPr>
        <p:spPr bwMode="auto">
          <a:xfrm>
            <a:off x="9079894" y="2012658"/>
            <a:ext cx="2536530" cy="19725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solidFill>
                <a:schemeClr val="tx2"/>
              </a:solidFill>
              <a:ea typeface="Segoe UI" pitchFamily="34" charset="0"/>
              <a:cs typeface="Segoe UI" pitchFamily="34" charset="0"/>
            </a:endParaRPr>
          </a:p>
        </p:txBody>
      </p:sp>
      <p:sp>
        <p:nvSpPr>
          <p:cNvPr id="87" name="Text Placeholder 4">
            <a:extLst>
              <a:ext uri="{FF2B5EF4-FFF2-40B4-BE49-F238E27FC236}">
                <a16:creationId xmlns:a16="http://schemas.microsoft.com/office/drawing/2014/main" id="{4D975464-0625-8045-BB00-45830004F7B6}"/>
              </a:ext>
            </a:extLst>
          </p:cNvPr>
          <p:cNvSpPr>
            <a:spLocks noGrp="1"/>
          </p:cNvSpPr>
          <p:nvPr>
            <p:ph type="body" sz="quarter" idx="27" hasCustomPrompt="1"/>
          </p:nvPr>
        </p:nvSpPr>
        <p:spPr>
          <a:xfrm>
            <a:off x="9079894" y="2186345"/>
            <a:ext cx="2536530" cy="1201364"/>
          </a:xfrm>
          <a:prstGeom prst="rect">
            <a:avLst/>
          </a:prstGeom>
        </p:spPr>
        <p:txBody>
          <a:bodyPr lIns="0" tIns="0" rIns="0" bIns="0" anchor="ctr" anchorCtr="0">
            <a:noAutofit/>
          </a:bodyPr>
          <a:lstStyle>
            <a:lvl1pPr marL="0" indent="0" algn="ctr">
              <a:buNone/>
              <a:defRPr sz="10000" b="1" i="0" spc="-50" baseline="0">
                <a:solidFill>
                  <a:schemeClr val="tx1"/>
                </a:solidFill>
                <a:latin typeface="Segoe UI Semibold" panose="020B0502040204020203" pitchFamily="34" charset="0"/>
                <a:cs typeface="Segoe UI Semibold" panose="020B0502040204020203" pitchFamily="34" charset="0"/>
              </a:defRPr>
            </a:lvl1pPr>
            <a:lvl2pPr>
              <a:defRPr sz="35000">
                <a:latin typeface="Segoe UI" panose="020B0502040204020203" pitchFamily="34" charset="0"/>
                <a:cs typeface="Segoe UI" panose="020B0502040204020203" pitchFamily="34" charset="0"/>
              </a:defRPr>
            </a:lvl2pPr>
            <a:lvl3pPr>
              <a:defRPr sz="35000">
                <a:latin typeface="Segoe UI" panose="020B0502040204020203" pitchFamily="34" charset="0"/>
                <a:cs typeface="Segoe UI" panose="020B0502040204020203" pitchFamily="34" charset="0"/>
              </a:defRPr>
            </a:lvl3pPr>
            <a:lvl4pPr>
              <a:defRPr sz="35000">
                <a:latin typeface="Segoe UI" panose="020B0502040204020203" pitchFamily="34" charset="0"/>
                <a:cs typeface="Segoe UI" panose="020B0502040204020203" pitchFamily="34" charset="0"/>
              </a:defRPr>
            </a:lvl4pPr>
            <a:lvl5pPr>
              <a:defRPr sz="35000">
                <a:latin typeface="Segoe UI" panose="020B0502040204020203" pitchFamily="34" charset="0"/>
                <a:cs typeface="Segoe UI" panose="020B0502040204020203" pitchFamily="34" charset="0"/>
              </a:defRPr>
            </a:lvl5pPr>
          </a:lstStyle>
          <a:p>
            <a:pPr lvl="0"/>
            <a:r>
              <a:rPr lang="en-US"/>
              <a:t>#</a:t>
            </a:r>
          </a:p>
        </p:txBody>
      </p:sp>
      <p:sp>
        <p:nvSpPr>
          <p:cNvPr id="88" name="Text Placeholder 8">
            <a:extLst>
              <a:ext uri="{FF2B5EF4-FFF2-40B4-BE49-F238E27FC236}">
                <a16:creationId xmlns:a16="http://schemas.microsoft.com/office/drawing/2014/main" id="{CDA62B9F-E449-A24B-AD1D-14252457C49D}"/>
              </a:ext>
            </a:extLst>
          </p:cNvPr>
          <p:cNvSpPr>
            <a:spLocks noGrp="1"/>
          </p:cNvSpPr>
          <p:nvPr>
            <p:ph type="body" sz="quarter" idx="28" hasCustomPrompt="1"/>
          </p:nvPr>
        </p:nvSpPr>
        <p:spPr>
          <a:xfrm>
            <a:off x="9187027" y="3429000"/>
            <a:ext cx="2305875" cy="384282"/>
          </a:xfrm>
          <a:prstGeom prst="rect">
            <a:avLst/>
          </a:prstGeom>
        </p:spPr>
        <p:txBody>
          <a:bodyPr lIns="0" tIns="0" rIns="0" bIns="0"/>
          <a:lstStyle>
            <a:lvl1pPr marL="0" indent="0" algn="ctr">
              <a:buNone/>
              <a:defRPr b="1" i="0" u="none">
                <a:solidFill>
                  <a:schemeClr val="bg1"/>
                </a:solidFill>
                <a:latin typeface="Segoe UI Semibold" panose="020B0502040204020203" pitchFamily="34" charset="0"/>
                <a:cs typeface="Segoe UI Semibold" panose="020B0502040204020203" pitchFamily="34" charset="0"/>
              </a:defRPr>
            </a:lvl1pPr>
          </a:lstStyle>
          <a:p>
            <a:pPr lvl="0"/>
            <a:r>
              <a:rPr lang="en-US"/>
              <a:t>Caption, 14pt</a:t>
            </a:r>
          </a:p>
        </p:txBody>
      </p:sp>
      <p:sp>
        <p:nvSpPr>
          <p:cNvPr id="89" name="Title 1">
            <a:extLst>
              <a:ext uri="{FF2B5EF4-FFF2-40B4-BE49-F238E27FC236}">
                <a16:creationId xmlns:a16="http://schemas.microsoft.com/office/drawing/2014/main" id="{ACB437BD-A37A-C243-8BEA-B361EEF8FC70}"/>
              </a:ext>
            </a:extLst>
          </p:cNvPr>
          <p:cNvSpPr>
            <a:spLocks noGrp="1"/>
          </p:cNvSpPr>
          <p:nvPr>
            <p:ph type="title" hasCustomPrompt="1"/>
          </p:nvPr>
        </p:nvSpPr>
        <p:spPr>
          <a:xfrm>
            <a:off x="588416" y="571501"/>
            <a:ext cx="4195845" cy="430887"/>
          </a:xfrm>
          <a:prstGeom prst="rect">
            <a:avLst/>
          </a:prstGeom>
        </p:spPr>
        <p:txBody>
          <a:bodyPr wrap="square" lIns="0" tIns="0" rIns="0" bIns="0">
            <a:spAutoFit/>
          </a:bodyPr>
          <a:lstStyle>
            <a:lvl1pPr marL="4571">
              <a:lnSpc>
                <a:spcPct val="100000"/>
              </a:lnSpc>
              <a:defRPr sz="2800" b="0" i="0" cap="none" baseline="0">
                <a:solidFill>
                  <a:srgbClr val="2F2F2F"/>
                </a:solidFill>
                <a:latin typeface="Segoe UI Semibold" panose="020B0502040204020203" pitchFamily="34" charset="0"/>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99975053"/>
      </p:ext>
    </p:extLst>
  </p:cSld>
  <p:clrMapOvr>
    <a:masterClrMapping/>
  </p:clrMapOvr>
  <p:extLst>
    <p:ext uri="{DCECCB84-F9BA-43D5-87BE-67443E8EF086}">
      <p15:sldGuideLst xmlns:p15="http://schemas.microsoft.com/office/powerpoint/2012/main">
        <p15:guide id="1" orient="horz" pos="1272">
          <p15:clr>
            <a:srgbClr val="FBAE40"/>
          </p15:clr>
        </p15:guide>
        <p15:guide id="2" pos="3743">
          <p15:clr>
            <a:srgbClr val="FBAE40"/>
          </p15:clr>
        </p15:guide>
        <p15:guide id="3" pos="3935">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showMasterSp="0" userDrawn="1">
  <p:cSld name="Agenda">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46364" y="2385921"/>
            <a:ext cx="6714479" cy="2229681"/>
            <a:chOff x="8270283" y="6177473"/>
            <a:chExt cx="12760035" cy="4236124"/>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54" name="Text Placeholder 6">
            <a:extLst>
              <a:ext uri="{FF2B5EF4-FFF2-40B4-BE49-F238E27FC236}">
                <a16:creationId xmlns:a16="http://schemas.microsoft.com/office/drawing/2014/main" id="{ADB99532-164D-AB4E-B3EA-5D5727D00742}"/>
              </a:ext>
            </a:extLst>
          </p:cNvPr>
          <p:cNvSpPr>
            <a:spLocks noGrp="1"/>
          </p:cNvSpPr>
          <p:nvPr>
            <p:ph type="body" sz="quarter" idx="10" hasCustomPrompt="1"/>
          </p:nvPr>
        </p:nvSpPr>
        <p:spPr>
          <a:xfrm>
            <a:off x="4048121" y="2019300"/>
            <a:ext cx="7564291"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Detail 1, 20-24pt</a:t>
            </a:r>
          </a:p>
          <a:p>
            <a:pPr lvl="0"/>
            <a:r>
              <a:rPr lang="en-US"/>
              <a:t>Detail 2, 20-24pt</a:t>
            </a:r>
          </a:p>
          <a:p>
            <a:pPr lvl="0"/>
            <a:r>
              <a:rPr lang="en-US"/>
              <a:t>Detail 3, 20-24pt</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a:t>Detail 4, 20-24pt</a:t>
            </a:r>
          </a:p>
          <a:p>
            <a:pPr lvl="0"/>
            <a:endParaRPr lang="en-US"/>
          </a:p>
        </p:txBody>
      </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Agenda</a:t>
            </a:r>
          </a:p>
        </p:txBody>
      </p:sp>
      <p:sp>
        <p:nvSpPr>
          <p:cNvPr id="50" name="Text Placeholder 6">
            <a:extLst>
              <a:ext uri="{FF2B5EF4-FFF2-40B4-BE49-F238E27FC236}">
                <a16:creationId xmlns:a16="http://schemas.microsoft.com/office/drawing/2014/main" id="{C6A1F9B0-9726-2C40-B822-434EDCAA2047}"/>
              </a:ext>
            </a:extLst>
          </p:cNvPr>
          <p:cNvSpPr>
            <a:spLocks noGrp="1"/>
          </p:cNvSpPr>
          <p:nvPr>
            <p:ph type="body" sz="quarter" idx="11" hasCustomPrompt="1"/>
          </p:nvPr>
        </p:nvSpPr>
        <p:spPr>
          <a:xfrm>
            <a:off x="594852" y="2019300"/>
            <a:ext cx="2832901" cy="3381756"/>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sz="2000" b="1" spc="0" baseline="0">
                <a:solidFill>
                  <a:srgbClr val="2F2F2F"/>
                </a:solidFill>
                <a:latin typeface="Segoe UI" panose="020B0502040204020203" pitchFamily="34" charset="0"/>
                <a:cs typeface="Segoe UI" panose="020B0502040204020203" pitchFamily="34" charset="0"/>
              </a:defRPr>
            </a:lvl1pPr>
          </a:lstStyle>
          <a:p>
            <a:pPr lvl="0"/>
            <a:r>
              <a:rPr lang="en-US"/>
              <a:t>Agenda item 1</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t>Agenda item 2</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t>Agenda item 3</a:t>
            </a:r>
          </a:p>
          <a:p>
            <a:pPr marL="342900" marR="0" lvl="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t>Agenda item 4</a:t>
            </a:r>
          </a:p>
          <a:p>
            <a:pPr lvl="0"/>
            <a:endParaRPr lang="en-US"/>
          </a:p>
        </p:txBody>
      </p:sp>
      <p:cxnSp>
        <p:nvCxnSpPr>
          <p:cNvPr id="3" name="Straight Connector 2">
            <a:extLst>
              <a:ext uri="{FF2B5EF4-FFF2-40B4-BE49-F238E27FC236}">
                <a16:creationId xmlns:a16="http://schemas.microsoft.com/office/drawing/2014/main" id="{77219F2E-E5C2-F54D-867F-9DA413FD9B1D}"/>
              </a:ext>
            </a:extLst>
          </p:cNvPr>
          <p:cNvCxnSpPr/>
          <p:nvPr userDrawn="1"/>
        </p:nvCxnSpPr>
        <p:spPr>
          <a:xfrm>
            <a:off x="588416" y="1391478"/>
            <a:ext cx="11023996" cy="0"/>
          </a:xfrm>
          <a:prstGeom prst="line">
            <a:avLst/>
          </a:prstGeom>
          <a:noFill/>
          <a:ln w="12700" cap="flat">
            <a:solidFill>
              <a:srgbClr val="0478D4"/>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04880793"/>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showMasterSp="0" userDrawn="1">
  <p:cSld name="Image Left, List Righ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540715"/>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46364" y="2385921"/>
            <a:ext cx="6714479" cy="2229681"/>
            <a:chOff x="8270283" y="6177473"/>
            <a:chExt cx="12760035" cy="4236124"/>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523983" y="6177473"/>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70283" y="6832581"/>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523985" y="7629038"/>
              <a:ext cx="1002236"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70286" y="8328046"/>
              <a:ext cx="1279449" cy="8108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Image on the left, list on the right, 28pt </a:t>
            </a:r>
          </a:p>
        </p:txBody>
      </p:sp>
      <p:sp>
        <p:nvSpPr>
          <p:cNvPr id="59" name="Text Placeholder 6">
            <a:extLst>
              <a:ext uri="{FF2B5EF4-FFF2-40B4-BE49-F238E27FC236}">
                <a16:creationId xmlns:a16="http://schemas.microsoft.com/office/drawing/2014/main" id="{6E1033CB-5C19-6745-9098-766E25355ED0}"/>
              </a:ext>
            </a:extLst>
          </p:cNvPr>
          <p:cNvSpPr>
            <a:spLocks noGrp="1"/>
          </p:cNvSpPr>
          <p:nvPr>
            <p:ph type="body" sz="quarter" idx="13" hasCustomPrompt="1"/>
          </p:nvPr>
        </p:nvSpPr>
        <p:spPr>
          <a:xfrm>
            <a:off x="4466995" y="1929472"/>
            <a:ext cx="7145414" cy="3867478"/>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None/>
              <a:tabLst/>
              <a:defRPr sz="3200" spc="0" baseline="0">
                <a:solidFill>
                  <a:srgbClr val="2F2F2F"/>
                </a:solidFill>
                <a:latin typeface="Segoe UI" panose="020B0502040204020203" pitchFamily="34" charset="0"/>
                <a:cs typeface="Segoe UI" panose="020B0502040204020203" pitchFamily="34" charset="0"/>
              </a:defRPr>
            </a:lvl1pPr>
          </a:lstStyle>
          <a:p>
            <a:pPr lvl="0"/>
            <a:r>
              <a:rPr lang="en-US"/>
              <a:t>Detail, 32pt</a:t>
            </a:r>
          </a:p>
          <a:p>
            <a:pPr lvl="0"/>
            <a:r>
              <a:rPr lang="en-US"/>
              <a:t>Detail, 32pt</a:t>
            </a:r>
          </a:p>
          <a:p>
            <a:pPr lvl="0"/>
            <a:r>
              <a:rPr lang="en-US"/>
              <a:t>Detail, 32pt</a:t>
            </a:r>
          </a:p>
        </p:txBody>
      </p:sp>
      <p:sp>
        <p:nvSpPr>
          <p:cNvPr id="52" name="Picture Placeholder 2" descr="Add alt text to all images">
            <a:extLst>
              <a:ext uri="{FF2B5EF4-FFF2-40B4-BE49-F238E27FC236}">
                <a16:creationId xmlns:a16="http://schemas.microsoft.com/office/drawing/2014/main" id="{4C137356-5022-5D4A-9491-CF4D7809CE3D}"/>
              </a:ext>
            </a:extLst>
          </p:cNvPr>
          <p:cNvSpPr>
            <a:spLocks noGrp="1"/>
          </p:cNvSpPr>
          <p:nvPr>
            <p:ph type="pic" sz="quarter" idx="14" hasCustomPrompt="1"/>
          </p:nvPr>
        </p:nvSpPr>
        <p:spPr>
          <a:xfrm>
            <a:off x="588415" y="1904327"/>
            <a:ext cx="3070138" cy="3926816"/>
          </a:xfrm>
          <a:prstGeom prst="rect">
            <a:avLst/>
          </a:prstGeom>
        </p:spPr>
        <p:txBody>
          <a:bodyPr/>
          <a:lstStyle>
            <a:lvl1pPr algn="ctr">
              <a:buNone/>
              <a:defRPr sz="3200" spc="0">
                <a:solidFill>
                  <a:schemeClr val="bg2"/>
                </a:solidFill>
              </a:defRPr>
            </a:lvl1pPr>
          </a:lstStyle>
          <a:p>
            <a:r>
              <a:rPr lang="en-US"/>
              <a:t>Add picture</a:t>
            </a:r>
          </a:p>
        </p:txBody>
      </p:sp>
    </p:spTree>
    <p:extLst>
      <p:ext uri="{BB962C8B-B14F-4D97-AF65-F5344CB8AC3E}">
        <p14:creationId xmlns:p14="http://schemas.microsoft.com/office/powerpoint/2010/main" val="843425061"/>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Fi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bject 12">
            <a:extLst>
              <a:ext uri="{FF2B5EF4-FFF2-40B4-BE49-F238E27FC236}">
                <a16:creationId xmlns:a16="http://schemas.microsoft.com/office/drawing/2014/main" id="{17F9A7BF-5BF6-6447-B55B-7AEA8903217D}"/>
              </a:ext>
            </a:extLst>
          </p:cNvPr>
          <p:cNvSpPr txBox="1"/>
          <p:nvPr userDrawn="1"/>
        </p:nvSpPr>
        <p:spPr>
          <a:xfrm>
            <a:off x="8551223" y="4552295"/>
            <a:ext cx="3950893" cy="1143350"/>
          </a:xfrm>
          <a:prstGeom prst="rect">
            <a:avLst/>
          </a:prstGeom>
        </p:spPr>
        <p:txBody>
          <a:bodyPr vert="horz" wrap="square" lIns="0" tIns="155177" rIns="0" bIns="0" rtlCol="0">
            <a:spAutoFit/>
          </a:bodyPr>
          <a:lstStyle/>
          <a:p>
            <a:pPr marL="9519" marR="3808">
              <a:lnSpc>
                <a:spcPts val="8867"/>
              </a:lnSpc>
              <a:spcBef>
                <a:spcPts val="1222"/>
              </a:spcBef>
            </a:pPr>
            <a:r>
              <a:rPr lang="en-US" sz="4498" b="1" spc="-26">
                <a:solidFill>
                  <a:srgbClr val="2F2E2F"/>
                </a:solidFill>
                <a:latin typeface="Segoe UI"/>
                <a:cs typeface="Segoe UI"/>
              </a:rPr>
              <a:t>Thank you</a:t>
            </a:r>
            <a:endParaRPr sz="4498">
              <a:solidFill>
                <a:srgbClr val="2F2E2F"/>
              </a:solidFill>
              <a:latin typeface="Segoe UI"/>
              <a:cs typeface="Segoe UI"/>
            </a:endParaRPr>
          </a:p>
        </p:txBody>
      </p:sp>
      <p:sp>
        <p:nvSpPr>
          <p:cNvPr id="6" name="Text Placeholder 4">
            <a:extLst>
              <a:ext uri="{FF2B5EF4-FFF2-40B4-BE49-F238E27FC236}">
                <a16:creationId xmlns:a16="http://schemas.microsoft.com/office/drawing/2014/main" id="{FB4B2E72-FA35-F948-8644-2D3A788C1A1F}"/>
              </a:ext>
            </a:extLst>
          </p:cNvPr>
          <p:cNvSpPr>
            <a:spLocks noGrp="1"/>
          </p:cNvSpPr>
          <p:nvPr>
            <p:ph type="body" sz="quarter" idx="12" hasCustomPrompt="1"/>
          </p:nvPr>
        </p:nvSpPr>
        <p:spPr>
          <a:xfrm>
            <a:off x="632327" y="6280486"/>
            <a:ext cx="4164583" cy="249171"/>
          </a:xfrm>
          <a:prstGeom prst="rect">
            <a:avLst/>
          </a:prstGeom>
          <a:noFill/>
        </p:spPr>
        <p:txBody>
          <a:bodyPr wrap="square" lIns="0" tIns="0" rIns="0" bIns="0">
            <a:spAutoFit/>
          </a:bodyPr>
          <a:lstStyle>
            <a:lvl1pPr marL="0" indent="0">
              <a:spcBef>
                <a:spcPts val="0"/>
              </a:spcBef>
              <a:buNone/>
              <a:defRPr sz="1799" spc="0" baseline="0">
                <a:solidFill>
                  <a:srgbClr val="0478D4"/>
                </a:solidFill>
                <a:latin typeface="+mn-lt"/>
                <a:cs typeface="Segoe UI" panose="020B0502040204020203" pitchFamily="34" charset="0"/>
              </a:defRPr>
            </a:lvl1pPr>
          </a:lstStyle>
          <a:p>
            <a:pPr lvl="0"/>
            <a:r>
              <a:rPr lang="en-US" err="1"/>
              <a:t>Microsoft.com</a:t>
            </a:r>
            <a:r>
              <a:rPr lang="en-US"/>
              <a:t>/Learn</a:t>
            </a:r>
          </a:p>
        </p:txBody>
      </p:sp>
    </p:spTree>
    <p:extLst>
      <p:ext uri="{BB962C8B-B14F-4D97-AF65-F5344CB8AC3E}">
        <p14:creationId xmlns:p14="http://schemas.microsoft.com/office/powerpoint/2010/main" val="2182145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94CD7-1146-4B6E-A0FB-EC50896CFCD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0076FD9-60BF-43EF-A0D4-411FD32BD2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DB39268-953A-442E-A8E8-E861B59EA78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9DCC615-A426-459A-8C66-F2EA42302E3A}"/>
              </a:ext>
            </a:extLst>
          </p:cNvPr>
          <p:cNvSpPr>
            <a:spLocks noGrp="1"/>
          </p:cNvSpPr>
          <p:nvPr>
            <p:ph type="ftr" sz="quarter" idx="11"/>
          </p:nvPr>
        </p:nvSpPr>
        <p:spPr/>
        <p:txBody>
          <a:bodyPr/>
          <a:lstStyle>
            <a:lvl1pPr>
              <a:defRPr>
                <a:solidFill>
                  <a:srgbClr val="FF0000"/>
                </a:solidFill>
              </a:defRPr>
            </a:lvl1pPr>
          </a:lstStyle>
          <a:p>
            <a:r>
              <a:rPr lang="en-US"/>
              <a:t>MICROSOFT CONFIDENTIAL</a:t>
            </a:r>
          </a:p>
        </p:txBody>
      </p:sp>
      <p:sp>
        <p:nvSpPr>
          <p:cNvPr id="6" name="Slide Number Placeholder 5">
            <a:extLst>
              <a:ext uri="{FF2B5EF4-FFF2-40B4-BE49-F238E27FC236}">
                <a16:creationId xmlns:a16="http://schemas.microsoft.com/office/drawing/2014/main" id="{ECCCF6B1-164C-4755-84D1-77383AADFDD3}"/>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4207482786"/>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E14C6-0B56-405A-9993-1D06163DE3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AE10087-8654-43FC-85DF-E417394F84E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785C49-BFA9-40FE-A7DC-FEA22471E16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0328FD8-8DDF-4782-BA45-C60503ED30FD}"/>
              </a:ext>
            </a:extLst>
          </p:cNvPr>
          <p:cNvSpPr>
            <a:spLocks noGrp="1"/>
          </p:cNvSpPr>
          <p:nvPr>
            <p:ph type="ftr" sz="quarter" idx="11"/>
          </p:nvPr>
        </p:nvSpPr>
        <p:spPr/>
        <p:txBody>
          <a:bodyPr/>
          <a:lstStyle>
            <a:lvl1pPr>
              <a:defRPr>
                <a:solidFill>
                  <a:srgbClr val="FF0000"/>
                </a:solidFill>
              </a:defRPr>
            </a:lvl1pPr>
          </a:lstStyle>
          <a:p>
            <a:r>
              <a:rPr lang="en-US"/>
              <a:t>MICROSOFT CONFIDENTIAL</a:t>
            </a:r>
          </a:p>
        </p:txBody>
      </p:sp>
      <p:sp>
        <p:nvSpPr>
          <p:cNvPr id="6" name="Slide Number Placeholder 5">
            <a:extLst>
              <a:ext uri="{FF2B5EF4-FFF2-40B4-BE49-F238E27FC236}">
                <a16:creationId xmlns:a16="http://schemas.microsoft.com/office/drawing/2014/main" id="{17C59C2F-0926-4541-AB95-6F78F4891935}"/>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567439852"/>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102C9-A026-4F23-8CFA-F8200F53A38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C6F530-F526-486B-9373-3AA509EAB8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30C3AA8-1FF9-456C-B4F7-2C5065F900B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233D43D-E7EE-4790-83E5-055442043870}"/>
              </a:ext>
            </a:extLst>
          </p:cNvPr>
          <p:cNvSpPr>
            <a:spLocks noGrp="1"/>
          </p:cNvSpPr>
          <p:nvPr>
            <p:ph type="ftr" sz="quarter" idx="11"/>
          </p:nvPr>
        </p:nvSpPr>
        <p:spPr/>
        <p:txBody>
          <a:bodyPr/>
          <a:lstStyle>
            <a:lvl1pPr>
              <a:defRPr>
                <a:solidFill>
                  <a:srgbClr val="FF0000"/>
                </a:solidFill>
              </a:defRPr>
            </a:lvl1pPr>
          </a:lstStyle>
          <a:p>
            <a:r>
              <a:rPr lang="en-US"/>
              <a:t>MICROSOFT CONFIDENTIAL</a:t>
            </a:r>
          </a:p>
        </p:txBody>
      </p:sp>
      <p:sp>
        <p:nvSpPr>
          <p:cNvPr id="6" name="Slide Number Placeholder 5">
            <a:extLst>
              <a:ext uri="{FF2B5EF4-FFF2-40B4-BE49-F238E27FC236}">
                <a16:creationId xmlns:a16="http://schemas.microsoft.com/office/drawing/2014/main" id="{25A901A2-038C-4FC8-A3ED-903B15E74F24}"/>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20419230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13732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1ECC-9395-48DB-83EA-BF6B211D9C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B4752F3-D80E-4CBD-9B3A-ACCE511F3D7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A56E8E-9FCE-44B1-8103-FB919AF8D35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F0AC878-5F5D-4031-A7DD-3ADEC0AD366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7B1ED45-6370-4C02-9AF4-367D883D8BAD}"/>
              </a:ext>
            </a:extLst>
          </p:cNvPr>
          <p:cNvSpPr>
            <a:spLocks noGrp="1"/>
          </p:cNvSpPr>
          <p:nvPr>
            <p:ph type="ftr" sz="quarter" idx="11"/>
          </p:nvPr>
        </p:nvSpPr>
        <p:spPr/>
        <p:txBody>
          <a:bodyPr/>
          <a:lstStyle/>
          <a:p>
            <a:r>
              <a:rPr lang="en-US"/>
              <a:t>MICROSOFT CONFIDENTIAL</a:t>
            </a:r>
          </a:p>
        </p:txBody>
      </p:sp>
      <p:sp>
        <p:nvSpPr>
          <p:cNvPr id="7" name="Slide Number Placeholder 6">
            <a:extLst>
              <a:ext uri="{FF2B5EF4-FFF2-40B4-BE49-F238E27FC236}">
                <a16:creationId xmlns:a16="http://schemas.microsoft.com/office/drawing/2014/main" id="{6CD20883-CF16-47CC-98F1-F5615E2DFFFA}"/>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268411156"/>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FF224-945E-46E1-8F5E-607A03CEC5F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A6D7948-3163-4DDB-BA19-A4DB92FA52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796791A-B5FD-406A-8BDD-D5BC6E4366B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E49E77F-B2C5-4012-B5A9-4C75D3CDC0F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BF2EE27-39B3-40AC-AECE-10240DC1537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42F98E8-74EA-4122-95EC-2BBFB888A47D}"/>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E5B5521-7893-4498-AC62-C4F84C246101}"/>
              </a:ext>
            </a:extLst>
          </p:cNvPr>
          <p:cNvSpPr>
            <a:spLocks noGrp="1"/>
          </p:cNvSpPr>
          <p:nvPr>
            <p:ph type="ftr" sz="quarter" idx="11"/>
          </p:nvPr>
        </p:nvSpPr>
        <p:spPr/>
        <p:txBody>
          <a:bodyPr/>
          <a:lstStyle/>
          <a:p>
            <a:r>
              <a:rPr lang="en-US"/>
              <a:t>MICROSOFT CONFIDENTIAL</a:t>
            </a:r>
          </a:p>
        </p:txBody>
      </p:sp>
      <p:sp>
        <p:nvSpPr>
          <p:cNvPr id="9" name="Slide Number Placeholder 8">
            <a:extLst>
              <a:ext uri="{FF2B5EF4-FFF2-40B4-BE49-F238E27FC236}">
                <a16:creationId xmlns:a16="http://schemas.microsoft.com/office/drawing/2014/main" id="{FB946723-718F-4A54-BA08-DEC28BB28473}"/>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690163471"/>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ADEBB-2431-47DE-9F2D-FB1761012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9723C95-3955-4D39-9ECA-873C9AE5032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F8523646-4424-447E-BD02-0705BC38722A}"/>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200C5839-B056-4EA7-81C0-9BD172391519}"/>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3936377791"/>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BF5DFE8-6DFB-4F88-BF32-711FF3307875}"/>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E0ED76C-9E22-4725-AB86-604AD672D875}"/>
              </a:ext>
            </a:extLst>
          </p:cNvPr>
          <p:cNvSpPr>
            <a:spLocks noGrp="1"/>
          </p:cNvSpPr>
          <p:nvPr>
            <p:ph type="ftr" sz="quarter" idx="11"/>
          </p:nvPr>
        </p:nvSpPr>
        <p:spPr/>
        <p:txBody>
          <a:bodyPr/>
          <a:lstStyle/>
          <a:p>
            <a:r>
              <a:rPr lang="en-US"/>
              <a:t>MICROSOFT CONFIDENTIAL</a:t>
            </a:r>
          </a:p>
        </p:txBody>
      </p:sp>
      <p:sp>
        <p:nvSpPr>
          <p:cNvPr id="4" name="Slide Number Placeholder 3">
            <a:extLst>
              <a:ext uri="{FF2B5EF4-FFF2-40B4-BE49-F238E27FC236}">
                <a16:creationId xmlns:a16="http://schemas.microsoft.com/office/drawing/2014/main" id="{BE6EF7A3-5FE9-4003-91EF-8EF16943BC8C}"/>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86828575"/>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D02B9-BC86-4067-A85B-2DA4C3EF9D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8D7D81-CCD9-4D3C-9B27-521CECFF51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804CBF-2760-46BE-89D3-403CD928FE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70E541-1841-4939-B36B-247C73B65F5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4702528-E08B-416D-804B-730375495EF1}"/>
              </a:ext>
            </a:extLst>
          </p:cNvPr>
          <p:cNvSpPr>
            <a:spLocks noGrp="1"/>
          </p:cNvSpPr>
          <p:nvPr>
            <p:ph type="ftr" sz="quarter" idx="11"/>
          </p:nvPr>
        </p:nvSpPr>
        <p:spPr/>
        <p:txBody>
          <a:bodyPr/>
          <a:lstStyle/>
          <a:p>
            <a:r>
              <a:rPr lang="en-US"/>
              <a:t>MICROSOFT CONFIDENTIAL</a:t>
            </a:r>
          </a:p>
        </p:txBody>
      </p:sp>
      <p:sp>
        <p:nvSpPr>
          <p:cNvPr id="7" name="Slide Number Placeholder 6">
            <a:extLst>
              <a:ext uri="{FF2B5EF4-FFF2-40B4-BE49-F238E27FC236}">
                <a16:creationId xmlns:a16="http://schemas.microsoft.com/office/drawing/2014/main" id="{B8334E50-0388-46C3-AFDD-5314888466E6}"/>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985884267"/>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22298-5184-4AE2-8299-3706042B10E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2BA7121-2BEA-41EA-9E3F-A7EC7FC538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DBD05DC-2A2A-4091-A0B2-C8CA862B47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4E4F06E-AC7E-45F2-B346-84090DC25F3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2F95471-64F1-4ED9-AB1B-5B8AEEFFF92B}"/>
              </a:ext>
            </a:extLst>
          </p:cNvPr>
          <p:cNvSpPr>
            <a:spLocks noGrp="1"/>
          </p:cNvSpPr>
          <p:nvPr>
            <p:ph type="ftr" sz="quarter" idx="11"/>
          </p:nvPr>
        </p:nvSpPr>
        <p:spPr/>
        <p:txBody>
          <a:bodyPr/>
          <a:lstStyle/>
          <a:p>
            <a:r>
              <a:rPr lang="en-US"/>
              <a:t>MICROSOFT CONFIDENTIAL</a:t>
            </a:r>
          </a:p>
        </p:txBody>
      </p:sp>
      <p:sp>
        <p:nvSpPr>
          <p:cNvPr id="7" name="Slide Number Placeholder 6">
            <a:extLst>
              <a:ext uri="{FF2B5EF4-FFF2-40B4-BE49-F238E27FC236}">
                <a16:creationId xmlns:a16="http://schemas.microsoft.com/office/drawing/2014/main" id="{BFF8563A-6DFA-4B48-9680-A6C70047C715}"/>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3614778603"/>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D5F8F-BCD3-465B-A862-10C8E5FB4DD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7C66346-1157-42C2-8DC7-C3D2C60C949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4E6247-1AA0-4304-BCFD-C46C4DC32DE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230BA3E-4CBA-467C-AF2E-AFD10F93AFE0}"/>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A8FFED71-0732-4527-AE29-7A0D12511550}"/>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3469929311"/>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A34A71-7817-41C9-8B4F-AEFA81A183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2FE21ED-318C-4B1F-BFFC-110266CA566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872DB6-F591-4376-98FC-52E9981314B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8B46D17-D3A9-4052-AA7F-2B5ABB852A3B}"/>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681B6335-9DB6-4CA7-8132-D4B4211BB971}"/>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125424221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729424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116806222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77717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170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329820"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Solution:</a:t>
            </a:r>
            <a:endParaRPr lang="en-US" sz="1400" dirty="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079618"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Impact:</a:t>
            </a:r>
            <a:endParaRPr lang="en-US" sz="1400" dirty="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36565902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069860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5494919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1733373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Slide 2">
    <p:bg>
      <p:bgPr>
        <a:solidFill>
          <a:srgbClr val="000000"/>
        </a:solidFill>
        <a:effectLst/>
      </p:bgPr>
    </p:bg>
    <p:spTree>
      <p:nvGrpSpPr>
        <p:cNvPr id="1" name=""/>
        <p:cNvGrpSpPr/>
        <p:nvPr/>
      </p:nvGrpSpPr>
      <p:grpSpPr>
        <a:xfrm>
          <a:off x="0" y="0"/>
          <a:ext cx="0" cy="0"/>
          <a:chOff x="0" y="0"/>
          <a:chExt cx="0" cy="0"/>
        </a:xfrm>
      </p:grpSpPr>
      <p:pic>
        <p:nvPicPr>
          <p:cNvPr id="4" name="Picture 3" descr="Sunburst chart&#10;&#10;Description automatically generated with low confidence">
            <a:extLst>
              <a:ext uri="{FF2B5EF4-FFF2-40B4-BE49-F238E27FC236}">
                <a16:creationId xmlns:a16="http://schemas.microsoft.com/office/drawing/2014/main" id="{3DE4ECC8-5A63-42D5-958C-775BF858E72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8"/>
          <a:stretch/>
        </p:blipFill>
        <p:spPr>
          <a:xfrm>
            <a:off x="8875228" y="1237"/>
            <a:ext cx="3316772" cy="6858000"/>
          </a:xfrm>
          <a:prstGeom prst="rect">
            <a:avLst/>
          </a:prstGeom>
        </p:spPr>
      </p:pic>
      <p:pic>
        <p:nvPicPr>
          <p:cNvPr id="3" name="MS logo white - EMF" descr="Microsoft logo white text version">
            <a:extLst>
              <a:ext uri="{FF2B5EF4-FFF2-40B4-BE49-F238E27FC236}">
                <a16:creationId xmlns:a16="http://schemas.microsoft.com/office/drawing/2014/main" id="{09A56F85-EB04-4D1C-A56D-0789283DFF8F}"/>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44770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Picture 6">
            <a:extLst>
              <a:ext uri="{FF2B5EF4-FFF2-40B4-BE49-F238E27FC236}">
                <a16:creationId xmlns:a16="http://schemas.microsoft.com/office/drawing/2014/main" id="{FCA04CCC-89CB-4C66-9594-D1D373EF707E}"/>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1908516161"/>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C5D56A03-466A-4259-AB4C-31552B627E07}"/>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2347679166"/>
      </p:ext>
    </p:extLst>
  </p:cSld>
  <p:clrMapOvr>
    <a:masterClrMapping/>
  </p:clrMapOvr>
  <p:transition advClick="0" advTm="20000">
    <p:push dir="u"/>
  </p:transition>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ECC6C7ED-E62E-464C-BA74-D1037A08F7C8}"/>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4172740157"/>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287F7E11-4D17-48D8-A138-23D57849DF0F}"/>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684463929"/>
      </p:ext>
    </p:extLst>
  </p:cSld>
  <p:clrMapOvr>
    <a:masterClrMapping/>
  </p:clrMapOvr>
  <p:transition advClick="0" advTm="20000">
    <p:push dir="u"/>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581616"/>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353037"/>
      </p:ext>
    </p:extLst>
  </p:cSld>
  <p:clrMapOvr>
    <a:masterClrMapping/>
  </p:clrMapOvr>
  <p:transition advClick="0" advTm="20000">
    <p:push dir="u"/>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3228781"/>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470127"/>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258148704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912371"/>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848868"/>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38298181"/>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7358803"/>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6204948"/>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6290513"/>
      </p:ext>
    </p:extLst>
  </p:cSld>
  <p:clrMapOvr>
    <a:masterClrMapping/>
  </p:clrMapOvr>
  <p:transition advClick="0" advTm="20000">
    <p:push dir="u"/>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4267027"/>
      </p:ext>
    </p:extLst>
  </p:cSld>
  <p:clrMapOvr>
    <a:masterClrMapping/>
  </p:clrMapOvr>
  <p:transition advClick="0" advTm="20000">
    <p:push dir="u"/>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0762587"/>
      </p:ext>
    </p:extLst>
  </p:cSld>
  <p:clrMapOvr>
    <a:masterClrMapping/>
  </p:clrMapOvr>
  <p:transition advClick="0" advTm="20000">
    <p:push dir="u"/>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0586449"/>
      </p:ext>
    </p:extLst>
  </p:cSld>
  <p:clrMapOvr>
    <a:masterClrMapping/>
  </p:clrMapOvr>
  <p:transition advClick="0" advTm="20000">
    <p:push dir="u"/>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9165785"/>
      </p:ext>
    </p:extLst>
  </p:cSld>
  <p:clrMapOvr>
    <a:masterClrMapping/>
  </p:clrMapOvr>
  <p:transition advClick="0" advTm="20000">
    <p:push dir="u"/>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62580268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4200"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1428320943"/>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29239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08046971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2842675"/>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7089819"/>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37093398"/>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2605044"/>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3563498"/>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9204425"/>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003346"/>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 Type="http://schemas.openxmlformats.org/officeDocument/2006/relationships/slideLayout" Target="../slideLayouts/slideLayout306.xml"/><Relationship Id="rId21" Type="http://schemas.openxmlformats.org/officeDocument/2006/relationships/slideLayout" Target="../slideLayouts/slideLayout324.xml"/><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slideLayout" Target="../slideLayouts/slideLayout332.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image" Target="../media/image61.emf"/><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theme" Target="../theme/theme11.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slideLayout" Target="../slideLayouts/slideLayout333.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34" Type="http://schemas.openxmlformats.org/officeDocument/2006/relationships/image" Target="../media/image71.png"/><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theme" Target="../theme/theme12.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slideLayout" Target="../slideLayouts/slideLayout362.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32" Type="http://schemas.openxmlformats.org/officeDocument/2006/relationships/slideLayout" Target="../slideLayouts/slideLayout365.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31" Type="http://schemas.openxmlformats.org/officeDocument/2006/relationships/slideLayout" Target="../slideLayouts/slideLayout364.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8" Type="http://schemas.openxmlformats.org/officeDocument/2006/relationships/slideLayout" Target="../slideLayouts/slideLayout34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34" Type="http://schemas.openxmlformats.org/officeDocument/2006/relationships/theme" Target="../theme/theme13.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33" Type="http://schemas.openxmlformats.org/officeDocument/2006/relationships/slideLayout" Target="../slideLayouts/slideLayout398.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32" Type="http://schemas.openxmlformats.org/officeDocument/2006/relationships/slideLayout" Target="../slideLayouts/slideLayout397.x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31" Type="http://schemas.openxmlformats.org/officeDocument/2006/relationships/slideLayout" Target="../slideLayouts/slideLayout396.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slideLayout" Target="../slideLayouts/slideLayout395.xml"/><Relationship Id="rId35" Type="http://schemas.openxmlformats.org/officeDocument/2006/relationships/image" Target="../media/image71.png"/><Relationship Id="rId8" Type="http://schemas.openxmlformats.org/officeDocument/2006/relationships/slideLayout" Target="../slideLayouts/slideLayout37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06.xml"/><Relationship Id="rId13" Type="http://schemas.openxmlformats.org/officeDocument/2006/relationships/slideLayout" Target="../slideLayouts/slideLayout411.xml"/><Relationship Id="rId18" Type="http://schemas.openxmlformats.org/officeDocument/2006/relationships/slideLayout" Target="../slideLayouts/slideLayout416.xml"/><Relationship Id="rId3" Type="http://schemas.openxmlformats.org/officeDocument/2006/relationships/slideLayout" Target="../slideLayouts/slideLayout401.xml"/><Relationship Id="rId21" Type="http://schemas.openxmlformats.org/officeDocument/2006/relationships/theme" Target="../theme/theme14.xml"/><Relationship Id="rId7" Type="http://schemas.openxmlformats.org/officeDocument/2006/relationships/slideLayout" Target="../slideLayouts/slideLayout405.xml"/><Relationship Id="rId12" Type="http://schemas.openxmlformats.org/officeDocument/2006/relationships/slideLayout" Target="../slideLayouts/slideLayout410.xml"/><Relationship Id="rId17" Type="http://schemas.openxmlformats.org/officeDocument/2006/relationships/slideLayout" Target="../slideLayouts/slideLayout415.xml"/><Relationship Id="rId2" Type="http://schemas.openxmlformats.org/officeDocument/2006/relationships/slideLayout" Target="../slideLayouts/slideLayout400.xml"/><Relationship Id="rId16" Type="http://schemas.openxmlformats.org/officeDocument/2006/relationships/slideLayout" Target="../slideLayouts/slideLayout414.xml"/><Relationship Id="rId20" Type="http://schemas.openxmlformats.org/officeDocument/2006/relationships/slideLayout" Target="../slideLayouts/slideLayout418.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slideLayout" Target="../slideLayouts/slideLayout409.xml"/><Relationship Id="rId5" Type="http://schemas.openxmlformats.org/officeDocument/2006/relationships/slideLayout" Target="../slideLayouts/slideLayout403.xml"/><Relationship Id="rId15" Type="http://schemas.openxmlformats.org/officeDocument/2006/relationships/slideLayout" Target="../slideLayouts/slideLayout413.xml"/><Relationship Id="rId10" Type="http://schemas.openxmlformats.org/officeDocument/2006/relationships/slideLayout" Target="../slideLayouts/slideLayout408.xml"/><Relationship Id="rId19" Type="http://schemas.openxmlformats.org/officeDocument/2006/relationships/slideLayout" Target="../slideLayouts/slideLayout417.xml"/><Relationship Id="rId4" Type="http://schemas.openxmlformats.org/officeDocument/2006/relationships/slideLayout" Target="../slideLayouts/slideLayout402.xml"/><Relationship Id="rId9" Type="http://schemas.openxmlformats.org/officeDocument/2006/relationships/slideLayout" Target="../slideLayouts/slideLayout407.xml"/><Relationship Id="rId14" Type="http://schemas.openxmlformats.org/officeDocument/2006/relationships/slideLayout" Target="../slideLayouts/slideLayout412.xml"/><Relationship Id="rId22" Type="http://schemas.openxmlformats.org/officeDocument/2006/relationships/image" Target="../media/image75.emf"/></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431.xml"/><Relationship Id="rId18" Type="http://schemas.openxmlformats.org/officeDocument/2006/relationships/slideLayout" Target="../slideLayouts/slideLayout436.xml"/><Relationship Id="rId26" Type="http://schemas.openxmlformats.org/officeDocument/2006/relationships/slideLayout" Target="../slideLayouts/slideLayout444.xml"/><Relationship Id="rId3" Type="http://schemas.openxmlformats.org/officeDocument/2006/relationships/slideLayout" Target="../slideLayouts/slideLayout421.xml"/><Relationship Id="rId21" Type="http://schemas.openxmlformats.org/officeDocument/2006/relationships/slideLayout" Target="../slideLayouts/slideLayout439.xml"/><Relationship Id="rId34" Type="http://schemas.openxmlformats.org/officeDocument/2006/relationships/slideLayout" Target="../slideLayouts/slideLayout452.xml"/><Relationship Id="rId7" Type="http://schemas.openxmlformats.org/officeDocument/2006/relationships/slideLayout" Target="../slideLayouts/slideLayout425.xml"/><Relationship Id="rId12" Type="http://schemas.openxmlformats.org/officeDocument/2006/relationships/slideLayout" Target="../slideLayouts/slideLayout430.xml"/><Relationship Id="rId17" Type="http://schemas.openxmlformats.org/officeDocument/2006/relationships/slideLayout" Target="../slideLayouts/slideLayout435.xml"/><Relationship Id="rId25" Type="http://schemas.openxmlformats.org/officeDocument/2006/relationships/slideLayout" Target="../slideLayouts/slideLayout443.xml"/><Relationship Id="rId33" Type="http://schemas.openxmlformats.org/officeDocument/2006/relationships/slideLayout" Target="../slideLayouts/slideLayout451.xml"/><Relationship Id="rId2" Type="http://schemas.openxmlformats.org/officeDocument/2006/relationships/slideLayout" Target="../slideLayouts/slideLayout420.xml"/><Relationship Id="rId16" Type="http://schemas.openxmlformats.org/officeDocument/2006/relationships/slideLayout" Target="../slideLayouts/slideLayout434.xml"/><Relationship Id="rId20" Type="http://schemas.openxmlformats.org/officeDocument/2006/relationships/slideLayout" Target="../slideLayouts/slideLayout438.xml"/><Relationship Id="rId29" Type="http://schemas.openxmlformats.org/officeDocument/2006/relationships/slideLayout" Target="../slideLayouts/slideLayout447.xml"/><Relationship Id="rId1" Type="http://schemas.openxmlformats.org/officeDocument/2006/relationships/slideLayout" Target="../slideLayouts/slideLayout419.xml"/><Relationship Id="rId6" Type="http://schemas.openxmlformats.org/officeDocument/2006/relationships/slideLayout" Target="../slideLayouts/slideLayout424.xml"/><Relationship Id="rId11" Type="http://schemas.openxmlformats.org/officeDocument/2006/relationships/slideLayout" Target="../slideLayouts/slideLayout429.xml"/><Relationship Id="rId24" Type="http://schemas.openxmlformats.org/officeDocument/2006/relationships/slideLayout" Target="../slideLayouts/slideLayout442.xml"/><Relationship Id="rId32" Type="http://schemas.openxmlformats.org/officeDocument/2006/relationships/slideLayout" Target="../slideLayouts/slideLayout450.xml"/><Relationship Id="rId5" Type="http://schemas.openxmlformats.org/officeDocument/2006/relationships/slideLayout" Target="../slideLayouts/slideLayout423.xml"/><Relationship Id="rId15" Type="http://schemas.openxmlformats.org/officeDocument/2006/relationships/slideLayout" Target="../slideLayouts/slideLayout433.xml"/><Relationship Id="rId23" Type="http://schemas.openxmlformats.org/officeDocument/2006/relationships/slideLayout" Target="../slideLayouts/slideLayout441.xml"/><Relationship Id="rId28" Type="http://schemas.openxmlformats.org/officeDocument/2006/relationships/slideLayout" Target="../slideLayouts/slideLayout446.xml"/><Relationship Id="rId36" Type="http://schemas.openxmlformats.org/officeDocument/2006/relationships/image" Target="../media/image34.emf"/><Relationship Id="rId10" Type="http://schemas.openxmlformats.org/officeDocument/2006/relationships/slideLayout" Target="../slideLayouts/slideLayout428.xml"/><Relationship Id="rId19" Type="http://schemas.openxmlformats.org/officeDocument/2006/relationships/slideLayout" Target="../slideLayouts/slideLayout437.xml"/><Relationship Id="rId31" Type="http://schemas.openxmlformats.org/officeDocument/2006/relationships/slideLayout" Target="../slideLayouts/slideLayout449.xml"/><Relationship Id="rId4" Type="http://schemas.openxmlformats.org/officeDocument/2006/relationships/slideLayout" Target="../slideLayouts/slideLayout422.xml"/><Relationship Id="rId9" Type="http://schemas.openxmlformats.org/officeDocument/2006/relationships/slideLayout" Target="../slideLayouts/slideLayout427.xml"/><Relationship Id="rId14" Type="http://schemas.openxmlformats.org/officeDocument/2006/relationships/slideLayout" Target="../slideLayouts/slideLayout432.xml"/><Relationship Id="rId22" Type="http://schemas.openxmlformats.org/officeDocument/2006/relationships/slideLayout" Target="../slideLayouts/slideLayout440.xml"/><Relationship Id="rId27" Type="http://schemas.openxmlformats.org/officeDocument/2006/relationships/slideLayout" Target="../slideLayouts/slideLayout445.xml"/><Relationship Id="rId30" Type="http://schemas.openxmlformats.org/officeDocument/2006/relationships/slideLayout" Target="../slideLayouts/slideLayout448.xml"/><Relationship Id="rId35" Type="http://schemas.openxmlformats.org/officeDocument/2006/relationships/theme" Target="../theme/theme15.xml"/><Relationship Id="rId8" Type="http://schemas.openxmlformats.org/officeDocument/2006/relationships/slideLayout" Target="../slideLayouts/slideLayout42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slideLayout" Target="../slideLayouts/slideLayout465.xml"/><Relationship Id="rId18" Type="http://schemas.openxmlformats.org/officeDocument/2006/relationships/slideLayout" Target="../slideLayouts/slideLayout470.xml"/><Relationship Id="rId3" Type="http://schemas.openxmlformats.org/officeDocument/2006/relationships/slideLayout" Target="../slideLayouts/slideLayout455.xml"/><Relationship Id="rId21" Type="http://schemas.openxmlformats.org/officeDocument/2006/relationships/slideLayout" Target="../slideLayouts/slideLayout473.xml"/><Relationship Id="rId7" Type="http://schemas.openxmlformats.org/officeDocument/2006/relationships/slideLayout" Target="../slideLayouts/slideLayout459.xml"/><Relationship Id="rId12" Type="http://schemas.openxmlformats.org/officeDocument/2006/relationships/slideLayout" Target="../slideLayouts/slideLayout464.xml"/><Relationship Id="rId17" Type="http://schemas.openxmlformats.org/officeDocument/2006/relationships/slideLayout" Target="../slideLayouts/slideLayout469.xml"/><Relationship Id="rId2" Type="http://schemas.openxmlformats.org/officeDocument/2006/relationships/slideLayout" Target="../slideLayouts/slideLayout454.xml"/><Relationship Id="rId16" Type="http://schemas.openxmlformats.org/officeDocument/2006/relationships/slideLayout" Target="../slideLayouts/slideLayout468.xml"/><Relationship Id="rId20" Type="http://schemas.openxmlformats.org/officeDocument/2006/relationships/slideLayout" Target="../slideLayouts/slideLayout472.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5" Type="http://schemas.openxmlformats.org/officeDocument/2006/relationships/slideLayout" Target="../slideLayouts/slideLayout457.xml"/><Relationship Id="rId15" Type="http://schemas.openxmlformats.org/officeDocument/2006/relationships/slideLayout" Target="../slideLayouts/slideLayout467.xml"/><Relationship Id="rId23" Type="http://schemas.openxmlformats.org/officeDocument/2006/relationships/image" Target="../media/image75.emf"/><Relationship Id="rId10" Type="http://schemas.openxmlformats.org/officeDocument/2006/relationships/slideLayout" Target="../slideLayouts/slideLayout462.xml"/><Relationship Id="rId19" Type="http://schemas.openxmlformats.org/officeDocument/2006/relationships/slideLayout" Target="../slideLayouts/slideLayout471.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486.xml"/><Relationship Id="rId18" Type="http://schemas.openxmlformats.org/officeDocument/2006/relationships/slideLayout" Target="../slideLayouts/slideLayout491.xml"/><Relationship Id="rId26" Type="http://schemas.openxmlformats.org/officeDocument/2006/relationships/slideLayout" Target="../slideLayouts/slideLayout499.xml"/><Relationship Id="rId21" Type="http://schemas.openxmlformats.org/officeDocument/2006/relationships/slideLayout" Target="../slideLayouts/slideLayout494.xml"/><Relationship Id="rId34" Type="http://schemas.openxmlformats.org/officeDocument/2006/relationships/slideLayout" Target="../slideLayouts/slideLayout507.xml"/><Relationship Id="rId7" Type="http://schemas.openxmlformats.org/officeDocument/2006/relationships/slideLayout" Target="../slideLayouts/slideLayout480.xml"/><Relationship Id="rId12" Type="http://schemas.openxmlformats.org/officeDocument/2006/relationships/slideLayout" Target="../slideLayouts/slideLayout485.xml"/><Relationship Id="rId17" Type="http://schemas.openxmlformats.org/officeDocument/2006/relationships/slideLayout" Target="../slideLayouts/slideLayout490.xml"/><Relationship Id="rId25" Type="http://schemas.openxmlformats.org/officeDocument/2006/relationships/slideLayout" Target="../slideLayouts/slideLayout498.xml"/><Relationship Id="rId33" Type="http://schemas.openxmlformats.org/officeDocument/2006/relationships/slideLayout" Target="../slideLayouts/slideLayout506.xml"/><Relationship Id="rId2" Type="http://schemas.openxmlformats.org/officeDocument/2006/relationships/slideLayout" Target="../slideLayouts/slideLayout475.xml"/><Relationship Id="rId16" Type="http://schemas.openxmlformats.org/officeDocument/2006/relationships/slideLayout" Target="../slideLayouts/slideLayout489.xml"/><Relationship Id="rId20" Type="http://schemas.openxmlformats.org/officeDocument/2006/relationships/slideLayout" Target="../slideLayouts/slideLayout493.xml"/><Relationship Id="rId29" Type="http://schemas.openxmlformats.org/officeDocument/2006/relationships/slideLayout" Target="../slideLayouts/slideLayout502.xml"/><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slideLayout" Target="../slideLayouts/slideLayout484.xml"/><Relationship Id="rId24" Type="http://schemas.openxmlformats.org/officeDocument/2006/relationships/slideLayout" Target="../slideLayouts/slideLayout497.xml"/><Relationship Id="rId32" Type="http://schemas.openxmlformats.org/officeDocument/2006/relationships/slideLayout" Target="../slideLayouts/slideLayout505.xml"/><Relationship Id="rId37" Type="http://schemas.openxmlformats.org/officeDocument/2006/relationships/image" Target="../media/image34.emf"/><Relationship Id="rId5" Type="http://schemas.openxmlformats.org/officeDocument/2006/relationships/slideLayout" Target="../slideLayouts/slideLayout478.xml"/><Relationship Id="rId15" Type="http://schemas.openxmlformats.org/officeDocument/2006/relationships/slideLayout" Target="../slideLayouts/slideLayout488.xml"/><Relationship Id="rId23" Type="http://schemas.openxmlformats.org/officeDocument/2006/relationships/slideLayout" Target="../slideLayouts/slideLayout496.xml"/><Relationship Id="rId28" Type="http://schemas.openxmlformats.org/officeDocument/2006/relationships/slideLayout" Target="../slideLayouts/slideLayout501.xml"/><Relationship Id="rId36" Type="http://schemas.openxmlformats.org/officeDocument/2006/relationships/theme" Target="../theme/theme17.xml"/><Relationship Id="rId10" Type="http://schemas.openxmlformats.org/officeDocument/2006/relationships/slideLayout" Target="../slideLayouts/slideLayout483.xml"/><Relationship Id="rId19" Type="http://schemas.openxmlformats.org/officeDocument/2006/relationships/slideLayout" Target="../slideLayouts/slideLayout492.xml"/><Relationship Id="rId31" Type="http://schemas.openxmlformats.org/officeDocument/2006/relationships/slideLayout" Target="../slideLayouts/slideLayout504.xml"/><Relationship Id="rId4" Type="http://schemas.openxmlformats.org/officeDocument/2006/relationships/slideLayout" Target="../slideLayouts/slideLayout477.xml"/><Relationship Id="rId9" Type="http://schemas.openxmlformats.org/officeDocument/2006/relationships/slideLayout" Target="../slideLayouts/slideLayout482.xml"/><Relationship Id="rId14" Type="http://schemas.openxmlformats.org/officeDocument/2006/relationships/slideLayout" Target="../slideLayouts/slideLayout487.xml"/><Relationship Id="rId22" Type="http://schemas.openxmlformats.org/officeDocument/2006/relationships/slideLayout" Target="../slideLayouts/slideLayout495.xml"/><Relationship Id="rId27" Type="http://schemas.openxmlformats.org/officeDocument/2006/relationships/slideLayout" Target="../slideLayouts/slideLayout500.xml"/><Relationship Id="rId30" Type="http://schemas.openxmlformats.org/officeDocument/2006/relationships/slideLayout" Target="../slideLayouts/slideLayout503.xml"/><Relationship Id="rId35" Type="http://schemas.openxmlformats.org/officeDocument/2006/relationships/slideLayout" Target="../slideLayouts/slideLayout508.xml"/><Relationship Id="rId8" Type="http://schemas.openxmlformats.org/officeDocument/2006/relationships/slideLayout" Target="../slideLayouts/slideLayout481.xml"/><Relationship Id="rId3" Type="http://schemas.openxmlformats.org/officeDocument/2006/relationships/slideLayout" Target="../slideLayouts/slideLayout47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26" Type="http://schemas.openxmlformats.org/officeDocument/2006/relationships/image" Target="../media/image1.emf"/><Relationship Id="rId3" Type="http://schemas.openxmlformats.org/officeDocument/2006/relationships/slideLayout" Target="../slideLayouts/slideLayout511.xml"/><Relationship Id="rId21" Type="http://schemas.openxmlformats.org/officeDocument/2006/relationships/slideLayout" Target="../slideLayouts/slideLayout529.xml"/><Relationship Id="rId7" Type="http://schemas.openxmlformats.org/officeDocument/2006/relationships/slideLayout" Target="../slideLayouts/slideLayout515.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5" Type="http://schemas.openxmlformats.org/officeDocument/2006/relationships/image" Target="../media/image44.png"/><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0" Type="http://schemas.openxmlformats.org/officeDocument/2006/relationships/slideLayout" Target="../slideLayouts/slideLayout528.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slideLayout" Target="../slideLayouts/slideLayout519.xml"/><Relationship Id="rId24" Type="http://schemas.openxmlformats.org/officeDocument/2006/relationships/theme" Target="../theme/theme18.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23" Type="http://schemas.openxmlformats.org/officeDocument/2006/relationships/slideLayout" Target="../slideLayouts/slideLayout531.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 Id="rId22" Type="http://schemas.openxmlformats.org/officeDocument/2006/relationships/slideLayout" Target="../slideLayouts/slideLayout530.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26" Type="http://schemas.openxmlformats.org/officeDocument/2006/relationships/slideLayout" Target="../slideLayouts/slideLayout557.xml"/><Relationship Id="rId3" Type="http://schemas.openxmlformats.org/officeDocument/2006/relationships/slideLayout" Target="../slideLayouts/slideLayout534.xml"/><Relationship Id="rId21" Type="http://schemas.openxmlformats.org/officeDocument/2006/relationships/slideLayout" Target="../slideLayouts/slideLayout552.xml"/><Relationship Id="rId34" Type="http://schemas.openxmlformats.org/officeDocument/2006/relationships/slideLayout" Target="../slideLayouts/slideLayout565.x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5" Type="http://schemas.openxmlformats.org/officeDocument/2006/relationships/slideLayout" Target="../slideLayouts/slideLayout556.xml"/><Relationship Id="rId33" Type="http://schemas.openxmlformats.org/officeDocument/2006/relationships/slideLayout" Target="../slideLayouts/slideLayout564.xml"/><Relationship Id="rId2" Type="http://schemas.openxmlformats.org/officeDocument/2006/relationships/slideLayout" Target="../slideLayouts/slideLayout533.xml"/><Relationship Id="rId16" Type="http://schemas.openxmlformats.org/officeDocument/2006/relationships/slideLayout" Target="../slideLayouts/slideLayout547.xml"/><Relationship Id="rId20" Type="http://schemas.openxmlformats.org/officeDocument/2006/relationships/slideLayout" Target="../slideLayouts/slideLayout551.xml"/><Relationship Id="rId29" Type="http://schemas.openxmlformats.org/officeDocument/2006/relationships/slideLayout" Target="../slideLayouts/slideLayout560.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24" Type="http://schemas.openxmlformats.org/officeDocument/2006/relationships/slideLayout" Target="../slideLayouts/slideLayout555.xml"/><Relationship Id="rId32" Type="http://schemas.openxmlformats.org/officeDocument/2006/relationships/slideLayout" Target="../slideLayouts/slideLayout563.xml"/><Relationship Id="rId5" Type="http://schemas.openxmlformats.org/officeDocument/2006/relationships/slideLayout" Target="../slideLayouts/slideLayout536.xml"/><Relationship Id="rId15" Type="http://schemas.openxmlformats.org/officeDocument/2006/relationships/slideLayout" Target="../slideLayouts/slideLayout546.xml"/><Relationship Id="rId23" Type="http://schemas.openxmlformats.org/officeDocument/2006/relationships/slideLayout" Target="../slideLayouts/slideLayout554.xml"/><Relationship Id="rId28" Type="http://schemas.openxmlformats.org/officeDocument/2006/relationships/slideLayout" Target="../slideLayouts/slideLayout559.xml"/><Relationship Id="rId36" Type="http://schemas.openxmlformats.org/officeDocument/2006/relationships/image" Target="../media/image84.png"/><Relationship Id="rId10" Type="http://schemas.openxmlformats.org/officeDocument/2006/relationships/slideLayout" Target="../slideLayouts/slideLayout541.xml"/><Relationship Id="rId19" Type="http://schemas.openxmlformats.org/officeDocument/2006/relationships/slideLayout" Target="../slideLayouts/slideLayout550.xml"/><Relationship Id="rId31" Type="http://schemas.openxmlformats.org/officeDocument/2006/relationships/slideLayout" Target="../slideLayouts/slideLayout562.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 Id="rId22" Type="http://schemas.openxmlformats.org/officeDocument/2006/relationships/slideLayout" Target="../slideLayouts/slideLayout553.xml"/><Relationship Id="rId27" Type="http://schemas.openxmlformats.org/officeDocument/2006/relationships/slideLayout" Target="../slideLayouts/slideLayout558.xml"/><Relationship Id="rId30" Type="http://schemas.openxmlformats.org/officeDocument/2006/relationships/slideLayout" Target="../slideLayouts/slideLayout561.xml"/><Relationship Id="rId35" Type="http://schemas.openxmlformats.org/officeDocument/2006/relationships/theme" Target="../theme/theme19.xml"/><Relationship Id="rId8" Type="http://schemas.openxmlformats.org/officeDocument/2006/relationships/slideLayout" Target="../slideLayouts/slideLayout5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theme" Target="../theme/theme2.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8" Type="http://schemas.openxmlformats.org/officeDocument/2006/relationships/slideLayout" Target="../slideLayouts/slideLayout46.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26" Type="http://schemas.openxmlformats.org/officeDocument/2006/relationships/slideLayout" Target="../slideLayouts/slideLayout591.xml"/><Relationship Id="rId39" Type="http://schemas.openxmlformats.org/officeDocument/2006/relationships/slideLayout" Target="../slideLayouts/slideLayout604.xml"/><Relationship Id="rId21" Type="http://schemas.openxmlformats.org/officeDocument/2006/relationships/slideLayout" Target="../slideLayouts/slideLayout586.xml"/><Relationship Id="rId34" Type="http://schemas.openxmlformats.org/officeDocument/2006/relationships/slideLayout" Target="../slideLayouts/slideLayout599.xml"/><Relationship Id="rId42" Type="http://schemas.openxmlformats.org/officeDocument/2006/relationships/slideLayout" Target="../slideLayouts/slideLayout607.xml"/><Relationship Id="rId47" Type="http://schemas.openxmlformats.org/officeDocument/2006/relationships/slideLayout" Target="../slideLayouts/slideLayout612.xml"/><Relationship Id="rId50" Type="http://schemas.openxmlformats.org/officeDocument/2006/relationships/slideLayout" Target="../slideLayouts/slideLayout615.xml"/><Relationship Id="rId55" Type="http://schemas.openxmlformats.org/officeDocument/2006/relationships/slideLayout" Target="../slideLayouts/slideLayout620.xml"/><Relationship Id="rId7" Type="http://schemas.openxmlformats.org/officeDocument/2006/relationships/slideLayout" Target="../slideLayouts/slideLayout572.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9" Type="http://schemas.openxmlformats.org/officeDocument/2006/relationships/slideLayout" Target="../slideLayouts/slideLayout594.xml"/><Relationship Id="rId11" Type="http://schemas.openxmlformats.org/officeDocument/2006/relationships/slideLayout" Target="../slideLayouts/slideLayout576.xml"/><Relationship Id="rId24" Type="http://schemas.openxmlformats.org/officeDocument/2006/relationships/slideLayout" Target="../slideLayouts/slideLayout589.xml"/><Relationship Id="rId32" Type="http://schemas.openxmlformats.org/officeDocument/2006/relationships/slideLayout" Target="../slideLayouts/slideLayout597.xml"/><Relationship Id="rId37" Type="http://schemas.openxmlformats.org/officeDocument/2006/relationships/slideLayout" Target="../slideLayouts/slideLayout602.xml"/><Relationship Id="rId40" Type="http://schemas.openxmlformats.org/officeDocument/2006/relationships/slideLayout" Target="../slideLayouts/slideLayout605.xml"/><Relationship Id="rId45" Type="http://schemas.openxmlformats.org/officeDocument/2006/relationships/slideLayout" Target="../slideLayouts/slideLayout610.xml"/><Relationship Id="rId53" Type="http://schemas.openxmlformats.org/officeDocument/2006/relationships/slideLayout" Target="../slideLayouts/slideLayout618.xml"/><Relationship Id="rId5" Type="http://schemas.openxmlformats.org/officeDocument/2006/relationships/slideLayout" Target="../slideLayouts/slideLayout570.xml"/><Relationship Id="rId19" Type="http://schemas.openxmlformats.org/officeDocument/2006/relationships/slideLayout" Target="../slideLayouts/slideLayout584.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 Id="rId22" Type="http://schemas.openxmlformats.org/officeDocument/2006/relationships/slideLayout" Target="../slideLayouts/slideLayout587.xml"/><Relationship Id="rId27" Type="http://schemas.openxmlformats.org/officeDocument/2006/relationships/slideLayout" Target="../slideLayouts/slideLayout592.xml"/><Relationship Id="rId30" Type="http://schemas.openxmlformats.org/officeDocument/2006/relationships/slideLayout" Target="../slideLayouts/slideLayout595.xml"/><Relationship Id="rId35" Type="http://schemas.openxmlformats.org/officeDocument/2006/relationships/slideLayout" Target="../slideLayouts/slideLayout600.xml"/><Relationship Id="rId43" Type="http://schemas.openxmlformats.org/officeDocument/2006/relationships/slideLayout" Target="../slideLayouts/slideLayout608.xml"/><Relationship Id="rId48" Type="http://schemas.openxmlformats.org/officeDocument/2006/relationships/slideLayout" Target="../slideLayouts/slideLayout613.xml"/><Relationship Id="rId56" Type="http://schemas.openxmlformats.org/officeDocument/2006/relationships/theme" Target="../theme/theme20.xml"/><Relationship Id="rId8" Type="http://schemas.openxmlformats.org/officeDocument/2006/relationships/slideLayout" Target="../slideLayouts/slideLayout573.xml"/><Relationship Id="rId51" Type="http://schemas.openxmlformats.org/officeDocument/2006/relationships/slideLayout" Target="../slideLayouts/slideLayout616.xml"/><Relationship Id="rId3" Type="http://schemas.openxmlformats.org/officeDocument/2006/relationships/slideLayout" Target="../slideLayouts/slideLayout568.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5" Type="http://schemas.openxmlformats.org/officeDocument/2006/relationships/slideLayout" Target="../slideLayouts/slideLayout590.xml"/><Relationship Id="rId33" Type="http://schemas.openxmlformats.org/officeDocument/2006/relationships/slideLayout" Target="../slideLayouts/slideLayout598.xml"/><Relationship Id="rId38" Type="http://schemas.openxmlformats.org/officeDocument/2006/relationships/slideLayout" Target="../slideLayouts/slideLayout603.xml"/><Relationship Id="rId46" Type="http://schemas.openxmlformats.org/officeDocument/2006/relationships/slideLayout" Target="../slideLayouts/slideLayout611.xml"/><Relationship Id="rId20" Type="http://schemas.openxmlformats.org/officeDocument/2006/relationships/slideLayout" Target="../slideLayouts/slideLayout585.xml"/><Relationship Id="rId41" Type="http://schemas.openxmlformats.org/officeDocument/2006/relationships/slideLayout" Target="../slideLayouts/slideLayout606.xml"/><Relationship Id="rId54" Type="http://schemas.openxmlformats.org/officeDocument/2006/relationships/slideLayout" Target="../slideLayouts/slideLayout619.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5" Type="http://schemas.openxmlformats.org/officeDocument/2006/relationships/slideLayout" Target="../slideLayouts/slideLayout580.xml"/><Relationship Id="rId23" Type="http://schemas.openxmlformats.org/officeDocument/2006/relationships/slideLayout" Target="../slideLayouts/slideLayout588.xml"/><Relationship Id="rId28" Type="http://schemas.openxmlformats.org/officeDocument/2006/relationships/slideLayout" Target="../slideLayouts/slideLayout593.xml"/><Relationship Id="rId36" Type="http://schemas.openxmlformats.org/officeDocument/2006/relationships/slideLayout" Target="../slideLayouts/slideLayout601.xml"/><Relationship Id="rId49" Type="http://schemas.openxmlformats.org/officeDocument/2006/relationships/slideLayout" Target="../slideLayouts/slideLayout614.xml"/><Relationship Id="rId57" Type="http://schemas.openxmlformats.org/officeDocument/2006/relationships/image" Target="../media/image106.png"/><Relationship Id="rId10" Type="http://schemas.openxmlformats.org/officeDocument/2006/relationships/slideLayout" Target="../slideLayouts/slideLayout575.xml"/><Relationship Id="rId31" Type="http://schemas.openxmlformats.org/officeDocument/2006/relationships/slideLayout" Target="../slideLayouts/slideLayout596.xml"/><Relationship Id="rId44" Type="http://schemas.openxmlformats.org/officeDocument/2006/relationships/slideLayout" Target="../slideLayouts/slideLayout609.xml"/><Relationship Id="rId52" Type="http://schemas.openxmlformats.org/officeDocument/2006/relationships/slideLayout" Target="../slideLayouts/slideLayout617.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633.xml"/><Relationship Id="rId18" Type="http://schemas.openxmlformats.org/officeDocument/2006/relationships/slideLayout" Target="../slideLayouts/slideLayout638.xml"/><Relationship Id="rId26" Type="http://schemas.openxmlformats.org/officeDocument/2006/relationships/slideLayout" Target="../slideLayouts/slideLayout646.xml"/><Relationship Id="rId3" Type="http://schemas.openxmlformats.org/officeDocument/2006/relationships/slideLayout" Target="../slideLayouts/slideLayout623.xml"/><Relationship Id="rId21" Type="http://schemas.openxmlformats.org/officeDocument/2006/relationships/slideLayout" Target="../slideLayouts/slideLayout641.xml"/><Relationship Id="rId34" Type="http://schemas.openxmlformats.org/officeDocument/2006/relationships/theme" Target="../theme/theme21.xml"/><Relationship Id="rId7" Type="http://schemas.openxmlformats.org/officeDocument/2006/relationships/slideLayout" Target="../slideLayouts/slideLayout627.xml"/><Relationship Id="rId12" Type="http://schemas.openxmlformats.org/officeDocument/2006/relationships/slideLayout" Target="../slideLayouts/slideLayout632.xml"/><Relationship Id="rId17" Type="http://schemas.openxmlformats.org/officeDocument/2006/relationships/slideLayout" Target="../slideLayouts/slideLayout637.xml"/><Relationship Id="rId25" Type="http://schemas.openxmlformats.org/officeDocument/2006/relationships/slideLayout" Target="../slideLayouts/slideLayout645.xml"/><Relationship Id="rId33" Type="http://schemas.openxmlformats.org/officeDocument/2006/relationships/slideLayout" Target="../slideLayouts/slideLayout653.xml"/><Relationship Id="rId2" Type="http://schemas.openxmlformats.org/officeDocument/2006/relationships/slideLayout" Target="../slideLayouts/slideLayout622.xml"/><Relationship Id="rId16" Type="http://schemas.openxmlformats.org/officeDocument/2006/relationships/slideLayout" Target="../slideLayouts/slideLayout636.xml"/><Relationship Id="rId20" Type="http://schemas.openxmlformats.org/officeDocument/2006/relationships/slideLayout" Target="../slideLayouts/slideLayout640.xml"/><Relationship Id="rId29" Type="http://schemas.openxmlformats.org/officeDocument/2006/relationships/slideLayout" Target="../slideLayouts/slideLayout649.xml"/><Relationship Id="rId1" Type="http://schemas.openxmlformats.org/officeDocument/2006/relationships/slideLayout" Target="../slideLayouts/slideLayout621.xml"/><Relationship Id="rId6" Type="http://schemas.openxmlformats.org/officeDocument/2006/relationships/slideLayout" Target="../slideLayouts/slideLayout626.xml"/><Relationship Id="rId11" Type="http://schemas.openxmlformats.org/officeDocument/2006/relationships/slideLayout" Target="../slideLayouts/slideLayout631.xml"/><Relationship Id="rId24" Type="http://schemas.openxmlformats.org/officeDocument/2006/relationships/slideLayout" Target="../slideLayouts/slideLayout644.xml"/><Relationship Id="rId32" Type="http://schemas.openxmlformats.org/officeDocument/2006/relationships/slideLayout" Target="../slideLayouts/slideLayout652.xml"/><Relationship Id="rId5" Type="http://schemas.openxmlformats.org/officeDocument/2006/relationships/slideLayout" Target="../slideLayouts/slideLayout625.xml"/><Relationship Id="rId15" Type="http://schemas.openxmlformats.org/officeDocument/2006/relationships/slideLayout" Target="../slideLayouts/slideLayout635.xml"/><Relationship Id="rId23" Type="http://schemas.openxmlformats.org/officeDocument/2006/relationships/slideLayout" Target="../slideLayouts/slideLayout643.xml"/><Relationship Id="rId28" Type="http://schemas.openxmlformats.org/officeDocument/2006/relationships/slideLayout" Target="../slideLayouts/slideLayout648.xml"/><Relationship Id="rId10" Type="http://schemas.openxmlformats.org/officeDocument/2006/relationships/slideLayout" Target="../slideLayouts/slideLayout630.xml"/><Relationship Id="rId19" Type="http://schemas.openxmlformats.org/officeDocument/2006/relationships/slideLayout" Target="../slideLayouts/slideLayout639.xml"/><Relationship Id="rId31" Type="http://schemas.openxmlformats.org/officeDocument/2006/relationships/slideLayout" Target="../slideLayouts/slideLayout651.xml"/><Relationship Id="rId4" Type="http://schemas.openxmlformats.org/officeDocument/2006/relationships/slideLayout" Target="../slideLayouts/slideLayout624.xml"/><Relationship Id="rId9" Type="http://schemas.openxmlformats.org/officeDocument/2006/relationships/slideLayout" Target="../slideLayouts/slideLayout629.xml"/><Relationship Id="rId14" Type="http://schemas.openxmlformats.org/officeDocument/2006/relationships/slideLayout" Target="../slideLayouts/slideLayout634.xml"/><Relationship Id="rId22" Type="http://schemas.openxmlformats.org/officeDocument/2006/relationships/slideLayout" Target="../slideLayouts/slideLayout642.xml"/><Relationship Id="rId27" Type="http://schemas.openxmlformats.org/officeDocument/2006/relationships/slideLayout" Target="../slideLayouts/slideLayout647.xml"/><Relationship Id="rId30" Type="http://schemas.openxmlformats.org/officeDocument/2006/relationships/slideLayout" Target="../slideLayouts/slideLayout650.xml"/><Relationship Id="rId35" Type="http://schemas.openxmlformats.org/officeDocument/2006/relationships/image" Target="../media/image34.emf"/><Relationship Id="rId8" Type="http://schemas.openxmlformats.org/officeDocument/2006/relationships/slideLayout" Target="../slideLayouts/slideLayout628.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661.xml"/><Relationship Id="rId13" Type="http://schemas.openxmlformats.org/officeDocument/2006/relationships/slideLayout" Target="../slideLayouts/slideLayout666.xml"/><Relationship Id="rId3" Type="http://schemas.openxmlformats.org/officeDocument/2006/relationships/slideLayout" Target="../slideLayouts/slideLayout656.xml"/><Relationship Id="rId7" Type="http://schemas.openxmlformats.org/officeDocument/2006/relationships/slideLayout" Target="../slideLayouts/slideLayout660.xml"/><Relationship Id="rId12" Type="http://schemas.openxmlformats.org/officeDocument/2006/relationships/slideLayout" Target="../slideLayouts/slideLayout665.xml"/><Relationship Id="rId2" Type="http://schemas.openxmlformats.org/officeDocument/2006/relationships/slideLayout" Target="../slideLayouts/slideLayout655.xml"/><Relationship Id="rId1" Type="http://schemas.openxmlformats.org/officeDocument/2006/relationships/slideLayout" Target="../slideLayouts/slideLayout654.xml"/><Relationship Id="rId6" Type="http://schemas.openxmlformats.org/officeDocument/2006/relationships/slideLayout" Target="../slideLayouts/slideLayout659.xml"/><Relationship Id="rId11" Type="http://schemas.openxmlformats.org/officeDocument/2006/relationships/slideLayout" Target="../slideLayouts/slideLayout664.xml"/><Relationship Id="rId5" Type="http://schemas.openxmlformats.org/officeDocument/2006/relationships/slideLayout" Target="../slideLayouts/slideLayout658.xml"/><Relationship Id="rId10" Type="http://schemas.openxmlformats.org/officeDocument/2006/relationships/slideLayout" Target="../slideLayouts/slideLayout663.xml"/><Relationship Id="rId4" Type="http://schemas.openxmlformats.org/officeDocument/2006/relationships/slideLayout" Target="../slideLayouts/slideLayout657.xml"/><Relationship Id="rId9" Type="http://schemas.openxmlformats.org/officeDocument/2006/relationships/slideLayout" Target="../slideLayouts/slideLayout662.xml"/><Relationship Id="rId14"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674.xml"/><Relationship Id="rId13" Type="http://schemas.openxmlformats.org/officeDocument/2006/relationships/slideLayout" Target="../slideLayouts/slideLayout679.xml"/><Relationship Id="rId3" Type="http://schemas.openxmlformats.org/officeDocument/2006/relationships/slideLayout" Target="../slideLayouts/slideLayout669.xml"/><Relationship Id="rId7" Type="http://schemas.openxmlformats.org/officeDocument/2006/relationships/slideLayout" Target="../slideLayouts/slideLayout673.xml"/><Relationship Id="rId12" Type="http://schemas.openxmlformats.org/officeDocument/2006/relationships/slideLayout" Target="../slideLayouts/slideLayout678.xml"/><Relationship Id="rId2" Type="http://schemas.openxmlformats.org/officeDocument/2006/relationships/slideLayout" Target="../slideLayouts/slideLayout668.xml"/><Relationship Id="rId16" Type="http://schemas.openxmlformats.org/officeDocument/2006/relationships/theme" Target="../theme/theme23.xml"/><Relationship Id="rId1" Type="http://schemas.openxmlformats.org/officeDocument/2006/relationships/slideLayout" Target="../slideLayouts/slideLayout667.xml"/><Relationship Id="rId6" Type="http://schemas.openxmlformats.org/officeDocument/2006/relationships/slideLayout" Target="../slideLayouts/slideLayout672.xml"/><Relationship Id="rId11" Type="http://schemas.openxmlformats.org/officeDocument/2006/relationships/slideLayout" Target="../slideLayouts/slideLayout677.xml"/><Relationship Id="rId5" Type="http://schemas.openxmlformats.org/officeDocument/2006/relationships/slideLayout" Target="../slideLayouts/slideLayout671.xml"/><Relationship Id="rId15" Type="http://schemas.openxmlformats.org/officeDocument/2006/relationships/slideLayout" Target="../slideLayouts/slideLayout681.xml"/><Relationship Id="rId10" Type="http://schemas.openxmlformats.org/officeDocument/2006/relationships/slideLayout" Target="../slideLayouts/slideLayout676.xml"/><Relationship Id="rId4" Type="http://schemas.openxmlformats.org/officeDocument/2006/relationships/slideLayout" Target="../slideLayouts/slideLayout670.xml"/><Relationship Id="rId9" Type="http://schemas.openxmlformats.org/officeDocument/2006/relationships/slideLayout" Target="../slideLayouts/slideLayout675.xml"/><Relationship Id="rId14" Type="http://schemas.openxmlformats.org/officeDocument/2006/relationships/slideLayout" Target="../slideLayouts/slideLayout68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theme" Target="../theme/theme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image" Target="../media/image34.emf"/><Relationship Id="rId8"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slideLayout" Target="../slideLayouts/slideLayout142.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42" Type="http://schemas.openxmlformats.org/officeDocument/2006/relationships/slideLayout" Target="../slideLayouts/slideLayout145.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41" Type="http://schemas.openxmlformats.org/officeDocument/2006/relationships/slideLayout" Target="../slideLayouts/slideLayout144.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40" Type="http://schemas.openxmlformats.org/officeDocument/2006/relationships/slideLayout" Target="../slideLayouts/slideLayout143.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4" Type="http://schemas.openxmlformats.org/officeDocument/2006/relationships/image" Target="../media/image34.emf"/><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43" Type="http://schemas.openxmlformats.org/officeDocument/2006/relationships/theme" Target="../theme/theme4.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slideLayout" Target="../slideLayouts/slideLayout14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34" Type="http://schemas.openxmlformats.org/officeDocument/2006/relationships/image" Target="../media/image44.png"/><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theme" Target="../theme/theme5.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8" Type="http://schemas.openxmlformats.org/officeDocument/2006/relationships/slideLayout" Target="../slideLayouts/slideLayout15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slideLayout" Target="../slideLayouts/slideLayout203.xml"/><Relationship Id="rId39" Type="http://schemas.openxmlformats.org/officeDocument/2006/relationships/slideLayout" Target="../slideLayouts/slideLayout216.xml"/><Relationship Id="rId21" Type="http://schemas.openxmlformats.org/officeDocument/2006/relationships/slideLayout" Target="../slideLayouts/slideLayout198.xml"/><Relationship Id="rId34" Type="http://schemas.openxmlformats.org/officeDocument/2006/relationships/slideLayout" Target="../slideLayouts/slideLayout211.xml"/><Relationship Id="rId42" Type="http://schemas.openxmlformats.org/officeDocument/2006/relationships/slideLayout" Target="../slideLayouts/slideLayout219.xml"/><Relationship Id="rId7" Type="http://schemas.openxmlformats.org/officeDocument/2006/relationships/slideLayout" Target="../slideLayouts/slideLayout184.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29" Type="http://schemas.openxmlformats.org/officeDocument/2006/relationships/slideLayout" Target="../slideLayouts/slideLayout206.xml"/><Relationship Id="rId41" Type="http://schemas.openxmlformats.org/officeDocument/2006/relationships/slideLayout" Target="../slideLayouts/slideLayout218.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slideLayout" Target="../slideLayouts/slideLayout201.xml"/><Relationship Id="rId32" Type="http://schemas.openxmlformats.org/officeDocument/2006/relationships/slideLayout" Target="../slideLayouts/slideLayout209.xml"/><Relationship Id="rId37" Type="http://schemas.openxmlformats.org/officeDocument/2006/relationships/slideLayout" Target="../slideLayouts/slideLayout214.xml"/><Relationship Id="rId40" Type="http://schemas.openxmlformats.org/officeDocument/2006/relationships/slideLayout" Target="../slideLayouts/slideLayout217.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28" Type="http://schemas.openxmlformats.org/officeDocument/2006/relationships/slideLayout" Target="../slideLayouts/slideLayout205.xml"/><Relationship Id="rId36" Type="http://schemas.openxmlformats.org/officeDocument/2006/relationships/slideLayout" Target="../slideLayouts/slideLayout213.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31" Type="http://schemas.openxmlformats.org/officeDocument/2006/relationships/slideLayout" Target="../slideLayouts/slideLayout208.xml"/><Relationship Id="rId44" Type="http://schemas.openxmlformats.org/officeDocument/2006/relationships/image" Target="../media/image34.emf"/><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slideLayout" Target="../slideLayouts/slideLayout204.xml"/><Relationship Id="rId30" Type="http://schemas.openxmlformats.org/officeDocument/2006/relationships/slideLayout" Target="../slideLayouts/slideLayout207.xml"/><Relationship Id="rId35" Type="http://schemas.openxmlformats.org/officeDocument/2006/relationships/slideLayout" Target="../slideLayouts/slideLayout212.xml"/><Relationship Id="rId43" Type="http://schemas.openxmlformats.org/officeDocument/2006/relationships/theme" Target="../theme/theme6.xml"/><Relationship Id="rId8" Type="http://schemas.openxmlformats.org/officeDocument/2006/relationships/slideLayout" Target="../slideLayouts/slideLayout185.xml"/><Relationship Id="rId3" Type="http://schemas.openxmlformats.org/officeDocument/2006/relationships/slideLayout" Target="../slideLayouts/slideLayout180.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slideLayout" Target="../slideLayouts/slideLayout202.xml"/><Relationship Id="rId33" Type="http://schemas.openxmlformats.org/officeDocument/2006/relationships/slideLayout" Target="../slideLayouts/slideLayout210.xml"/><Relationship Id="rId38" Type="http://schemas.openxmlformats.org/officeDocument/2006/relationships/slideLayout" Target="../slideLayouts/slideLayout21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slideLayout" Target="../slideLayouts/slideLayout245.xml"/><Relationship Id="rId39" Type="http://schemas.openxmlformats.org/officeDocument/2006/relationships/theme" Target="../theme/theme7.xml"/><Relationship Id="rId21" Type="http://schemas.openxmlformats.org/officeDocument/2006/relationships/slideLayout" Target="../slideLayouts/slideLayout240.xml"/><Relationship Id="rId34" Type="http://schemas.openxmlformats.org/officeDocument/2006/relationships/slideLayout" Target="../slideLayouts/slideLayout253.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33" Type="http://schemas.openxmlformats.org/officeDocument/2006/relationships/slideLayout" Target="../slideLayouts/slideLayout252.xml"/><Relationship Id="rId38" Type="http://schemas.openxmlformats.org/officeDocument/2006/relationships/slideLayout" Target="../slideLayouts/slideLayout257.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slideLayout" Target="../slideLayouts/slideLayout239.xml"/><Relationship Id="rId29" Type="http://schemas.openxmlformats.org/officeDocument/2006/relationships/slideLayout" Target="../slideLayouts/slideLayout248.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32" Type="http://schemas.openxmlformats.org/officeDocument/2006/relationships/slideLayout" Target="../slideLayouts/slideLayout251.xml"/><Relationship Id="rId37" Type="http://schemas.openxmlformats.org/officeDocument/2006/relationships/slideLayout" Target="../slideLayouts/slideLayout256.xml"/><Relationship Id="rId40" Type="http://schemas.openxmlformats.org/officeDocument/2006/relationships/image" Target="../media/image34.emf"/><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slideLayout" Target="../slideLayouts/slideLayout247.xml"/><Relationship Id="rId36" Type="http://schemas.openxmlformats.org/officeDocument/2006/relationships/slideLayout" Target="../slideLayouts/slideLayout255.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31" Type="http://schemas.openxmlformats.org/officeDocument/2006/relationships/slideLayout" Target="../slideLayouts/slideLayout250.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slideLayout" Target="../slideLayouts/slideLayout246.xml"/><Relationship Id="rId30" Type="http://schemas.openxmlformats.org/officeDocument/2006/relationships/slideLayout" Target="../slideLayouts/slideLayout249.xml"/><Relationship Id="rId35" Type="http://schemas.openxmlformats.org/officeDocument/2006/relationships/slideLayout" Target="../slideLayouts/slideLayout254.xml"/><Relationship Id="rId8" Type="http://schemas.openxmlformats.org/officeDocument/2006/relationships/slideLayout" Target="../slideLayouts/slideLayout227.xml"/><Relationship Id="rId3" Type="http://schemas.openxmlformats.org/officeDocument/2006/relationships/slideLayout" Target="../slideLayouts/slideLayout22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65.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2" Type="http://schemas.openxmlformats.org/officeDocument/2006/relationships/slideLayout" Target="../slideLayouts/slideLayout259.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theme" Target="../theme/theme8.xml"/><Relationship Id="rId5" Type="http://schemas.openxmlformats.org/officeDocument/2006/relationships/slideLayout" Target="../slideLayouts/slideLayout262.xml"/><Relationship Id="rId10" Type="http://schemas.openxmlformats.org/officeDocument/2006/relationships/slideLayout" Target="../slideLayouts/slideLayout267.xml"/><Relationship Id="rId4" Type="http://schemas.openxmlformats.org/officeDocument/2006/relationships/slideLayout" Target="../slideLayouts/slideLayout261.xml"/><Relationship Id="rId9" Type="http://schemas.openxmlformats.org/officeDocument/2006/relationships/slideLayout" Target="../slideLayouts/slideLayout26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image" Target="../media/image44.png"/><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9.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spTree>
    <p:extLst>
      <p:ext uri="{BB962C8B-B14F-4D97-AF65-F5344CB8AC3E}">
        <p14:creationId xmlns:p14="http://schemas.microsoft.com/office/powerpoint/2010/main" val="1014853180"/>
      </p:ext>
    </p:extLst>
  </p:cSld>
  <p:clrMap bg1="lt1" tx1="dk1" bg2="lt2" tx2="dk2" accent1="accent1" accent2="accent2" accent3="accent3" accent4="accent4" accent5="accent5" accent6="accent6" hlink="hlink" folHlink="folHlink"/>
  <p:sldLayoutIdLst>
    <p:sldLayoutId id="2147485597" r:id="rId1"/>
    <p:sldLayoutId id="2147485598" r:id="rId2"/>
    <p:sldLayoutId id="2147485599" r:id="rId3"/>
    <p:sldLayoutId id="2147485600" r:id="rId4"/>
    <p:sldLayoutId id="2147485601" r:id="rId5"/>
    <p:sldLayoutId id="2147485602" r:id="rId6"/>
    <p:sldLayoutId id="2147485603" r:id="rId7"/>
    <p:sldLayoutId id="2147485604" r:id="rId8"/>
    <p:sldLayoutId id="2147485605" r:id="rId9"/>
    <p:sldLayoutId id="2147485606" r:id="rId10"/>
    <p:sldLayoutId id="2147485607" r:id="rId11"/>
    <p:sldLayoutId id="2147485608" r:id="rId12"/>
    <p:sldLayoutId id="2147485609" r:id="rId13"/>
    <p:sldLayoutId id="2147485610" r:id="rId14"/>
    <p:sldLayoutId id="2147485611" r:id="rId15"/>
    <p:sldLayoutId id="2147485612" r:id="rId16"/>
    <p:sldLayoutId id="2147485613" r:id="rId17"/>
    <p:sldLayoutId id="2147485614" r:id="rId18"/>
    <p:sldLayoutId id="2147485615" r:id="rId19"/>
    <p:sldLayoutId id="2147485616" r:id="rId20"/>
    <p:sldLayoutId id="2147485617" r:id="rId21"/>
    <p:sldLayoutId id="2147485618" r:id="rId22"/>
    <p:sldLayoutId id="2147485619" r:id="rId23"/>
    <p:sldLayoutId id="2147485620" r:id="rId24"/>
    <p:sldLayoutId id="2147485621" r:id="rId25"/>
    <p:sldLayoutId id="2147485622" r:id="rId26"/>
    <p:sldLayoutId id="2147485623" r:id="rId27"/>
    <p:sldLayoutId id="2147485624" r:id="rId28"/>
    <p:sldLayoutId id="2147485625" r:id="rId29"/>
    <p:sldLayoutId id="2147485626" r:id="rId30"/>
    <p:sldLayoutId id="2147485627" r:id="rId31"/>
    <p:sldLayoutId id="2147485628" r:id="rId32"/>
    <p:sldLayoutId id="2147485629" r:id="rId33"/>
    <p:sldLayoutId id="2147485630" r:id="rId34"/>
    <p:sldLayoutId id="2147485631" r:id="rId35"/>
    <p:sldLayoutId id="2147485636" r:id="rId36"/>
    <p:sldLayoutId id="2147485637" r:id="rId37"/>
    <p:sldLayoutId id="2147485808" r:id="rId38"/>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80"/>
            <a:ext cx="11653521" cy="192684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2036120"/>
      </p:ext>
    </p:extLst>
  </p:cSld>
  <p:clrMap bg1="dk1" tx1="lt1" bg2="dk2" tx2="lt2" accent1="accent1" accent2="accent2" accent3="accent3" accent4="accent4" accent5="accent5" accent6="accent6" hlink="hlink" folHlink="folHlink"/>
  <p:sldLayoutIdLst>
    <p:sldLayoutId id="2147485875" r:id="rId1"/>
    <p:sldLayoutId id="2147485876" r:id="rId2"/>
    <p:sldLayoutId id="2147485877" r:id="rId3"/>
    <p:sldLayoutId id="2147485878" r:id="rId4"/>
    <p:sldLayoutId id="2147485879" r:id="rId5"/>
    <p:sldLayoutId id="2147485880" r:id="rId6"/>
    <p:sldLayoutId id="2147485881" r:id="rId7"/>
    <p:sldLayoutId id="2147485882" r:id="rId8"/>
    <p:sldLayoutId id="2147485883" r:id="rId9"/>
    <p:sldLayoutId id="2147485884" r:id="rId10"/>
    <p:sldLayoutId id="2147485885" r:id="rId11"/>
    <p:sldLayoutId id="2147485886" r:id="rId12"/>
    <p:sldLayoutId id="2147485887" r:id="rId13"/>
    <p:sldLayoutId id="2147485888" r:id="rId14"/>
    <p:sldLayoutId id="2147485889" r:id="rId15"/>
    <p:sldLayoutId id="2147485890" r:id="rId16"/>
    <p:sldLayoutId id="2147485891" r:id="rId17"/>
    <p:sldLayoutId id="2147485892" r:id="rId18"/>
    <p:sldLayoutId id="2147485893" r:id="rId19"/>
    <p:sldLayoutId id="2147485894" r:id="rId20"/>
    <p:sldLayoutId id="2147485895" r:id="rId21"/>
    <p:sldLayoutId id="2147485896" r:id="rId22"/>
    <p:sldLayoutId id="2147485897" r:id="rId23"/>
    <p:sldLayoutId id="2147485898" r:id="rId24"/>
    <p:sldLayoutId id="2147485899" r:id="rId25"/>
    <p:sldLayoutId id="2147485900" r:id="rId26"/>
  </p:sldLayoutIdLst>
  <p:transition>
    <p:fade/>
  </p:transition>
  <p:txStyles>
    <p:titleStyle>
      <a:lvl1pPr algn="l" defTabSz="857055" rtl="0" eaLnBrk="1" latinLnBrk="0" hangingPunct="1">
        <a:lnSpc>
          <a:spcPct val="90000"/>
        </a:lnSpc>
        <a:spcBef>
          <a:spcPct val="0"/>
        </a:spcBef>
        <a:buNone/>
        <a:defRPr lang="en-US" sz="4962" b="0" kern="1200" cap="none" spc="-9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15075" marR="0" indent="-315075" algn="l" defTabSz="857055" rtl="0" eaLnBrk="1" fontAlgn="auto" latinLnBrk="0" hangingPunct="1">
        <a:lnSpc>
          <a:spcPct val="90000"/>
        </a:lnSpc>
        <a:spcBef>
          <a:spcPct val="20000"/>
        </a:spcBef>
        <a:spcAft>
          <a:spcPts val="0"/>
        </a:spcAft>
        <a:buClrTx/>
        <a:buSzPct val="90000"/>
        <a:buFont typeface="Arial" pitchFamily="34" charset="0"/>
        <a:buChar char="•"/>
        <a:tabLst/>
        <a:defRPr sz="3675" kern="1200" spc="0" baseline="0">
          <a:gradFill>
            <a:gsLst>
              <a:gs pos="1250">
                <a:schemeClr val="tx1"/>
              </a:gs>
              <a:gs pos="100000">
                <a:schemeClr val="tx1"/>
              </a:gs>
            </a:gsLst>
            <a:lin ang="5400000" scaled="0"/>
          </a:gradFill>
          <a:latin typeface="+mj-lt"/>
          <a:ea typeface="+mn-ea"/>
          <a:cs typeface="+mn-cs"/>
        </a:defRPr>
      </a:lvl1pPr>
      <a:lvl2pPr marL="536795" marR="0" indent="-221719" algn="l" defTabSz="857055" rtl="0" eaLnBrk="1" fontAlgn="auto" latinLnBrk="0" hangingPunct="1">
        <a:lnSpc>
          <a:spcPct val="90000"/>
        </a:lnSpc>
        <a:spcBef>
          <a:spcPct val="20000"/>
        </a:spcBef>
        <a:spcAft>
          <a:spcPts val="0"/>
        </a:spcAft>
        <a:buClrTx/>
        <a:buSzPct val="90000"/>
        <a:buFont typeface="Arial" pitchFamily="34" charset="0"/>
        <a:buChar char="•"/>
        <a:tabLst/>
        <a:defRPr sz="2206" kern="1200" spc="0" baseline="0">
          <a:gradFill>
            <a:gsLst>
              <a:gs pos="1250">
                <a:schemeClr val="tx1"/>
              </a:gs>
              <a:gs pos="100000">
                <a:schemeClr val="tx1"/>
              </a:gs>
            </a:gsLst>
            <a:lin ang="5400000" scaled="0"/>
          </a:gradFill>
          <a:latin typeface="+mn-lt"/>
          <a:ea typeface="+mn-ea"/>
          <a:cs typeface="+mn-cs"/>
        </a:defRPr>
      </a:lvl2pPr>
      <a:lvl3pPr marL="735176" marR="0" indent="-210051" algn="l" defTabSz="857055" rtl="0" eaLnBrk="1" fontAlgn="auto" latinLnBrk="0" hangingPunct="1">
        <a:lnSpc>
          <a:spcPct val="90000"/>
        </a:lnSpc>
        <a:spcBef>
          <a:spcPct val="20000"/>
        </a:spcBef>
        <a:spcAft>
          <a:spcPts val="0"/>
        </a:spcAft>
        <a:buClrTx/>
        <a:buSzPct val="90000"/>
        <a:buFont typeface="Arial" pitchFamily="34" charset="0"/>
        <a:buChar char="•"/>
        <a:tabLst/>
        <a:defRPr sz="1838" kern="1200" spc="0" baseline="0">
          <a:gradFill>
            <a:gsLst>
              <a:gs pos="1250">
                <a:schemeClr val="tx1"/>
              </a:gs>
              <a:gs pos="100000">
                <a:schemeClr val="tx1"/>
              </a:gs>
            </a:gsLst>
            <a:lin ang="5400000" scaled="0"/>
          </a:gradFill>
          <a:latin typeface="+mn-lt"/>
          <a:ea typeface="+mn-ea"/>
          <a:cs typeface="+mn-cs"/>
        </a:defRPr>
      </a:lvl3pPr>
      <a:lvl4pPr marL="945227" marR="0" indent="-210051" algn="l" defTabSz="857055"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4pPr>
      <a:lvl5pPr marL="1155276" marR="0" indent="-210051" algn="l" defTabSz="857055"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5pPr>
      <a:lvl6pPr marL="2356899"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427"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3955"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2482"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9pPr>
    </p:bodyStyle>
    <p:otherStyle>
      <a:defPPr>
        <a:defRPr lang="en-US"/>
      </a:defPPr>
      <a:lvl1pPr marL="0" algn="l" defTabSz="857055" rtl="0" eaLnBrk="1" latinLnBrk="0" hangingPunct="1">
        <a:defRPr sz="1655" kern="1200">
          <a:solidFill>
            <a:schemeClr val="tx1"/>
          </a:solidFill>
          <a:latin typeface="+mn-lt"/>
          <a:ea typeface="+mn-ea"/>
          <a:cs typeface="+mn-cs"/>
        </a:defRPr>
      </a:lvl1pPr>
      <a:lvl2pPr marL="428526" algn="l" defTabSz="857055" rtl="0" eaLnBrk="1" latinLnBrk="0" hangingPunct="1">
        <a:defRPr sz="1655" kern="1200">
          <a:solidFill>
            <a:schemeClr val="tx1"/>
          </a:solidFill>
          <a:latin typeface="+mn-lt"/>
          <a:ea typeface="+mn-ea"/>
          <a:cs typeface="+mn-cs"/>
        </a:defRPr>
      </a:lvl2pPr>
      <a:lvl3pPr marL="857055" algn="l" defTabSz="857055" rtl="0" eaLnBrk="1" latinLnBrk="0" hangingPunct="1">
        <a:defRPr sz="1655" kern="1200">
          <a:solidFill>
            <a:schemeClr val="tx1"/>
          </a:solidFill>
          <a:latin typeface="+mn-lt"/>
          <a:ea typeface="+mn-ea"/>
          <a:cs typeface="+mn-cs"/>
        </a:defRPr>
      </a:lvl3pPr>
      <a:lvl4pPr marL="1285581" algn="l" defTabSz="857055" rtl="0" eaLnBrk="1" latinLnBrk="0" hangingPunct="1">
        <a:defRPr sz="1655" kern="1200">
          <a:solidFill>
            <a:schemeClr val="tx1"/>
          </a:solidFill>
          <a:latin typeface="+mn-lt"/>
          <a:ea typeface="+mn-ea"/>
          <a:cs typeface="+mn-cs"/>
        </a:defRPr>
      </a:lvl4pPr>
      <a:lvl5pPr marL="1714108" algn="l" defTabSz="857055" rtl="0" eaLnBrk="1" latinLnBrk="0" hangingPunct="1">
        <a:defRPr sz="1655" kern="1200">
          <a:solidFill>
            <a:schemeClr val="tx1"/>
          </a:solidFill>
          <a:latin typeface="+mn-lt"/>
          <a:ea typeface="+mn-ea"/>
          <a:cs typeface="+mn-cs"/>
        </a:defRPr>
      </a:lvl5pPr>
      <a:lvl6pPr marL="2142637" algn="l" defTabSz="857055" rtl="0" eaLnBrk="1" latinLnBrk="0" hangingPunct="1">
        <a:defRPr sz="1655" kern="1200">
          <a:solidFill>
            <a:schemeClr val="tx1"/>
          </a:solidFill>
          <a:latin typeface="+mn-lt"/>
          <a:ea typeface="+mn-ea"/>
          <a:cs typeface="+mn-cs"/>
        </a:defRPr>
      </a:lvl6pPr>
      <a:lvl7pPr marL="2571163" algn="l" defTabSz="857055" rtl="0" eaLnBrk="1" latinLnBrk="0" hangingPunct="1">
        <a:defRPr sz="1655" kern="1200">
          <a:solidFill>
            <a:schemeClr val="tx1"/>
          </a:solidFill>
          <a:latin typeface="+mn-lt"/>
          <a:ea typeface="+mn-ea"/>
          <a:cs typeface="+mn-cs"/>
        </a:defRPr>
      </a:lvl7pPr>
      <a:lvl8pPr marL="2999690" algn="l" defTabSz="857055" rtl="0" eaLnBrk="1" latinLnBrk="0" hangingPunct="1">
        <a:defRPr sz="1655" kern="1200">
          <a:solidFill>
            <a:schemeClr val="tx1"/>
          </a:solidFill>
          <a:latin typeface="+mn-lt"/>
          <a:ea typeface="+mn-ea"/>
          <a:cs typeface="+mn-cs"/>
        </a:defRPr>
      </a:lvl8pPr>
      <a:lvl9pPr marL="3428219" algn="l" defTabSz="857055" rtl="0" eaLnBrk="1" latinLnBrk="0" hangingPunct="1">
        <a:defRPr sz="165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78115393"/>
      </p:ext>
    </p:extLst>
  </p:cSld>
  <p:clrMap bg1="lt1" tx1="dk1" bg2="lt2" tx2="dk2" accent1="accent1" accent2="accent2" accent3="accent3" accent4="accent4" accent5="accent5" accent6="accent6" hlink="hlink" folHlink="folHlink"/>
  <p:sldLayoutIdLst>
    <p:sldLayoutId id="2147485914" r:id="rId1"/>
    <p:sldLayoutId id="2147485915" r:id="rId2"/>
    <p:sldLayoutId id="2147485916" r:id="rId3"/>
    <p:sldLayoutId id="2147485917" r:id="rId4"/>
    <p:sldLayoutId id="2147485918" r:id="rId5"/>
    <p:sldLayoutId id="2147485919" r:id="rId6"/>
    <p:sldLayoutId id="2147485920" r:id="rId7"/>
    <p:sldLayoutId id="2147485921" r:id="rId8"/>
    <p:sldLayoutId id="2147485922" r:id="rId9"/>
    <p:sldLayoutId id="2147485923" r:id="rId10"/>
    <p:sldLayoutId id="2147485924" r:id="rId11"/>
    <p:sldLayoutId id="2147485925" r:id="rId12"/>
    <p:sldLayoutId id="2147485926" r:id="rId13"/>
    <p:sldLayoutId id="2147485927" r:id="rId14"/>
    <p:sldLayoutId id="2147485928" r:id="rId15"/>
    <p:sldLayoutId id="2147485929" r:id="rId16"/>
    <p:sldLayoutId id="2147485930" r:id="rId17"/>
    <p:sldLayoutId id="2147485931" r:id="rId18"/>
    <p:sldLayoutId id="2147485932" r:id="rId19"/>
    <p:sldLayoutId id="2147485933" r:id="rId20"/>
    <p:sldLayoutId id="2147485934" r:id="rId21"/>
    <p:sldLayoutId id="2147485935" r:id="rId22"/>
    <p:sldLayoutId id="2147485936" r:id="rId23"/>
    <p:sldLayoutId id="2147485937" r:id="rId24"/>
    <p:sldLayoutId id="2147485938" r:id="rId25"/>
    <p:sldLayoutId id="2147485939" r:id="rId26"/>
    <p:sldLayoutId id="2147485940" r:id="rId27"/>
    <p:sldLayoutId id="2147485941" r:id="rId28"/>
    <p:sldLayoutId id="2147485942" r:id="rId29"/>
    <p:sldLayoutId id="2147485943" r:id="rId30"/>
  </p:sldLayoutIdLst>
  <p:transition>
    <p:fade/>
  </p:transition>
  <p:hf sldNum="0" hdr="0" ftr="0" dt="0"/>
  <p:txStyles>
    <p:titleStyle>
      <a:lvl1pPr algn="l" defTabSz="932575"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9" marR="0" indent="-228559"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7" marR="0" indent="-228559"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107" marR="0" indent="-199989"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11" marR="0" indent="-180942"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54" marR="0" indent="-168245"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78"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6"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4"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5" rtl="0" eaLnBrk="1" latinLnBrk="0" hangingPunct="1">
        <a:defRPr sz="1800" kern="1200">
          <a:solidFill>
            <a:schemeClr val="tx1"/>
          </a:solidFill>
          <a:latin typeface="+mn-lt"/>
          <a:ea typeface="+mn-ea"/>
          <a:cs typeface="+mn-cs"/>
        </a:defRPr>
      </a:lvl1pPr>
      <a:lvl2pPr marL="466288" algn="l" defTabSz="932575" rtl="0" eaLnBrk="1" latinLnBrk="0" hangingPunct="1">
        <a:defRPr sz="1800" kern="1200">
          <a:solidFill>
            <a:schemeClr val="tx1"/>
          </a:solidFill>
          <a:latin typeface="+mn-lt"/>
          <a:ea typeface="+mn-ea"/>
          <a:cs typeface="+mn-cs"/>
        </a:defRPr>
      </a:lvl2pPr>
      <a:lvl3pPr marL="932575" algn="l" defTabSz="932575" rtl="0" eaLnBrk="1" latinLnBrk="0" hangingPunct="1">
        <a:defRPr sz="1800" kern="1200">
          <a:solidFill>
            <a:schemeClr val="tx1"/>
          </a:solidFill>
          <a:latin typeface="+mn-lt"/>
          <a:ea typeface="+mn-ea"/>
          <a:cs typeface="+mn-cs"/>
        </a:defRPr>
      </a:lvl3pPr>
      <a:lvl4pPr marL="1398861" algn="l" defTabSz="932575" rtl="0" eaLnBrk="1" latinLnBrk="0" hangingPunct="1">
        <a:defRPr sz="1800" kern="1200">
          <a:solidFill>
            <a:schemeClr val="tx1"/>
          </a:solidFill>
          <a:latin typeface="+mn-lt"/>
          <a:ea typeface="+mn-ea"/>
          <a:cs typeface="+mn-cs"/>
        </a:defRPr>
      </a:lvl4pPr>
      <a:lvl5pPr marL="1865148" algn="l" defTabSz="932575" rtl="0" eaLnBrk="1" latinLnBrk="0" hangingPunct="1">
        <a:defRPr sz="1800" kern="1200">
          <a:solidFill>
            <a:schemeClr val="tx1"/>
          </a:solidFill>
          <a:latin typeface="+mn-lt"/>
          <a:ea typeface="+mn-ea"/>
          <a:cs typeface="+mn-cs"/>
        </a:defRPr>
      </a:lvl5pPr>
      <a:lvl6pPr marL="2331436" algn="l" defTabSz="932575" rtl="0" eaLnBrk="1" latinLnBrk="0" hangingPunct="1">
        <a:defRPr sz="1800" kern="1200">
          <a:solidFill>
            <a:schemeClr val="tx1"/>
          </a:solidFill>
          <a:latin typeface="+mn-lt"/>
          <a:ea typeface="+mn-ea"/>
          <a:cs typeface="+mn-cs"/>
        </a:defRPr>
      </a:lvl6pPr>
      <a:lvl7pPr marL="2797722" algn="l" defTabSz="932575" rtl="0" eaLnBrk="1" latinLnBrk="0" hangingPunct="1">
        <a:defRPr sz="1800" kern="1200">
          <a:solidFill>
            <a:schemeClr val="tx1"/>
          </a:solidFill>
          <a:latin typeface="+mn-lt"/>
          <a:ea typeface="+mn-ea"/>
          <a:cs typeface="+mn-cs"/>
        </a:defRPr>
      </a:lvl7pPr>
      <a:lvl8pPr marL="3264009" algn="l" defTabSz="932575" rtl="0" eaLnBrk="1" latinLnBrk="0" hangingPunct="1">
        <a:defRPr sz="1800" kern="1200">
          <a:solidFill>
            <a:schemeClr val="tx1"/>
          </a:solidFill>
          <a:latin typeface="+mn-lt"/>
          <a:ea typeface="+mn-ea"/>
          <a:cs typeface="+mn-cs"/>
        </a:defRPr>
      </a:lvl8pPr>
      <a:lvl9pPr marL="3730296" algn="l" defTabSz="93257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363472676"/>
      </p:ext>
    </p:extLst>
  </p:cSld>
  <p:clrMap bg1="lt1" tx1="dk1" bg2="lt2" tx2="dk2" accent1="accent1" accent2="accent2" accent3="accent3" accent4="accent4" accent5="accent5" accent6="accent6" hlink="hlink" folHlink="folHlink"/>
  <p:sldLayoutIdLst>
    <p:sldLayoutId id="2147485945" r:id="rId1"/>
    <p:sldLayoutId id="2147485946" r:id="rId2"/>
    <p:sldLayoutId id="2147485947" r:id="rId3"/>
    <p:sldLayoutId id="2147485948" r:id="rId4"/>
    <p:sldLayoutId id="2147485949" r:id="rId5"/>
    <p:sldLayoutId id="2147485950" r:id="rId6"/>
    <p:sldLayoutId id="2147485951" r:id="rId7"/>
    <p:sldLayoutId id="2147485952" r:id="rId8"/>
    <p:sldLayoutId id="2147485953" r:id="rId9"/>
    <p:sldLayoutId id="2147485954" r:id="rId10"/>
    <p:sldLayoutId id="2147485955" r:id="rId11"/>
    <p:sldLayoutId id="2147485956" r:id="rId12"/>
    <p:sldLayoutId id="2147485957" r:id="rId13"/>
    <p:sldLayoutId id="2147485958" r:id="rId14"/>
    <p:sldLayoutId id="2147485959" r:id="rId15"/>
    <p:sldLayoutId id="2147485960" r:id="rId16"/>
    <p:sldLayoutId id="2147485961" r:id="rId17"/>
    <p:sldLayoutId id="2147485962" r:id="rId18"/>
    <p:sldLayoutId id="2147485963" r:id="rId19"/>
    <p:sldLayoutId id="2147485964" r:id="rId20"/>
    <p:sldLayoutId id="2147485965" r:id="rId21"/>
    <p:sldLayoutId id="2147485966" r:id="rId22"/>
    <p:sldLayoutId id="2147485967" r:id="rId23"/>
    <p:sldLayoutId id="2147485968" r:id="rId24"/>
    <p:sldLayoutId id="2147485969" r:id="rId25"/>
    <p:sldLayoutId id="2147485970" r:id="rId26"/>
    <p:sldLayoutId id="2147485971" r:id="rId27"/>
    <p:sldLayoutId id="2147485972" r:id="rId28"/>
    <p:sldLayoutId id="2147485973" r:id="rId29"/>
    <p:sldLayoutId id="2147485974" r:id="rId30"/>
    <p:sldLayoutId id="2147485975" r:id="rId31"/>
    <p:sldLayoutId id="2147485976" r:id="rId32"/>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3959855153"/>
      </p:ext>
    </p:extLst>
  </p:cSld>
  <p:clrMap bg1="lt1" tx1="dk1" bg2="lt2" tx2="dk2" accent1="accent1" accent2="accent2" accent3="accent3" accent4="accent4" accent5="accent5" accent6="accent6" hlink="hlink" folHlink="folHlink"/>
  <p:sldLayoutIdLst>
    <p:sldLayoutId id="2147486014" r:id="rId1"/>
    <p:sldLayoutId id="2147486015" r:id="rId2"/>
    <p:sldLayoutId id="2147486016" r:id="rId3"/>
    <p:sldLayoutId id="2147486017" r:id="rId4"/>
    <p:sldLayoutId id="2147486018" r:id="rId5"/>
    <p:sldLayoutId id="2147486019" r:id="rId6"/>
    <p:sldLayoutId id="2147486020" r:id="rId7"/>
    <p:sldLayoutId id="2147486021" r:id="rId8"/>
    <p:sldLayoutId id="2147486022" r:id="rId9"/>
    <p:sldLayoutId id="2147486023" r:id="rId10"/>
    <p:sldLayoutId id="2147486024" r:id="rId11"/>
    <p:sldLayoutId id="2147486025" r:id="rId12"/>
    <p:sldLayoutId id="2147486026" r:id="rId13"/>
    <p:sldLayoutId id="2147486027" r:id="rId14"/>
    <p:sldLayoutId id="2147486028" r:id="rId15"/>
    <p:sldLayoutId id="2147486029" r:id="rId16"/>
    <p:sldLayoutId id="2147486030" r:id="rId17"/>
    <p:sldLayoutId id="2147486031" r:id="rId18"/>
    <p:sldLayoutId id="2147486032" r:id="rId19"/>
    <p:sldLayoutId id="2147486033" r:id="rId20"/>
    <p:sldLayoutId id="2147486034" r:id="rId21"/>
    <p:sldLayoutId id="2147486035" r:id="rId22"/>
    <p:sldLayoutId id="2147486036" r:id="rId23"/>
    <p:sldLayoutId id="2147486037" r:id="rId24"/>
    <p:sldLayoutId id="2147486038" r:id="rId25"/>
    <p:sldLayoutId id="2147486039" r:id="rId26"/>
    <p:sldLayoutId id="2147486040" r:id="rId27"/>
    <p:sldLayoutId id="2147486041" r:id="rId28"/>
    <p:sldLayoutId id="2147486042" r:id="rId29"/>
    <p:sldLayoutId id="2147486043" r:id="rId30"/>
    <p:sldLayoutId id="2147486044" r:id="rId31"/>
    <p:sldLayoutId id="2147486045" r:id="rId32"/>
    <p:sldLayoutId id="2147486046" r:id="rId33"/>
  </p:sldLayoutIdLst>
  <p:transition>
    <p:fade/>
  </p:transition>
  <p:hf hdr="0" dt="0"/>
  <p:txStyles>
    <p:titleStyle>
      <a:lvl1pPr algn="l" defTabSz="914093" rtl="0" eaLnBrk="1" latinLnBrk="0" hangingPunct="1">
        <a:lnSpc>
          <a:spcPct val="90000"/>
        </a:lnSpc>
        <a:spcBef>
          <a:spcPct val="0"/>
        </a:spcBef>
        <a:buNone/>
        <a:defRPr lang="en-US" sz="2744"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2352" kern="1200" spc="-49" baseline="0">
          <a:solidFill>
            <a:srgbClr val="000000"/>
          </a:solidFill>
          <a:latin typeface="+mj-lt"/>
          <a:ea typeface="+mn-ea"/>
          <a:cs typeface="+mn-cs"/>
        </a:defRPr>
      </a:lvl1pPr>
      <a:lvl2pPr marL="0" marR="0" indent="0" algn="l" defTabSz="914093" rtl="0" eaLnBrk="1" fontAlgn="auto" latinLnBrk="0" hangingPunct="1">
        <a:lnSpc>
          <a:spcPct val="100000"/>
        </a:lnSpc>
        <a:spcBef>
          <a:spcPts val="0"/>
        </a:spcBef>
        <a:spcAft>
          <a:spcPts val="0"/>
        </a:spcAft>
        <a:buClrTx/>
        <a:buSzPct val="90000"/>
        <a:buFontTx/>
        <a:buNone/>
        <a:tabLst/>
        <a:defRPr sz="1960" kern="1200" spc="0" baseline="0">
          <a:solidFill>
            <a:srgbClr val="000000"/>
          </a:solidFill>
          <a:latin typeface="+mn-lt"/>
          <a:ea typeface="+mn-ea"/>
          <a:cs typeface="+mn-cs"/>
        </a:defRPr>
      </a:lvl2pPr>
      <a:lvl3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230" indent="0" algn="l" defTabSz="914093" rtl="0" eaLnBrk="1" latinLnBrk="0" hangingPunct="1">
        <a:spcBef>
          <a:spcPct val="20000"/>
        </a:spcBef>
        <a:buFont typeface="Arial" pitchFamily="34" charset="0"/>
        <a:buNone/>
        <a:defRPr sz="1960" kern="1200">
          <a:solidFill>
            <a:schemeClr val="tx1"/>
          </a:solidFill>
          <a:latin typeface="+mn-lt"/>
          <a:ea typeface="+mn-ea"/>
          <a:cs typeface="+mn-cs"/>
        </a:defRPr>
      </a:lvl6pPr>
      <a:lvl7pPr marL="0" indent="0" algn="l" defTabSz="914093"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80" y="3012392"/>
            <a:ext cx="6858623" cy="833218"/>
          </a:xfrm>
          <a:prstGeom prst="rect">
            <a:avLst/>
          </a:prstGeom>
        </p:spPr>
      </p:pic>
    </p:spTree>
    <p:extLst>
      <p:ext uri="{BB962C8B-B14F-4D97-AF65-F5344CB8AC3E}">
        <p14:creationId xmlns:p14="http://schemas.microsoft.com/office/powerpoint/2010/main" val="1805966571"/>
      </p:ext>
    </p:extLst>
  </p:cSld>
  <p:clrMap bg1="lt1" tx1="dk1" bg2="lt2" tx2="dk2" accent1="accent1" accent2="accent2" accent3="accent3" accent4="accent4" accent5="accent5" accent6="accent6" hlink="hlink" folHlink="folHlink"/>
  <p:sldLayoutIdLst>
    <p:sldLayoutId id="2147486048" r:id="rId1"/>
    <p:sldLayoutId id="2147486049" r:id="rId2"/>
    <p:sldLayoutId id="2147486050" r:id="rId3"/>
    <p:sldLayoutId id="2147486051" r:id="rId4"/>
    <p:sldLayoutId id="2147486052" r:id="rId5"/>
    <p:sldLayoutId id="2147486053" r:id="rId6"/>
    <p:sldLayoutId id="2147486054" r:id="rId7"/>
    <p:sldLayoutId id="2147486055" r:id="rId8"/>
    <p:sldLayoutId id="2147486056" r:id="rId9"/>
    <p:sldLayoutId id="2147486057" r:id="rId10"/>
    <p:sldLayoutId id="2147486058" r:id="rId11"/>
    <p:sldLayoutId id="2147486059" r:id="rId12"/>
    <p:sldLayoutId id="2147486060" r:id="rId13"/>
    <p:sldLayoutId id="2147486061" r:id="rId14"/>
    <p:sldLayoutId id="2147486063" r:id="rId15"/>
    <p:sldLayoutId id="2147486064" r:id="rId16"/>
    <p:sldLayoutId id="2147486065" r:id="rId17"/>
    <p:sldLayoutId id="2147486066" r:id="rId18"/>
    <p:sldLayoutId id="2147486067" r:id="rId19"/>
    <p:sldLayoutId id="2147486068" r:id="rId20"/>
  </p:sldLayoutIdLst>
  <p:transition>
    <p:fade/>
  </p:transition>
  <p:hf hdr="0" ftr="0" dt="0"/>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Segoe UI" panose="020B0502040204020203" pitchFamily="34" charset="0"/>
          <a:ea typeface="+mn-ea"/>
          <a:cs typeface="Segoe UI" pitchFamily="34" charset="0"/>
        </a:defRPr>
      </a:lvl1pPr>
    </p:titleStyle>
    <p:bodyStyle>
      <a:lvl1pPr marL="224030"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Segoe UI" panose="020B0502040204020203" pitchFamily="34" charset="0"/>
          <a:ea typeface="+mn-ea"/>
          <a:cs typeface="+mn-cs"/>
        </a:defRPr>
      </a:lvl1pPr>
      <a:lvl2pPr marL="448059"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4" kern="1200" spc="0" baseline="0">
          <a:gradFill>
            <a:gsLst>
              <a:gs pos="1250">
                <a:schemeClr val="tx1"/>
              </a:gs>
              <a:gs pos="100000">
                <a:schemeClr val="tx1"/>
              </a:gs>
            </a:gsLst>
            <a:lin ang="5400000" scaled="0"/>
          </a:gradFill>
          <a:latin typeface="Segoe UI" panose="020B0502040204020203" pitchFamily="34" charset="0"/>
          <a:ea typeface="+mn-ea"/>
          <a:cs typeface="+mn-cs"/>
        </a:defRPr>
      </a:lvl2pPr>
      <a:lvl3pPr marL="672088"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Segoe UI" panose="020B0502040204020203" pitchFamily="34" charset="0"/>
          <a:ea typeface="+mn-ea"/>
          <a:cs typeface="+mn-cs"/>
        </a:defRPr>
      </a:lvl3pPr>
      <a:lvl4pPr marL="89611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4pPr>
      <a:lvl5pPr marL="112014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4089279386"/>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 id="2147486093" r:id="rId24"/>
    <p:sldLayoutId id="2147486094" r:id="rId25"/>
    <p:sldLayoutId id="2147486095" r:id="rId26"/>
    <p:sldLayoutId id="2147486096" r:id="rId27"/>
    <p:sldLayoutId id="2147486097" r:id="rId28"/>
    <p:sldLayoutId id="2147486098" r:id="rId29"/>
    <p:sldLayoutId id="2147486099" r:id="rId30"/>
    <p:sldLayoutId id="2147486100" r:id="rId31"/>
    <p:sldLayoutId id="2147486101" r:id="rId32"/>
    <p:sldLayoutId id="2147486103" r:id="rId33"/>
    <p:sldLayoutId id="2147486104" r:id="rId34"/>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80" y="3012392"/>
            <a:ext cx="6858623" cy="833218"/>
          </a:xfrm>
          <a:prstGeom prst="rect">
            <a:avLst/>
          </a:prstGeom>
        </p:spPr>
      </p:pic>
    </p:spTree>
    <p:extLst>
      <p:ext uri="{BB962C8B-B14F-4D97-AF65-F5344CB8AC3E}">
        <p14:creationId xmlns:p14="http://schemas.microsoft.com/office/powerpoint/2010/main" val="42048041"/>
      </p:ext>
    </p:extLst>
  </p:cSld>
  <p:clrMap bg1="lt1" tx1="dk1" bg2="lt2" tx2="dk2" accent1="accent1" accent2="accent2" accent3="accent3" accent4="accent4" accent5="accent5" accent6="accent6" hlink="hlink" folHlink="folHlink"/>
  <p:sldLayoutIdLst>
    <p:sldLayoutId id="2147486106" r:id="rId1"/>
    <p:sldLayoutId id="2147486107" r:id="rId2"/>
    <p:sldLayoutId id="2147486108" r:id="rId3"/>
    <p:sldLayoutId id="2147486109" r:id="rId4"/>
    <p:sldLayoutId id="2147486110" r:id="rId5"/>
    <p:sldLayoutId id="2147486111" r:id="rId6"/>
    <p:sldLayoutId id="2147486112" r:id="rId7"/>
    <p:sldLayoutId id="2147486113" r:id="rId8"/>
    <p:sldLayoutId id="2147486114" r:id="rId9"/>
    <p:sldLayoutId id="2147486115" r:id="rId10"/>
    <p:sldLayoutId id="2147486116" r:id="rId11"/>
    <p:sldLayoutId id="2147486117" r:id="rId12"/>
    <p:sldLayoutId id="2147486118" r:id="rId13"/>
    <p:sldLayoutId id="2147486119" r:id="rId14"/>
    <p:sldLayoutId id="2147486120" r:id="rId15"/>
    <p:sldLayoutId id="2147486121" r:id="rId16"/>
    <p:sldLayoutId id="2147486122" r:id="rId17"/>
    <p:sldLayoutId id="2147486123" r:id="rId18"/>
    <p:sldLayoutId id="2147486124" r:id="rId19"/>
    <p:sldLayoutId id="2147486125" r:id="rId20"/>
    <p:sldLayoutId id="2147486126" r:id="rId21"/>
  </p:sldLayoutIdLst>
  <p:transition>
    <p:fade/>
  </p:transition>
  <p:hf hdr="0" ftr="0" dt="0"/>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Segoe UI" panose="020B0502040204020203" pitchFamily="34" charset="0"/>
          <a:ea typeface="+mn-ea"/>
          <a:cs typeface="Segoe UI" pitchFamily="34" charset="0"/>
        </a:defRPr>
      </a:lvl1pPr>
    </p:titleStyle>
    <p:bodyStyle>
      <a:lvl1pPr marL="224030"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Segoe UI" panose="020B0502040204020203" pitchFamily="34" charset="0"/>
          <a:ea typeface="+mn-ea"/>
          <a:cs typeface="+mn-cs"/>
        </a:defRPr>
      </a:lvl1pPr>
      <a:lvl2pPr marL="448059"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4" kern="1200" spc="0" baseline="0">
          <a:gradFill>
            <a:gsLst>
              <a:gs pos="1250">
                <a:schemeClr val="tx1"/>
              </a:gs>
              <a:gs pos="100000">
                <a:schemeClr val="tx1"/>
              </a:gs>
            </a:gsLst>
            <a:lin ang="5400000" scaled="0"/>
          </a:gradFill>
          <a:latin typeface="Segoe UI" panose="020B0502040204020203" pitchFamily="34" charset="0"/>
          <a:ea typeface="+mn-ea"/>
          <a:cs typeface="+mn-cs"/>
        </a:defRPr>
      </a:lvl2pPr>
      <a:lvl3pPr marL="672088"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Segoe UI" panose="020B0502040204020203" pitchFamily="34" charset="0"/>
          <a:ea typeface="+mn-ea"/>
          <a:cs typeface="+mn-cs"/>
        </a:defRPr>
      </a:lvl3pPr>
      <a:lvl4pPr marL="89611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4pPr>
      <a:lvl5pPr marL="112014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472932082"/>
      </p:ext>
    </p:extLst>
  </p:cSld>
  <p:clrMap bg1="lt1" tx1="dk1" bg2="lt2" tx2="dk2" accent1="accent1" accent2="accent2" accent3="accent3" accent4="accent4" accent5="accent5" accent6="accent6" hlink="hlink" folHlink="folHlink"/>
  <p:sldLayoutIdLst>
    <p:sldLayoutId id="2147486128" r:id="rId1"/>
    <p:sldLayoutId id="2147486129" r:id="rId2"/>
    <p:sldLayoutId id="2147486130" r:id="rId3"/>
    <p:sldLayoutId id="2147486131" r:id="rId4"/>
    <p:sldLayoutId id="2147486132" r:id="rId5"/>
    <p:sldLayoutId id="2147486133" r:id="rId6"/>
    <p:sldLayoutId id="2147486134" r:id="rId7"/>
    <p:sldLayoutId id="2147486135" r:id="rId8"/>
    <p:sldLayoutId id="2147486136" r:id="rId9"/>
    <p:sldLayoutId id="2147486137" r:id="rId10"/>
    <p:sldLayoutId id="2147486138" r:id="rId11"/>
    <p:sldLayoutId id="2147486139" r:id="rId12"/>
    <p:sldLayoutId id="2147486140" r:id="rId13"/>
    <p:sldLayoutId id="2147486141" r:id="rId14"/>
    <p:sldLayoutId id="2147486142" r:id="rId15"/>
    <p:sldLayoutId id="2147486143" r:id="rId16"/>
    <p:sldLayoutId id="2147486144" r:id="rId17"/>
    <p:sldLayoutId id="2147486145" r:id="rId18"/>
    <p:sldLayoutId id="2147486146" r:id="rId19"/>
    <p:sldLayoutId id="2147486147" r:id="rId20"/>
    <p:sldLayoutId id="2147486148" r:id="rId21"/>
    <p:sldLayoutId id="2147486149" r:id="rId22"/>
    <p:sldLayoutId id="2147486150" r:id="rId23"/>
    <p:sldLayoutId id="2147486151" r:id="rId24"/>
    <p:sldLayoutId id="2147486152" r:id="rId25"/>
    <p:sldLayoutId id="2147486153" r:id="rId26"/>
    <p:sldLayoutId id="2147486154" r:id="rId27"/>
    <p:sldLayoutId id="2147486155" r:id="rId28"/>
    <p:sldLayoutId id="2147486156" r:id="rId29"/>
    <p:sldLayoutId id="2147486157" r:id="rId30"/>
    <p:sldLayoutId id="2147486158" r:id="rId31"/>
    <p:sldLayoutId id="2147486159" r:id="rId32"/>
    <p:sldLayoutId id="2147486160" r:id="rId33"/>
    <p:sldLayoutId id="2147486161" r:id="rId34"/>
    <p:sldLayoutId id="2147486162" r:id="rId35"/>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pic>
        <p:nvPicPr>
          <p:cNvPr id="6" name="Picture 5">
            <a:extLst>
              <a:ext uri="{FF2B5EF4-FFF2-40B4-BE49-F238E27FC236}">
                <a16:creationId xmlns:a16="http://schemas.microsoft.com/office/drawing/2014/main" id="{C5207DFE-8813-4D3D-9F64-52EE12EA563C}"/>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0729968" y="109022"/>
            <a:ext cx="1335673" cy="190278"/>
          </a:xfrm>
          <a:prstGeom prst="rect">
            <a:avLst/>
          </a:prstGeom>
        </p:spPr>
      </p:pic>
    </p:spTree>
    <p:extLst>
      <p:ext uri="{BB962C8B-B14F-4D97-AF65-F5344CB8AC3E}">
        <p14:creationId xmlns:p14="http://schemas.microsoft.com/office/powerpoint/2010/main" val="4109590814"/>
      </p:ext>
    </p:extLst>
  </p:cSld>
  <p:clrMap bg1="lt1" tx1="dk1" bg2="lt2" tx2="dk2" accent1="accent1" accent2="accent2" accent3="accent3" accent4="accent4" accent5="accent5" accent6="accent6" hlink="hlink" folHlink="folHlink"/>
  <p:sldLayoutIdLst>
    <p:sldLayoutId id="2147486164" r:id="rId1"/>
    <p:sldLayoutId id="2147486165" r:id="rId2"/>
    <p:sldLayoutId id="2147486166" r:id="rId3"/>
    <p:sldLayoutId id="2147486167" r:id="rId4"/>
    <p:sldLayoutId id="2147486168" r:id="rId5"/>
    <p:sldLayoutId id="2147486169" r:id="rId6"/>
    <p:sldLayoutId id="2147486170" r:id="rId7"/>
    <p:sldLayoutId id="2147486171" r:id="rId8"/>
    <p:sldLayoutId id="2147486172" r:id="rId9"/>
    <p:sldLayoutId id="2147486174" r:id="rId10"/>
    <p:sldLayoutId id="2147486175" r:id="rId11"/>
    <p:sldLayoutId id="2147486176" r:id="rId12"/>
    <p:sldLayoutId id="2147486177" r:id="rId13"/>
    <p:sldLayoutId id="2147486178" r:id="rId14"/>
    <p:sldLayoutId id="2147486179" r:id="rId15"/>
    <p:sldLayoutId id="2147486180" r:id="rId16"/>
    <p:sldLayoutId id="2147486182" r:id="rId17"/>
    <p:sldLayoutId id="2147486183" r:id="rId18"/>
    <p:sldLayoutId id="2147486184" r:id="rId19"/>
    <p:sldLayoutId id="2147486185" r:id="rId20"/>
    <p:sldLayoutId id="2147486186" r:id="rId21"/>
    <p:sldLayoutId id="2147486187" r:id="rId22"/>
    <p:sldLayoutId id="2147486188" r:id="rId23"/>
  </p:sldLayoutIdLst>
  <p:transition>
    <p:fade/>
  </p:transition>
  <p:hf sldNum="0" hdr="0" ft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8810929"/>
      </p:ext>
    </p:extLst>
  </p:cSld>
  <p:clrMap bg1="lt1" tx1="dk1" bg2="lt2" tx2="dk2" accent1="accent1" accent2="accent2" accent3="accent3" accent4="accent4" accent5="accent5" accent6="accent6" hlink="hlink" folHlink="folHlink"/>
  <p:sldLayoutIdLst>
    <p:sldLayoutId id="2147486190" r:id="rId1"/>
    <p:sldLayoutId id="2147486191" r:id="rId2"/>
    <p:sldLayoutId id="2147486192" r:id="rId3"/>
    <p:sldLayoutId id="2147486193" r:id="rId4"/>
    <p:sldLayoutId id="2147486194" r:id="rId5"/>
    <p:sldLayoutId id="2147486195" r:id="rId6"/>
    <p:sldLayoutId id="2147486196" r:id="rId7"/>
    <p:sldLayoutId id="2147486197" r:id="rId8"/>
    <p:sldLayoutId id="2147486198" r:id="rId9"/>
    <p:sldLayoutId id="2147486199" r:id="rId10"/>
    <p:sldLayoutId id="2147486200" r:id="rId11"/>
    <p:sldLayoutId id="2147486201" r:id="rId12"/>
    <p:sldLayoutId id="2147486202" r:id="rId13"/>
    <p:sldLayoutId id="2147486203" r:id="rId14"/>
    <p:sldLayoutId id="2147486204" r:id="rId15"/>
    <p:sldLayoutId id="2147486205" r:id="rId16"/>
    <p:sldLayoutId id="2147486206" r:id="rId17"/>
    <p:sldLayoutId id="2147486207" r:id="rId18"/>
    <p:sldLayoutId id="2147486208" r:id="rId19"/>
    <p:sldLayoutId id="2147486209" r:id="rId20"/>
    <p:sldLayoutId id="2147486210" r:id="rId21"/>
    <p:sldLayoutId id="2147486211" r:id="rId22"/>
    <p:sldLayoutId id="2147486212" r:id="rId23"/>
    <p:sldLayoutId id="2147486213" r:id="rId24"/>
    <p:sldLayoutId id="2147486214" r:id="rId25"/>
    <p:sldLayoutId id="2147486215" r:id="rId26"/>
    <p:sldLayoutId id="2147486216" r:id="rId27"/>
    <p:sldLayoutId id="2147486217" r:id="rId28"/>
    <p:sldLayoutId id="2147486218" r:id="rId29"/>
    <p:sldLayoutId id="2147486219" r:id="rId30"/>
    <p:sldLayoutId id="2147486220" r:id="rId31"/>
    <p:sldLayoutId id="2147486221" r:id="rId32"/>
    <p:sldLayoutId id="2147486222" r:id="rId33"/>
    <p:sldLayoutId id="2147486223" r:id="rId34"/>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63643344"/>
      </p:ext>
    </p:extLst>
  </p:cSld>
  <p:clrMap bg1="dk1" tx1="lt1" bg2="dk2"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pic>
        <p:nvPicPr>
          <p:cNvPr id="7" name="Picture 6"/>
          <p:cNvPicPr>
            <a:picLocks noChangeAspect="1"/>
          </p:cNvPicPr>
          <p:nvPr userDrawn="1"/>
        </p:nvPicPr>
        <p:blipFill>
          <a:blip r:embed="rId57"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32375648"/>
      </p:ext>
    </p:extLst>
  </p:cSld>
  <p:clrMap bg1="lt1" tx1="dk1" bg2="lt2" tx2="dk2" accent1="accent1" accent2="accent2" accent3="accent3" accent4="accent4" accent5="accent5" accent6="accent6" hlink="hlink" folHlink="folHlink"/>
  <p:sldLayoutIdLst>
    <p:sldLayoutId id="2147486226" r:id="rId1"/>
    <p:sldLayoutId id="2147486227" r:id="rId2"/>
    <p:sldLayoutId id="2147486228" r:id="rId3"/>
    <p:sldLayoutId id="2147486229" r:id="rId4"/>
    <p:sldLayoutId id="2147486230" r:id="rId5"/>
    <p:sldLayoutId id="2147486231" r:id="rId6"/>
    <p:sldLayoutId id="2147486232" r:id="rId7"/>
    <p:sldLayoutId id="2147486233" r:id="rId8"/>
    <p:sldLayoutId id="2147486234" r:id="rId9"/>
    <p:sldLayoutId id="2147486235" r:id="rId10"/>
    <p:sldLayoutId id="2147486236" r:id="rId11"/>
    <p:sldLayoutId id="2147486237" r:id="rId12"/>
    <p:sldLayoutId id="2147486238" r:id="rId13"/>
    <p:sldLayoutId id="2147486239" r:id="rId14"/>
    <p:sldLayoutId id="2147486240" r:id="rId15"/>
    <p:sldLayoutId id="2147486241" r:id="rId16"/>
    <p:sldLayoutId id="2147486242" r:id="rId17"/>
    <p:sldLayoutId id="2147486243" r:id="rId18"/>
    <p:sldLayoutId id="2147486244" r:id="rId19"/>
    <p:sldLayoutId id="2147486245" r:id="rId20"/>
    <p:sldLayoutId id="2147486246" r:id="rId21"/>
    <p:sldLayoutId id="2147486247" r:id="rId22"/>
    <p:sldLayoutId id="2147486248" r:id="rId23"/>
    <p:sldLayoutId id="2147486249" r:id="rId24"/>
    <p:sldLayoutId id="2147486250" r:id="rId25"/>
    <p:sldLayoutId id="2147486251" r:id="rId26"/>
    <p:sldLayoutId id="2147486252" r:id="rId27"/>
    <p:sldLayoutId id="2147486253" r:id="rId28"/>
    <p:sldLayoutId id="2147486254" r:id="rId29"/>
    <p:sldLayoutId id="2147486255" r:id="rId30"/>
    <p:sldLayoutId id="2147486256" r:id="rId31"/>
    <p:sldLayoutId id="2147486257" r:id="rId32"/>
    <p:sldLayoutId id="2147486258" r:id="rId33"/>
    <p:sldLayoutId id="2147486259" r:id="rId34"/>
    <p:sldLayoutId id="2147486260" r:id="rId35"/>
    <p:sldLayoutId id="2147486261" r:id="rId36"/>
    <p:sldLayoutId id="2147486262" r:id="rId37"/>
    <p:sldLayoutId id="2147486263" r:id="rId38"/>
    <p:sldLayoutId id="2147486264" r:id="rId39"/>
    <p:sldLayoutId id="2147486265" r:id="rId40"/>
    <p:sldLayoutId id="2147486266" r:id="rId41"/>
    <p:sldLayoutId id="2147486267" r:id="rId42"/>
    <p:sldLayoutId id="2147486268" r:id="rId43"/>
    <p:sldLayoutId id="2147486269" r:id="rId44"/>
    <p:sldLayoutId id="2147486270" r:id="rId45"/>
    <p:sldLayoutId id="2147486271" r:id="rId46"/>
    <p:sldLayoutId id="2147486272" r:id="rId47"/>
    <p:sldLayoutId id="2147486273" r:id="rId48"/>
    <p:sldLayoutId id="2147486274" r:id="rId49"/>
    <p:sldLayoutId id="2147486275" r:id="rId50"/>
    <p:sldLayoutId id="2147486276" r:id="rId51"/>
    <p:sldLayoutId id="2147486277" r:id="rId52"/>
    <p:sldLayoutId id="2147486278" r:id="rId53"/>
    <p:sldLayoutId id="2147486279" r:id="rId54"/>
    <p:sldLayoutId id="2147486280" r:id="rId55"/>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3250683245"/>
      </p:ext>
    </p:extLst>
  </p:cSld>
  <p:clrMap bg1="lt1" tx1="dk1" bg2="lt2" tx2="dk2" accent1="accent1" accent2="accent2" accent3="accent3" accent4="accent4" accent5="accent5" accent6="accent6" hlink="hlink" folHlink="folHlink"/>
  <p:sldLayoutIdLst>
    <p:sldLayoutId id="2147486282" r:id="rId1"/>
    <p:sldLayoutId id="2147486283" r:id="rId2"/>
    <p:sldLayoutId id="2147486284" r:id="rId3"/>
    <p:sldLayoutId id="2147486285" r:id="rId4"/>
    <p:sldLayoutId id="2147486286" r:id="rId5"/>
    <p:sldLayoutId id="2147486287" r:id="rId6"/>
    <p:sldLayoutId id="2147486288" r:id="rId7"/>
    <p:sldLayoutId id="2147486289" r:id="rId8"/>
    <p:sldLayoutId id="2147486290" r:id="rId9"/>
    <p:sldLayoutId id="2147486291" r:id="rId10"/>
    <p:sldLayoutId id="2147486292" r:id="rId11"/>
    <p:sldLayoutId id="2147486293" r:id="rId12"/>
    <p:sldLayoutId id="2147486294" r:id="rId13"/>
    <p:sldLayoutId id="2147486295" r:id="rId14"/>
    <p:sldLayoutId id="2147486296" r:id="rId15"/>
    <p:sldLayoutId id="2147486297" r:id="rId16"/>
    <p:sldLayoutId id="2147486298" r:id="rId17"/>
    <p:sldLayoutId id="2147486299" r:id="rId18"/>
    <p:sldLayoutId id="2147486300" r:id="rId19"/>
    <p:sldLayoutId id="2147486301" r:id="rId20"/>
    <p:sldLayoutId id="2147486302" r:id="rId21"/>
    <p:sldLayoutId id="2147486303" r:id="rId22"/>
    <p:sldLayoutId id="2147486304" r:id="rId23"/>
    <p:sldLayoutId id="2147486305" r:id="rId24"/>
    <p:sldLayoutId id="2147486306" r:id="rId25"/>
    <p:sldLayoutId id="2147486307" r:id="rId26"/>
    <p:sldLayoutId id="2147486308" r:id="rId27"/>
    <p:sldLayoutId id="2147486309" r:id="rId28"/>
    <p:sldLayoutId id="2147486310" r:id="rId29"/>
    <p:sldLayoutId id="2147486311" r:id="rId30"/>
    <p:sldLayoutId id="2147486312" r:id="rId31"/>
    <p:sldLayoutId id="2147486313" r:id="rId32"/>
    <p:sldLayoutId id="2147486315" r:id="rId3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042194"/>
      </p:ext>
    </p:extLst>
  </p:cSld>
  <p:clrMap bg1="lt1" tx1="dk1" bg2="lt2" tx2="dk2" accent1="accent1" accent2="accent2" accent3="accent3" accent4="accent4" accent5="accent5" accent6="accent6" hlink="hlink" folHlink="folHlink"/>
  <p:sldLayoutIdLst>
    <p:sldLayoutId id="2147486317" r:id="rId1"/>
    <p:sldLayoutId id="2147486318" r:id="rId2"/>
    <p:sldLayoutId id="2147486319" r:id="rId3"/>
    <p:sldLayoutId id="2147486320" r:id="rId4"/>
    <p:sldLayoutId id="2147486321" r:id="rId5"/>
    <p:sldLayoutId id="2147486322" r:id="rId6"/>
    <p:sldLayoutId id="2147486323" r:id="rId7"/>
    <p:sldLayoutId id="2147486324" r:id="rId8"/>
    <p:sldLayoutId id="2147486325" r:id="rId9"/>
    <p:sldLayoutId id="2147486326" r:id="rId10"/>
    <p:sldLayoutId id="2147486327" r:id="rId11"/>
    <p:sldLayoutId id="2147486330" r:id="rId12"/>
    <p:sldLayoutId id="2147486331" r:id="rId13"/>
  </p:sldLayoutIdLst>
  <p:txStyles>
    <p:titleStyle>
      <a:lvl1pPr algn="l" defTabSz="457109" rtl="0" eaLnBrk="1" latinLnBrk="0" hangingPunct="1">
        <a:lnSpc>
          <a:spcPct val="90000"/>
        </a:lnSpc>
        <a:spcBef>
          <a:spcPct val="0"/>
        </a:spcBef>
        <a:buNone/>
        <a:defRPr sz="2200" kern="1200">
          <a:solidFill>
            <a:schemeClr val="tx1"/>
          </a:solidFill>
          <a:latin typeface="+mj-lt"/>
          <a:ea typeface="+mj-ea"/>
          <a:cs typeface="+mj-cs"/>
        </a:defRPr>
      </a:lvl1pPr>
    </p:titleStyle>
    <p:bodyStyle>
      <a:lvl1pPr marL="114277" indent="-114277" algn="l" defTabSz="457109"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1pPr>
      <a:lvl2pPr marL="342831" indent="-114277" algn="l" defTabSz="457109" rtl="0" eaLnBrk="1" latinLnBrk="0" hangingPunct="1">
        <a:lnSpc>
          <a:spcPct val="90000"/>
        </a:lnSpc>
        <a:spcBef>
          <a:spcPts val="250"/>
        </a:spcBef>
        <a:buFont typeface="Arial" panose="020B0604020202020204" pitchFamily="34" charset="0"/>
        <a:buChar char="•"/>
        <a:defRPr sz="1200" kern="1200">
          <a:solidFill>
            <a:schemeClr val="tx1"/>
          </a:solidFill>
          <a:latin typeface="+mn-lt"/>
          <a:ea typeface="+mn-ea"/>
          <a:cs typeface="+mn-cs"/>
        </a:defRPr>
      </a:lvl2pPr>
      <a:lvl3pPr marL="571386" indent="-114277" algn="l" defTabSz="457109" rtl="0" eaLnBrk="1" latinLnBrk="0" hangingPunct="1">
        <a:lnSpc>
          <a:spcPct val="90000"/>
        </a:lnSpc>
        <a:spcBef>
          <a:spcPts val="250"/>
        </a:spcBef>
        <a:buFont typeface="Arial" panose="020B0604020202020204" pitchFamily="34" charset="0"/>
        <a:buChar char="•"/>
        <a:defRPr sz="1000" kern="1200">
          <a:solidFill>
            <a:schemeClr val="tx1"/>
          </a:solidFill>
          <a:latin typeface="+mn-lt"/>
          <a:ea typeface="+mn-ea"/>
          <a:cs typeface="+mn-cs"/>
        </a:defRPr>
      </a:lvl3pPr>
      <a:lvl4pPr marL="799940"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4pPr>
      <a:lvl5pPr marL="1028494"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p:bodyStyle>
    <p:otherStyle>
      <a:defPPr>
        <a:defRPr lang="en-US"/>
      </a:defPPr>
      <a:lvl1pPr marL="0" algn="l" defTabSz="457109" rtl="0" eaLnBrk="1" latinLnBrk="0" hangingPunct="1">
        <a:defRPr sz="900" kern="1200">
          <a:solidFill>
            <a:schemeClr val="tx1"/>
          </a:solidFill>
          <a:latin typeface="+mn-lt"/>
          <a:ea typeface="+mn-ea"/>
          <a:cs typeface="+mn-cs"/>
        </a:defRPr>
      </a:lvl1pPr>
      <a:lvl2pPr marL="228554" algn="l" defTabSz="457109" rtl="0" eaLnBrk="1" latinLnBrk="0" hangingPunct="1">
        <a:defRPr sz="900" kern="1200">
          <a:solidFill>
            <a:schemeClr val="tx1"/>
          </a:solidFill>
          <a:latin typeface="+mn-lt"/>
          <a:ea typeface="+mn-ea"/>
          <a:cs typeface="+mn-cs"/>
        </a:defRPr>
      </a:lvl2pPr>
      <a:lvl3pPr marL="457109" algn="l" defTabSz="457109" rtl="0" eaLnBrk="1" latinLnBrk="0" hangingPunct="1">
        <a:defRPr sz="900" kern="1200">
          <a:solidFill>
            <a:schemeClr val="tx1"/>
          </a:solidFill>
          <a:latin typeface="+mn-lt"/>
          <a:ea typeface="+mn-ea"/>
          <a:cs typeface="+mn-cs"/>
        </a:defRPr>
      </a:lvl3pPr>
      <a:lvl4pPr marL="685663" algn="l" defTabSz="457109" rtl="0" eaLnBrk="1" latinLnBrk="0" hangingPunct="1">
        <a:defRPr sz="900" kern="1200">
          <a:solidFill>
            <a:schemeClr val="tx1"/>
          </a:solidFill>
          <a:latin typeface="+mn-lt"/>
          <a:ea typeface="+mn-ea"/>
          <a:cs typeface="+mn-cs"/>
        </a:defRPr>
      </a:lvl4pPr>
      <a:lvl5pPr marL="914217" algn="l" defTabSz="457109" rtl="0" eaLnBrk="1" latinLnBrk="0" hangingPunct="1">
        <a:defRPr sz="900" kern="1200">
          <a:solidFill>
            <a:schemeClr val="tx1"/>
          </a:solidFill>
          <a:latin typeface="+mn-lt"/>
          <a:ea typeface="+mn-ea"/>
          <a:cs typeface="+mn-cs"/>
        </a:defRPr>
      </a:lvl5pPr>
      <a:lvl6pPr marL="1142771" algn="l" defTabSz="457109" rtl="0" eaLnBrk="1" latinLnBrk="0" hangingPunct="1">
        <a:defRPr sz="900" kern="1200">
          <a:solidFill>
            <a:schemeClr val="tx1"/>
          </a:solidFill>
          <a:latin typeface="+mn-lt"/>
          <a:ea typeface="+mn-ea"/>
          <a:cs typeface="+mn-cs"/>
        </a:defRPr>
      </a:lvl6pPr>
      <a:lvl7pPr marL="1371326" algn="l" defTabSz="457109" rtl="0" eaLnBrk="1" latinLnBrk="0" hangingPunct="1">
        <a:defRPr sz="900" kern="1200">
          <a:solidFill>
            <a:schemeClr val="tx1"/>
          </a:solidFill>
          <a:latin typeface="+mn-lt"/>
          <a:ea typeface="+mn-ea"/>
          <a:cs typeface="+mn-cs"/>
        </a:defRPr>
      </a:lvl7pPr>
      <a:lvl8pPr marL="1599880" algn="l" defTabSz="457109" rtl="0" eaLnBrk="1" latinLnBrk="0" hangingPunct="1">
        <a:defRPr sz="900" kern="1200">
          <a:solidFill>
            <a:schemeClr val="tx1"/>
          </a:solidFill>
          <a:latin typeface="+mn-lt"/>
          <a:ea typeface="+mn-ea"/>
          <a:cs typeface="+mn-cs"/>
        </a:defRPr>
      </a:lvl8pPr>
      <a:lvl9pPr marL="1828434" algn="l" defTabSz="457109" rtl="0" eaLnBrk="1" latinLnBrk="0" hangingPunct="1">
        <a:defRPr sz="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0">
          <p15:clr>
            <a:srgbClr val="F26B43"/>
          </p15:clr>
        </p15:guide>
        <p15:guide id="2" pos="3839">
          <p15:clr>
            <a:srgbClr val="F26B43"/>
          </p15:clr>
        </p15:guide>
        <p15:guide id="3" orient="horz" pos="2160">
          <p15:clr>
            <a:srgbClr val="F26B43"/>
          </p15:clr>
        </p15:guide>
        <p15:guide id="4" pos="359">
          <p15:clr>
            <a:srgbClr val="F26B43"/>
          </p15:clr>
        </p15:guide>
        <p15:guide id="5" orient="horz" pos="3960">
          <p15:clr>
            <a:srgbClr val="F26B43"/>
          </p15:clr>
        </p15:guide>
        <p15:guide id="6" pos="7319">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DAB22D-3CB6-4371-8DD9-FF4C6ADB22E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382F72A-1262-4D64-B717-076ED766CF3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3234B4-8978-413A-A5E5-898EE54783D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F5861996-D2DD-4923-AF35-37BF6F82AA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ICROSOFT CONFIDENTIAL</a:t>
            </a:r>
          </a:p>
        </p:txBody>
      </p:sp>
      <p:sp>
        <p:nvSpPr>
          <p:cNvPr id="6" name="Slide Number Placeholder 5">
            <a:extLst>
              <a:ext uri="{FF2B5EF4-FFF2-40B4-BE49-F238E27FC236}">
                <a16:creationId xmlns:a16="http://schemas.microsoft.com/office/drawing/2014/main" id="{F3146B73-0D0B-4F80-A82D-E0BE38E0B91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AF9413-55C7-460F-B90A-BAA18C6FA36E}" type="slidenum">
              <a:rPr lang="en-US" smtClean="0"/>
              <a:t>‹#›</a:t>
            </a:fld>
            <a:endParaRPr lang="en-US"/>
          </a:p>
        </p:txBody>
      </p:sp>
    </p:spTree>
    <p:extLst>
      <p:ext uri="{BB962C8B-B14F-4D97-AF65-F5344CB8AC3E}">
        <p14:creationId xmlns:p14="http://schemas.microsoft.com/office/powerpoint/2010/main" val="260198584"/>
      </p:ext>
    </p:extLst>
  </p:cSld>
  <p:clrMap bg1="lt1" tx1="dk1" bg2="lt2" tx2="dk2" accent1="accent1" accent2="accent2" accent3="accent3" accent4="accent4" accent5="accent5" accent6="accent6" hlink="hlink" folHlink="folHlink"/>
  <p:sldLayoutIdLst>
    <p:sldLayoutId id="2147486337" r:id="rId1"/>
    <p:sldLayoutId id="2147486338" r:id="rId2"/>
    <p:sldLayoutId id="2147486339" r:id="rId3"/>
    <p:sldLayoutId id="2147486340" r:id="rId4"/>
    <p:sldLayoutId id="2147486341" r:id="rId5"/>
    <p:sldLayoutId id="2147486342" r:id="rId6"/>
    <p:sldLayoutId id="2147486343" r:id="rId7"/>
    <p:sldLayoutId id="2147486344" r:id="rId8"/>
    <p:sldLayoutId id="2147486345" r:id="rId9"/>
    <p:sldLayoutId id="2147486346" r:id="rId10"/>
    <p:sldLayoutId id="2147486347" r:id="rId11"/>
    <p:sldLayoutId id="2147486348" r:id="rId12"/>
    <p:sldLayoutId id="2147486349" r:id="rId13"/>
    <p:sldLayoutId id="2147486350" r:id="rId14"/>
    <p:sldLayoutId id="2147486351" r:id="rId15"/>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95391048"/>
      </p:ext>
    </p:extLst>
  </p:cSld>
  <p:clrMap bg1="dk1" tx1="lt1" bg2="dk2" tx2="lt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3" r:id="rId15"/>
    <p:sldLayoutId id="2147485654" r:id="rId16"/>
    <p:sldLayoutId id="2147485655" r:id="rId17"/>
    <p:sldLayoutId id="2147485656" r:id="rId18"/>
    <p:sldLayoutId id="2147485657" r:id="rId19"/>
    <p:sldLayoutId id="2147485658" r:id="rId20"/>
    <p:sldLayoutId id="2147485659" r:id="rId21"/>
    <p:sldLayoutId id="2147485660" r:id="rId22"/>
    <p:sldLayoutId id="2147485661" r:id="rId23"/>
    <p:sldLayoutId id="2147485662" r:id="rId24"/>
    <p:sldLayoutId id="2147485663" r:id="rId25"/>
    <p:sldLayoutId id="2147485664" r:id="rId26"/>
    <p:sldLayoutId id="2147485665" r:id="rId27"/>
    <p:sldLayoutId id="2147485666" r:id="rId28"/>
    <p:sldLayoutId id="2147485667" r:id="rId29"/>
    <p:sldLayoutId id="2147485668" r:id="rId30"/>
    <p:sldLayoutId id="2147485669" r:id="rId31"/>
    <p:sldLayoutId id="2147485670" r:id="rId32"/>
    <p:sldLayoutId id="2147485671" r:id="rId33"/>
  </p:sldLayoutIdLst>
  <p:transition advClick="0" advTm="20000">
    <p:push dir="u"/>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756451558"/>
      </p:ext>
    </p:extLst>
  </p:cSld>
  <p:clrMap bg1="dk1" tx1="lt1" bg2="dk2" tx2="lt2" accent1="accent1" accent2="accent2" accent3="accent3" accent4="accent4" accent5="accent5" accent6="accent6" hlink="hlink" folHlink="folHlink"/>
  <p:sldLayoutIdLst>
    <p:sldLayoutId id="2147485673" r:id="rId1"/>
    <p:sldLayoutId id="2147485674" r:id="rId2"/>
    <p:sldLayoutId id="2147485675" r:id="rId3"/>
    <p:sldLayoutId id="2147485676" r:id="rId4"/>
    <p:sldLayoutId id="2147485677" r:id="rId5"/>
    <p:sldLayoutId id="2147485678" r:id="rId6"/>
    <p:sldLayoutId id="2147485679" r:id="rId7"/>
    <p:sldLayoutId id="2147485680" r:id="rId8"/>
    <p:sldLayoutId id="2147485681" r:id="rId9"/>
    <p:sldLayoutId id="2147485682" r:id="rId10"/>
    <p:sldLayoutId id="2147485683" r:id="rId11"/>
    <p:sldLayoutId id="2147485684" r:id="rId12"/>
    <p:sldLayoutId id="2147485685" r:id="rId13"/>
    <p:sldLayoutId id="2147485686" r:id="rId14"/>
    <p:sldLayoutId id="2147485687" r:id="rId15"/>
    <p:sldLayoutId id="2147485688" r:id="rId16"/>
    <p:sldLayoutId id="2147485689" r:id="rId17"/>
    <p:sldLayoutId id="2147485690" r:id="rId18"/>
    <p:sldLayoutId id="2147485691" r:id="rId19"/>
    <p:sldLayoutId id="2147485692" r:id="rId20"/>
    <p:sldLayoutId id="2147485693" r:id="rId21"/>
    <p:sldLayoutId id="2147485694" r:id="rId22"/>
    <p:sldLayoutId id="2147485695" r:id="rId23"/>
    <p:sldLayoutId id="2147485696" r:id="rId24"/>
    <p:sldLayoutId id="2147485697" r:id="rId25"/>
    <p:sldLayoutId id="2147485698" r:id="rId26"/>
    <p:sldLayoutId id="2147485699" r:id="rId27"/>
    <p:sldLayoutId id="2147485700" r:id="rId28"/>
    <p:sldLayoutId id="2147485701" r:id="rId29"/>
    <p:sldLayoutId id="2147485702" r:id="rId30"/>
    <p:sldLayoutId id="2147485703" r:id="rId31"/>
    <p:sldLayoutId id="2147485704" r:id="rId32"/>
    <p:sldLayoutId id="2147485705" r:id="rId33"/>
    <p:sldLayoutId id="2147485706" r:id="rId34"/>
    <p:sldLayoutId id="2147485707" r:id="rId35"/>
    <p:sldLayoutId id="2147485708" r:id="rId36"/>
    <p:sldLayoutId id="2147485709" r:id="rId37"/>
    <p:sldLayoutId id="2147485710" r:id="rId38"/>
    <p:sldLayoutId id="2147485711" r:id="rId39"/>
    <p:sldLayoutId id="2147485712" r:id="rId40"/>
    <p:sldLayoutId id="2147485713" r:id="rId41"/>
    <p:sldLayoutId id="2147485714"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272327239"/>
      </p:ext>
    </p:extLst>
  </p:cSld>
  <p:clrMap bg1="lt1" tx1="dk1" bg2="lt2" tx2="dk2" accent1="accent1" accent2="accent2" accent3="accent3" accent4="accent4" accent5="accent5" accent6="accent6" hlink="hlink" folHlink="folHlink"/>
  <p:sldLayoutIdLst>
    <p:sldLayoutId id="2147485733" r:id="rId1"/>
    <p:sldLayoutId id="2147485734" r:id="rId2"/>
    <p:sldLayoutId id="2147485735" r:id="rId3"/>
    <p:sldLayoutId id="2147485736" r:id="rId4"/>
    <p:sldLayoutId id="2147485737" r:id="rId5"/>
    <p:sldLayoutId id="2147485738" r:id="rId6"/>
    <p:sldLayoutId id="2147485739" r:id="rId7"/>
    <p:sldLayoutId id="2147485740" r:id="rId8"/>
    <p:sldLayoutId id="2147485741" r:id="rId9"/>
    <p:sldLayoutId id="2147485742" r:id="rId10"/>
    <p:sldLayoutId id="2147485743" r:id="rId11"/>
    <p:sldLayoutId id="2147485744" r:id="rId12"/>
    <p:sldLayoutId id="2147485745" r:id="rId13"/>
    <p:sldLayoutId id="2147485746" r:id="rId14"/>
    <p:sldLayoutId id="2147485747" r:id="rId15"/>
    <p:sldLayoutId id="2147485748" r:id="rId16"/>
    <p:sldLayoutId id="2147485749" r:id="rId17"/>
    <p:sldLayoutId id="2147485750" r:id="rId18"/>
    <p:sldLayoutId id="2147485751" r:id="rId19"/>
    <p:sldLayoutId id="2147485752" r:id="rId20"/>
    <p:sldLayoutId id="2147485753" r:id="rId21"/>
    <p:sldLayoutId id="2147485754" r:id="rId22"/>
    <p:sldLayoutId id="2147485755" r:id="rId23"/>
    <p:sldLayoutId id="2147485756" r:id="rId24"/>
    <p:sldLayoutId id="2147485757" r:id="rId25"/>
    <p:sldLayoutId id="2147485758" r:id="rId26"/>
    <p:sldLayoutId id="2147485759" r:id="rId27"/>
    <p:sldLayoutId id="2147485760" r:id="rId28"/>
    <p:sldLayoutId id="2147485761" r:id="rId29"/>
    <p:sldLayoutId id="2147485762" r:id="rId30"/>
    <p:sldLayoutId id="2147485763" r:id="rId31"/>
    <p:sldLayoutId id="2147485764" r:id="rId32"/>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055909823"/>
      </p:ext>
    </p:extLst>
  </p:cSld>
  <p:clrMap bg1="lt1" tx1="dk1" bg2="lt2" tx2="dk2" accent1="accent1" accent2="accent2" accent3="accent3" accent4="accent4" accent5="accent5" accent6="accent6" hlink="hlink" folHlink="folHlink"/>
  <p:sldLayoutIdLst>
    <p:sldLayoutId id="2147485766" r:id="rId1"/>
    <p:sldLayoutId id="2147485767" r:id="rId2"/>
    <p:sldLayoutId id="2147485768" r:id="rId3"/>
    <p:sldLayoutId id="2147485769" r:id="rId4"/>
    <p:sldLayoutId id="2147485770" r:id="rId5"/>
    <p:sldLayoutId id="2147485771" r:id="rId6"/>
    <p:sldLayoutId id="2147485772" r:id="rId7"/>
    <p:sldLayoutId id="2147485773" r:id="rId8"/>
    <p:sldLayoutId id="2147485774" r:id="rId9"/>
    <p:sldLayoutId id="2147485775" r:id="rId10"/>
    <p:sldLayoutId id="2147485776" r:id="rId11"/>
    <p:sldLayoutId id="2147485777" r:id="rId12"/>
    <p:sldLayoutId id="2147485778" r:id="rId13"/>
    <p:sldLayoutId id="2147485779" r:id="rId14"/>
    <p:sldLayoutId id="2147485780" r:id="rId15"/>
    <p:sldLayoutId id="2147485781" r:id="rId16"/>
    <p:sldLayoutId id="2147485782" r:id="rId17"/>
    <p:sldLayoutId id="2147485783" r:id="rId18"/>
    <p:sldLayoutId id="2147485784" r:id="rId19"/>
    <p:sldLayoutId id="2147485785" r:id="rId20"/>
    <p:sldLayoutId id="2147485786" r:id="rId21"/>
    <p:sldLayoutId id="2147485787" r:id="rId22"/>
    <p:sldLayoutId id="2147485788" r:id="rId23"/>
    <p:sldLayoutId id="2147485789" r:id="rId24"/>
    <p:sldLayoutId id="2147485790" r:id="rId25"/>
    <p:sldLayoutId id="2147485791" r:id="rId26"/>
    <p:sldLayoutId id="2147485792" r:id="rId27"/>
    <p:sldLayoutId id="2147485793" r:id="rId28"/>
    <p:sldLayoutId id="2147485794" r:id="rId29"/>
    <p:sldLayoutId id="2147485795" r:id="rId30"/>
    <p:sldLayoutId id="2147485796" r:id="rId31"/>
    <p:sldLayoutId id="2147485797" r:id="rId32"/>
    <p:sldLayoutId id="2147485798" r:id="rId33"/>
    <p:sldLayoutId id="2147485799" r:id="rId34"/>
    <p:sldLayoutId id="2147485800" r:id="rId35"/>
    <p:sldLayoutId id="2147485801" r:id="rId36"/>
    <p:sldLayoutId id="2147485802" r:id="rId37"/>
    <p:sldLayoutId id="2147485803" r:id="rId38"/>
    <p:sldLayoutId id="2147485804" r:id="rId39"/>
    <p:sldLayoutId id="2147485805" r:id="rId40"/>
    <p:sldLayoutId id="2147485806" r:id="rId41"/>
    <p:sldLayoutId id="2147485807"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8" name="Footer Placeholder 1">
            <a:extLst>
              <a:ext uri="{FF2B5EF4-FFF2-40B4-BE49-F238E27FC236}">
                <a16:creationId xmlns:a16="http://schemas.microsoft.com/office/drawing/2014/main" id="{F226ED0A-DDC2-4333-94E7-5488D76EDB31}"/>
              </a:ext>
            </a:extLst>
          </p:cNvPr>
          <p:cNvSpPr txBox="1">
            <a:spLocks/>
          </p:cNvSpPr>
          <p:nvPr userDrawn="1"/>
        </p:nvSpPr>
        <p:spPr>
          <a:xfrm>
            <a:off x="3453609" y="6626978"/>
            <a:ext cx="5279136"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a:solidFill>
                  <a:schemeClr val="tx1">
                    <a:alpha val="60000"/>
                  </a:schemeClr>
                </a:solidFill>
              </a:rPr>
              <a:t>MICROSOFT CONFIDENTIAL – NON-DISCLOSURE AGREEMENT REQUIRED</a:t>
            </a:r>
          </a:p>
        </p:txBody>
      </p:sp>
    </p:spTree>
    <p:extLst>
      <p:ext uri="{BB962C8B-B14F-4D97-AF65-F5344CB8AC3E}">
        <p14:creationId xmlns:p14="http://schemas.microsoft.com/office/powerpoint/2010/main" val="253988016"/>
      </p:ext>
    </p:extLst>
  </p:cSld>
  <p:clrMap bg1="dk1" tx1="lt1" bg2="dk2" tx2="lt2" accent1="accent1" accent2="accent2" accent3="accent3" accent4="accent4" accent5="accent5" accent6="accent6" hlink="hlink" folHlink="folHlink"/>
  <p:sldLayoutIdLst>
    <p:sldLayoutId id="2147485810" r:id="rId1"/>
    <p:sldLayoutId id="2147485811" r:id="rId2"/>
    <p:sldLayoutId id="2147485812" r:id="rId3"/>
    <p:sldLayoutId id="2147485813" r:id="rId4"/>
    <p:sldLayoutId id="2147485814" r:id="rId5"/>
    <p:sldLayoutId id="2147485815" r:id="rId6"/>
    <p:sldLayoutId id="2147485816" r:id="rId7"/>
    <p:sldLayoutId id="2147485817" r:id="rId8"/>
    <p:sldLayoutId id="2147485818" r:id="rId9"/>
    <p:sldLayoutId id="2147485819" r:id="rId10"/>
    <p:sldLayoutId id="2147485820" r:id="rId11"/>
    <p:sldLayoutId id="2147485821" r:id="rId12"/>
    <p:sldLayoutId id="2147485822" r:id="rId13"/>
    <p:sldLayoutId id="2147485823" r:id="rId14"/>
    <p:sldLayoutId id="2147485824" r:id="rId15"/>
    <p:sldLayoutId id="2147485825" r:id="rId16"/>
    <p:sldLayoutId id="2147485826" r:id="rId17"/>
    <p:sldLayoutId id="2147485827" r:id="rId18"/>
    <p:sldLayoutId id="2147485828" r:id="rId19"/>
    <p:sldLayoutId id="2147485829" r:id="rId20"/>
    <p:sldLayoutId id="2147485830" r:id="rId21"/>
    <p:sldLayoutId id="2147485831" r:id="rId22"/>
    <p:sldLayoutId id="2147485832" r:id="rId23"/>
    <p:sldLayoutId id="2147485833" r:id="rId24"/>
    <p:sldLayoutId id="2147485834" r:id="rId25"/>
    <p:sldLayoutId id="2147485835" r:id="rId26"/>
    <p:sldLayoutId id="2147485836" r:id="rId27"/>
    <p:sldLayoutId id="2147485837" r:id="rId28"/>
    <p:sldLayoutId id="2147485838" r:id="rId29"/>
    <p:sldLayoutId id="2147485839" r:id="rId30"/>
    <p:sldLayoutId id="2147485840" r:id="rId31"/>
    <p:sldLayoutId id="2147485841" r:id="rId32"/>
    <p:sldLayoutId id="2147485842" r:id="rId33"/>
    <p:sldLayoutId id="2147485843" r:id="rId34"/>
    <p:sldLayoutId id="2147485844" r:id="rId35"/>
    <p:sldLayoutId id="2147485845" r:id="rId36"/>
    <p:sldLayoutId id="2147485846" r:id="rId37"/>
    <p:sldLayoutId id="214748584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2F2F2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20486"/>
      </p:ext>
    </p:extLst>
  </p:cSld>
  <p:clrMap bg1="dk1" tx1="lt1" bg2="dk2" tx2="lt2" accent1="accent1" accent2="accent2" accent3="accent3" accent4="accent4" accent5="accent5" accent6="accent6" hlink="hlink" folHlink="folHlink"/>
  <p:sldLayoutIdLst>
    <p:sldLayoutId id="2147485849" r:id="rId1"/>
    <p:sldLayoutId id="2147485850" r:id="rId2"/>
    <p:sldLayoutId id="2147485851" r:id="rId3"/>
    <p:sldLayoutId id="2147485852" r:id="rId4"/>
    <p:sldLayoutId id="2147485853" r:id="rId5"/>
    <p:sldLayoutId id="2147485854" r:id="rId6"/>
    <p:sldLayoutId id="2147485855" r:id="rId7"/>
    <p:sldLayoutId id="2147485856" r:id="rId8"/>
    <p:sldLayoutId id="2147485857" r:id="rId9"/>
    <p:sldLayoutId id="2147485858" r:id="rId10"/>
  </p:sldLayoutIdLst>
  <p:transition spd="med"/>
  <p:txStyles>
    <p:titleStyle>
      <a:lvl1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1pPr>
      <a:lvl2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2pPr>
      <a:lvl3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3pPr>
      <a:lvl4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4pPr>
      <a:lvl5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5pPr>
      <a:lvl6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6pPr>
      <a:lvl7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7pPr>
      <a:lvl8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8pPr>
      <a:lvl9pPr marL="0" marR="0" indent="0" algn="l" defTabSz="412667" rtl="0" eaLnBrk="1" latinLnBrk="0" hangingPunct="1">
        <a:lnSpc>
          <a:spcPct val="70000"/>
        </a:lnSpc>
        <a:spcBef>
          <a:spcPts val="0"/>
        </a:spcBef>
        <a:spcAft>
          <a:spcPts val="0"/>
        </a:spcAft>
        <a:buClrTx/>
        <a:buSzTx/>
        <a:buFontTx/>
        <a:buNone/>
        <a:tabLst/>
        <a:defRPr sz="5599" b="0" i="0" u="none" strike="noStrike" cap="none" spc="-112" baseline="0">
          <a:ln>
            <a:noFill/>
          </a:ln>
          <a:solidFill>
            <a:srgbClr val="FFFFFF"/>
          </a:solidFill>
          <a:uFillTx/>
          <a:latin typeface="+mn-lt"/>
          <a:ea typeface="+mn-ea"/>
          <a:cs typeface="+mn-cs"/>
          <a:sym typeface="Segoe UI Semibold"/>
        </a:defRPr>
      </a:lvl9pPr>
    </p:titleStyle>
    <p:bodyStyle>
      <a:lvl1pPr marL="740685"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1pPr>
      <a:lvl2pPr marL="1058121"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2pPr>
      <a:lvl3pPr marL="1375558"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3pPr>
      <a:lvl4pPr marL="1692994"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4pPr>
      <a:lvl5pPr marL="2010431"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5pPr>
      <a:lvl6pPr marL="2327867"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6pPr>
      <a:lvl7pPr marL="2645304"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7pPr>
      <a:lvl8pPr marL="2962740"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8pPr>
      <a:lvl9pPr marL="3280177" marR="0" indent="-740685" algn="l" defTabSz="412667" rtl="0" eaLnBrk="1" latinLnBrk="0" hangingPunct="1">
        <a:lnSpc>
          <a:spcPct val="70000"/>
        </a:lnSpc>
        <a:spcBef>
          <a:spcPts val="0"/>
        </a:spcBef>
        <a:spcAft>
          <a:spcPts val="0"/>
        </a:spcAft>
        <a:buClrTx/>
        <a:buSzPct val="125000"/>
        <a:buFontTx/>
        <a:buChar char="•"/>
        <a:tabLst/>
        <a:defRPr sz="5599" b="0" i="0" u="none" strike="noStrike" cap="none" spc="-112" baseline="0">
          <a:ln>
            <a:noFill/>
          </a:ln>
          <a:solidFill>
            <a:srgbClr val="FFFFFF"/>
          </a:solidFill>
          <a:uFillTx/>
          <a:latin typeface="+mn-lt"/>
          <a:ea typeface="+mn-ea"/>
          <a:cs typeface="+mn-cs"/>
          <a:sym typeface="Segoe UI Semibold"/>
        </a:defRPr>
      </a:lvl9pPr>
    </p:bodyStyle>
    <p:otherStyle>
      <a:lvl1pPr marL="0" marR="0" indent="0"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277"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554"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831"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109"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386"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663"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799940"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217" algn="ctr" defTabSz="412667"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extLst>
    <p:ext uri="{27BBF7A9-308A-43DC-89C8-2F10F3537804}">
      <p15:sldGuideLst xmlns:p15="http://schemas.microsoft.com/office/powerpoint/2012/main">
        <p15:guide id="1" pos="3839">
          <p15:clr>
            <a:srgbClr val="F26B43"/>
          </p15:clr>
        </p15:guide>
        <p15:guide id="2" orient="horz" pos="2160">
          <p15:clr>
            <a:srgbClr val="F26B43"/>
          </p15:clr>
        </p15:guide>
        <p15:guide id="3" pos="7319">
          <p15:clr>
            <a:srgbClr val="F26B43"/>
          </p15:clr>
        </p15:guide>
        <p15:guide id="4" orient="horz" pos="3960">
          <p15:clr>
            <a:srgbClr val="F26B43"/>
          </p15:clr>
        </p15:guide>
        <p15:guide id="5" pos="359">
          <p15:clr>
            <a:srgbClr val="F26B43"/>
          </p15:clr>
        </p15:guide>
        <p15:guide id="6" orient="horz" pos="3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878373591"/>
      </p:ext>
    </p:extLst>
  </p:cSld>
  <p:clrMap bg1="lt1" tx1="dk1" bg2="lt2" tx2="dk2" accent1="accent1" accent2="accent2" accent3="accent3" accent4="accent4" accent5="accent5" accent6="accent6" hlink="hlink" folHlink="folHlink"/>
  <p:sldLayoutIdLst>
    <p:sldLayoutId id="2147485860" r:id="rId1"/>
    <p:sldLayoutId id="2147485861" r:id="rId2"/>
    <p:sldLayoutId id="2147485862" r:id="rId3"/>
    <p:sldLayoutId id="2147485863" r:id="rId4"/>
    <p:sldLayoutId id="2147485864" r:id="rId5"/>
    <p:sldLayoutId id="2147485865" r:id="rId6"/>
    <p:sldLayoutId id="2147485866" r:id="rId7"/>
    <p:sldLayoutId id="2147485867" r:id="rId8"/>
    <p:sldLayoutId id="2147485868" r:id="rId9"/>
    <p:sldLayoutId id="2147485871" r:id="rId10"/>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xml"/><Relationship Id="rId1" Type="http://schemas.openxmlformats.org/officeDocument/2006/relationships/slideLayout" Target="../slideLayouts/slideLayout71.xml"/><Relationship Id="rId4" Type="http://schemas.openxmlformats.org/officeDocument/2006/relationships/image" Target="../media/image124.png"/></Relationships>
</file>

<file path=ppt/slides/_rels/slide1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43.svg"/><Relationship Id="rId18" Type="http://schemas.openxmlformats.org/officeDocument/2006/relationships/image" Target="../media/image148.png"/><Relationship Id="rId3" Type="http://schemas.openxmlformats.org/officeDocument/2006/relationships/image" Target="../media/image133.png"/><Relationship Id="rId21" Type="http://schemas.openxmlformats.org/officeDocument/2006/relationships/image" Target="../media/image151.svg"/><Relationship Id="rId7" Type="http://schemas.openxmlformats.org/officeDocument/2006/relationships/image" Target="../media/image137.svg"/><Relationship Id="rId12" Type="http://schemas.openxmlformats.org/officeDocument/2006/relationships/image" Target="../media/image142.png"/><Relationship Id="rId17" Type="http://schemas.openxmlformats.org/officeDocument/2006/relationships/image" Target="../media/image147.svg"/><Relationship Id="rId2" Type="http://schemas.openxmlformats.org/officeDocument/2006/relationships/notesSlide" Target="../notesSlides/notesSlide11.xml"/><Relationship Id="rId16" Type="http://schemas.openxmlformats.org/officeDocument/2006/relationships/image" Target="../media/image146.png"/><Relationship Id="rId20" Type="http://schemas.openxmlformats.org/officeDocument/2006/relationships/image" Target="../media/image150.png"/><Relationship Id="rId1" Type="http://schemas.openxmlformats.org/officeDocument/2006/relationships/slideLayout" Target="../slideLayouts/slideLayout35.xml"/><Relationship Id="rId6" Type="http://schemas.openxmlformats.org/officeDocument/2006/relationships/image" Target="../media/image136.png"/><Relationship Id="rId11" Type="http://schemas.openxmlformats.org/officeDocument/2006/relationships/image" Target="../media/image141.svg"/><Relationship Id="rId5" Type="http://schemas.openxmlformats.org/officeDocument/2006/relationships/image" Target="../media/image135.png"/><Relationship Id="rId15" Type="http://schemas.openxmlformats.org/officeDocument/2006/relationships/image" Target="../media/image145.svg"/><Relationship Id="rId23" Type="http://schemas.openxmlformats.org/officeDocument/2006/relationships/image" Target="../media/image153.svg"/><Relationship Id="rId10" Type="http://schemas.openxmlformats.org/officeDocument/2006/relationships/image" Target="../media/image140.png"/><Relationship Id="rId19" Type="http://schemas.openxmlformats.org/officeDocument/2006/relationships/image" Target="../media/image149.svg"/><Relationship Id="rId4" Type="http://schemas.openxmlformats.org/officeDocument/2006/relationships/image" Target="../media/image134.svg"/><Relationship Id="rId9" Type="http://schemas.openxmlformats.org/officeDocument/2006/relationships/image" Target="../media/image139.svg"/><Relationship Id="rId14" Type="http://schemas.openxmlformats.org/officeDocument/2006/relationships/image" Target="../media/image144.png"/><Relationship Id="rId22" Type="http://schemas.openxmlformats.org/officeDocument/2006/relationships/image" Target="../media/image152.png"/></Relationships>
</file>

<file path=ppt/slides/_rels/slide12.xml.rels><?xml version="1.0" encoding="UTF-8" standalone="yes"?>
<Relationships xmlns="http://schemas.openxmlformats.org/package/2006/relationships"><Relationship Id="rId8" Type="http://schemas.openxmlformats.org/officeDocument/2006/relationships/image" Target="../media/image143.svg"/><Relationship Id="rId13" Type="http://schemas.openxmlformats.org/officeDocument/2006/relationships/image" Target="../media/image148.png"/><Relationship Id="rId3" Type="http://schemas.openxmlformats.org/officeDocument/2006/relationships/image" Target="../media/image133.png"/><Relationship Id="rId7" Type="http://schemas.openxmlformats.org/officeDocument/2006/relationships/image" Target="../media/image142.png"/><Relationship Id="rId12" Type="http://schemas.openxmlformats.org/officeDocument/2006/relationships/image" Target="../media/image147.svg"/><Relationship Id="rId2" Type="http://schemas.openxmlformats.org/officeDocument/2006/relationships/notesSlide" Target="../notesSlides/notesSlide12.xml"/><Relationship Id="rId1" Type="http://schemas.openxmlformats.org/officeDocument/2006/relationships/slideLayout" Target="../slideLayouts/slideLayout102.xml"/><Relationship Id="rId6" Type="http://schemas.openxmlformats.org/officeDocument/2006/relationships/image" Target="../media/image137.svg"/><Relationship Id="rId11" Type="http://schemas.openxmlformats.org/officeDocument/2006/relationships/image" Target="../media/image146.png"/><Relationship Id="rId5" Type="http://schemas.openxmlformats.org/officeDocument/2006/relationships/image" Target="../media/image136.png"/><Relationship Id="rId10" Type="http://schemas.openxmlformats.org/officeDocument/2006/relationships/image" Target="../media/image145.svg"/><Relationship Id="rId4" Type="http://schemas.openxmlformats.org/officeDocument/2006/relationships/image" Target="../media/image134.svg"/><Relationship Id="rId9" Type="http://schemas.openxmlformats.org/officeDocument/2006/relationships/image" Target="../media/image144.png"/><Relationship Id="rId14" Type="http://schemas.openxmlformats.org/officeDocument/2006/relationships/image" Target="../media/image149.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154.png"/><Relationship Id="rId7" Type="http://schemas.openxmlformats.org/officeDocument/2006/relationships/image" Target="../media/image149.svg"/><Relationship Id="rId2" Type="http://schemas.openxmlformats.org/officeDocument/2006/relationships/notesSlide" Target="../notesSlides/notesSlide16.xml"/><Relationship Id="rId1" Type="http://schemas.openxmlformats.org/officeDocument/2006/relationships/slideLayout" Target="../slideLayouts/slideLayout80.xml"/><Relationship Id="rId6" Type="http://schemas.openxmlformats.org/officeDocument/2006/relationships/image" Target="../media/image148.png"/><Relationship Id="rId11" Type="http://schemas.openxmlformats.org/officeDocument/2006/relationships/image" Target="../media/image156.svg"/><Relationship Id="rId5" Type="http://schemas.openxmlformats.org/officeDocument/2006/relationships/image" Target="../media/image137.svg"/><Relationship Id="rId10" Type="http://schemas.openxmlformats.org/officeDocument/2006/relationships/image" Target="../media/image155.png"/><Relationship Id="rId4" Type="http://schemas.openxmlformats.org/officeDocument/2006/relationships/image" Target="../media/image136.png"/><Relationship Id="rId9" Type="http://schemas.openxmlformats.org/officeDocument/2006/relationships/image" Target="../media/image151.sv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video" Target="../media/media1.wmv"/><Relationship Id="rId1" Type="http://schemas.microsoft.com/office/2007/relationships/media" Target="../media/media1.wmv"/><Relationship Id="rId5" Type="http://schemas.openxmlformats.org/officeDocument/2006/relationships/image" Target="../media/image157.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143.svg"/><Relationship Id="rId13" Type="http://schemas.openxmlformats.org/officeDocument/2006/relationships/image" Target="../media/image148.png"/><Relationship Id="rId3" Type="http://schemas.openxmlformats.org/officeDocument/2006/relationships/image" Target="../media/image133.png"/><Relationship Id="rId7" Type="http://schemas.openxmlformats.org/officeDocument/2006/relationships/image" Target="../media/image142.png"/><Relationship Id="rId12" Type="http://schemas.openxmlformats.org/officeDocument/2006/relationships/image" Target="../media/image147.svg"/><Relationship Id="rId2" Type="http://schemas.openxmlformats.org/officeDocument/2006/relationships/notesSlide" Target="../notesSlides/notesSlide18.xml"/><Relationship Id="rId16" Type="http://schemas.openxmlformats.org/officeDocument/2006/relationships/image" Target="../media/image153.svg"/><Relationship Id="rId1" Type="http://schemas.openxmlformats.org/officeDocument/2006/relationships/slideLayout" Target="../slideLayouts/slideLayout665.xml"/><Relationship Id="rId6" Type="http://schemas.openxmlformats.org/officeDocument/2006/relationships/image" Target="../media/image137.svg"/><Relationship Id="rId11" Type="http://schemas.openxmlformats.org/officeDocument/2006/relationships/image" Target="../media/image146.png"/><Relationship Id="rId5" Type="http://schemas.openxmlformats.org/officeDocument/2006/relationships/image" Target="../media/image136.png"/><Relationship Id="rId15" Type="http://schemas.openxmlformats.org/officeDocument/2006/relationships/image" Target="../media/image152.png"/><Relationship Id="rId10" Type="http://schemas.openxmlformats.org/officeDocument/2006/relationships/image" Target="../media/image145.svg"/><Relationship Id="rId4" Type="http://schemas.openxmlformats.org/officeDocument/2006/relationships/image" Target="../media/image134.svg"/><Relationship Id="rId9" Type="http://schemas.openxmlformats.org/officeDocument/2006/relationships/image" Target="../media/image144.png"/><Relationship Id="rId14" Type="http://schemas.openxmlformats.org/officeDocument/2006/relationships/image" Target="../media/image149.svg"/></Relationships>
</file>

<file path=ppt/slides/_rels/slide19.xml.rels><?xml version="1.0" encoding="UTF-8" standalone="yes"?>
<Relationships xmlns="http://schemas.openxmlformats.org/package/2006/relationships"><Relationship Id="rId8" Type="http://schemas.openxmlformats.org/officeDocument/2006/relationships/image" Target="../media/image143.svg"/><Relationship Id="rId13" Type="http://schemas.openxmlformats.org/officeDocument/2006/relationships/image" Target="../media/image148.png"/><Relationship Id="rId3" Type="http://schemas.openxmlformats.org/officeDocument/2006/relationships/image" Target="../media/image133.png"/><Relationship Id="rId7" Type="http://schemas.openxmlformats.org/officeDocument/2006/relationships/image" Target="../media/image142.png"/><Relationship Id="rId12" Type="http://schemas.openxmlformats.org/officeDocument/2006/relationships/image" Target="../media/image147.svg"/><Relationship Id="rId2" Type="http://schemas.openxmlformats.org/officeDocument/2006/relationships/notesSlide" Target="../notesSlides/notesSlide19.xml"/><Relationship Id="rId16" Type="http://schemas.openxmlformats.org/officeDocument/2006/relationships/image" Target="../media/image153.svg"/><Relationship Id="rId1" Type="http://schemas.openxmlformats.org/officeDocument/2006/relationships/slideLayout" Target="../slideLayouts/slideLayout665.xml"/><Relationship Id="rId6" Type="http://schemas.openxmlformats.org/officeDocument/2006/relationships/image" Target="../media/image137.svg"/><Relationship Id="rId11" Type="http://schemas.openxmlformats.org/officeDocument/2006/relationships/image" Target="../media/image146.png"/><Relationship Id="rId5" Type="http://schemas.openxmlformats.org/officeDocument/2006/relationships/image" Target="../media/image136.png"/><Relationship Id="rId15" Type="http://schemas.openxmlformats.org/officeDocument/2006/relationships/image" Target="../media/image152.png"/><Relationship Id="rId10" Type="http://schemas.openxmlformats.org/officeDocument/2006/relationships/image" Target="../media/image145.svg"/><Relationship Id="rId4" Type="http://schemas.openxmlformats.org/officeDocument/2006/relationships/image" Target="../media/image134.svg"/><Relationship Id="rId9" Type="http://schemas.openxmlformats.org/officeDocument/2006/relationships/image" Target="../media/image144.png"/><Relationship Id="rId14" Type="http://schemas.openxmlformats.org/officeDocument/2006/relationships/image" Target="../media/image149.svg"/></Relationships>
</file>

<file path=ppt/slides/_rels/slide2.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20.xml.rels><?xml version="1.0" encoding="UTF-8" standalone="yes"?>
<Relationships xmlns="http://schemas.openxmlformats.org/package/2006/relationships"><Relationship Id="rId8" Type="http://schemas.openxmlformats.org/officeDocument/2006/relationships/image" Target="../media/image143.svg"/><Relationship Id="rId13" Type="http://schemas.openxmlformats.org/officeDocument/2006/relationships/image" Target="../media/image148.png"/><Relationship Id="rId3" Type="http://schemas.openxmlformats.org/officeDocument/2006/relationships/image" Target="../media/image133.png"/><Relationship Id="rId7" Type="http://schemas.openxmlformats.org/officeDocument/2006/relationships/image" Target="../media/image142.png"/><Relationship Id="rId12" Type="http://schemas.openxmlformats.org/officeDocument/2006/relationships/image" Target="../media/image147.svg"/><Relationship Id="rId2" Type="http://schemas.openxmlformats.org/officeDocument/2006/relationships/notesSlide" Target="../notesSlides/notesSlide20.xml"/><Relationship Id="rId16" Type="http://schemas.openxmlformats.org/officeDocument/2006/relationships/image" Target="../media/image153.svg"/><Relationship Id="rId1" Type="http://schemas.openxmlformats.org/officeDocument/2006/relationships/slideLayout" Target="../slideLayouts/slideLayout665.xml"/><Relationship Id="rId6" Type="http://schemas.openxmlformats.org/officeDocument/2006/relationships/image" Target="../media/image137.svg"/><Relationship Id="rId11" Type="http://schemas.openxmlformats.org/officeDocument/2006/relationships/image" Target="../media/image146.png"/><Relationship Id="rId5" Type="http://schemas.openxmlformats.org/officeDocument/2006/relationships/image" Target="../media/image136.png"/><Relationship Id="rId15" Type="http://schemas.openxmlformats.org/officeDocument/2006/relationships/image" Target="../media/image152.png"/><Relationship Id="rId10" Type="http://schemas.openxmlformats.org/officeDocument/2006/relationships/image" Target="../media/image145.svg"/><Relationship Id="rId4" Type="http://schemas.openxmlformats.org/officeDocument/2006/relationships/image" Target="../media/image134.svg"/><Relationship Id="rId9" Type="http://schemas.openxmlformats.org/officeDocument/2006/relationships/image" Target="../media/image144.png"/><Relationship Id="rId14" Type="http://schemas.openxmlformats.org/officeDocument/2006/relationships/image" Target="../media/image149.sv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65.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143.svg"/><Relationship Id="rId13" Type="http://schemas.openxmlformats.org/officeDocument/2006/relationships/image" Target="../media/image148.png"/><Relationship Id="rId3" Type="http://schemas.openxmlformats.org/officeDocument/2006/relationships/image" Target="../media/image133.png"/><Relationship Id="rId7" Type="http://schemas.openxmlformats.org/officeDocument/2006/relationships/image" Target="../media/image142.png"/><Relationship Id="rId12" Type="http://schemas.openxmlformats.org/officeDocument/2006/relationships/image" Target="../media/image147.svg"/><Relationship Id="rId2" Type="http://schemas.openxmlformats.org/officeDocument/2006/relationships/notesSlide" Target="../notesSlides/notesSlide22.xml"/><Relationship Id="rId16" Type="http://schemas.openxmlformats.org/officeDocument/2006/relationships/image" Target="../media/image153.svg"/><Relationship Id="rId1" Type="http://schemas.openxmlformats.org/officeDocument/2006/relationships/slideLayout" Target="../slideLayouts/slideLayout102.xml"/><Relationship Id="rId6" Type="http://schemas.openxmlformats.org/officeDocument/2006/relationships/image" Target="../media/image137.svg"/><Relationship Id="rId11" Type="http://schemas.openxmlformats.org/officeDocument/2006/relationships/image" Target="../media/image146.png"/><Relationship Id="rId5" Type="http://schemas.openxmlformats.org/officeDocument/2006/relationships/image" Target="../media/image136.png"/><Relationship Id="rId15" Type="http://schemas.openxmlformats.org/officeDocument/2006/relationships/image" Target="../media/image152.png"/><Relationship Id="rId10" Type="http://schemas.openxmlformats.org/officeDocument/2006/relationships/image" Target="../media/image145.svg"/><Relationship Id="rId4" Type="http://schemas.openxmlformats.org/officeDocument/2006/relationships/image" Target="../media/image134.svg"/><Relationship Id="rId9" Type="http://schemas.openxmlformats.org/officeDocument/2006/relationships/image" Target="../media/image144.png"/><Relationship Id="rId14" Type="http://schemas.openxmlformats.org/officeDocument/2006/relationships/image" Target="../media/image149.svg"/></Relationships>
</file>

<file path=ppt/slides/_rels/slide2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3.xml"/><Relationship Id="rId1" Type="http://schemas.openxmlformats.org/officeDocument/2006/relationships/slideLayout" Target="../slideLayouts/slideLayout22.xml"/><Relationship Id="rId6" Type="http://schemas.openxmlformats.org/officeDocument/2006/relationships/image" Target="../media/image137.svg"/><Relationship Id="rId5" Type="http://schemas.openxmlformats.org/officeDocument/2006/relationships/image" Target="../media/image136.png"/><Relationship Id="rId4" Type="http://schemas.openxmlformats.org/officeDocument/2006/relationships/image" Target="../media/image134.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5.xml"/><Relationship Id="rId1" Type="http://schemas.openxmlformats.org/officeDocument/2006/relationships/slideLayout" Target="../slideLayouts/slideLayout80.xml"/><Relationship Id="rId4" Type="http://schemas.openxmlformats.org/officeDocument/2006/relationships/image" Target="../media/image161.png"/></Relationships>
</file>

<file path=ppt/slides/_rels/slide26.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43.svg"/><Relationship Id="rId18" Type="http://schemas.openxmlformats.org/officeDocument/2006/relationships/image" Target="../media/image148.png"/><Relationship Id="rId3" Type="http://schemas.openxmlformats.org/officeDocument/2006/relationships/image" Target="../media/image133.png"/><Relationship Id="rId21" Type="http://schemas.openxmlformats.org/officeDocument/2006/relationships/image" Target="../media/image151.svg"/><Relationship Id="rId7" Type="http://schemas.openxmlformats.org/officeDocument/2006/relationships/image" Target="../media/image137.svg"/><Relationship Id="rId12" Type="http://schemas.openxmlformats.org/officeDocument/2006/relationships/image" Target="../media/image142.png"/><Relationship Id="rId17" Type="http://schemas.openxmlformats.org/officeDocument/2006/relationships/image" Target="../media/image147.svg"/><Relationship Id="rId2" Type="http://schemas.openxmlformats.org/officeDocument/2006/relationships/notesSlide" Target="../notesSlides/notesSlide26.xml"/><Relationship Id="rId16" Type="http://schemas.openxmlformats.org/officeDocument/2006/relationships/image" Target="../media/image146.png"/><Relationship Id="rId20" Type="http://schemas.openxmlformats.org/officeDocument/2006/relationships/image" Target="../media/image150.png"/><Relationship Id="rId1" Type="http://schemas.openxmlformats.org/officeDocument/2006/relationships/slideLayout" Target="../slideLayouts/slideLayout102.xml"/><Relationship Id="rId6" Type="http://schemas.openxmlformats.org/officeDocument/2006/relationships/image" Target="../media/image136.png"/><Relationship Id="rId11" Type="http://schemas.openxmlformats.org/officeDocument/2006/relationships/image" Target="../media/image141.svg"/><Relationship Id="rId5" Type="http://schemas.openxmlformats.org/officeDocument/2006/relationships/image" Target="../media/image135.png"/><Relationship Id="rId15" Type="http://schemas.openxmlformats.org/officeDocument/2006/relationships/image" Target="../media/image145.svg"/><Relationship Id="rId23" Type="http://schemas.openxmlformats.org/officeDocument/2006/relationships/image" Target="../media/image153.svg"/><Relationship Id="rId10" Type="http://schemas.openxmlformats.org/officeDocument/2006/relationships/image" Target="../media/image140.png"/><Relationship Id="rId19" Type="http://schemas.openxmlformats.org/officeDocument/2006/relationships/image" Target="../media/image149.svg"/><Relationship Id="rId4" Type="http://schemas.openxmlformats.org/officeDocument/2006/relationships/image" Target="../media/image134.svg"/><Relationship Id="rId9" Type="http://schemas.openxmlformats.org/officeDocument/2006/relationships/image" Target="../media/image139.svg"/><Relationship Id="rId14" Type="http://schemas.openxmlformats.org/officeDocument/2006/relationships/image" Target="../media/image144.png"/><Relationship Id="rId22" Type="http://schemas.openxmlformats.org/officeDocument/2006/relationships/image" Target="../media/image152.png"/></Relationships>
</file>

<file path=ppt/slides/_rels/slide27.xml.rels><?xml version="1.0" encoding="UTF-8" standalone="yes"?>
<Relationships xmlns="http://schemas.openxmlformats.org/package/2006/relationships"><Relationship Id="rId8" Type="http://schemas.openxmlformats.org/officeDocument/2006/relationships/image" Target="../media/image143.svg"/><Relationship Id="rId13" Type="http://schemas.openxmlformats.org/officeDocument/2006/relationships/image" Target="../media/image148.png"/><Relationship Id="rId18" Type="http://schemas.openxmlformats.org/officeDocument/2006/relationships/image" Target="../media/image153.svg"/><Relationship Id="rId3" Type="http://schemas.openxmlformats.org/officeDocument/2006/relationships/image" Target="../media/image133.png"/><Relationship Id="rId7" Type="http://schemas.openxmlformats.org/officeDocument/2006/relationships/image" Target="../media/image142.png"/><Relationship Id="rId12" Type="http://schemas.openxmlformats.org/officeDocument/2006/relationships/image" Target="../media/image147.svg"/><Relationship Id="rId17" Type="http://schemas.openxmlformats.org/officeDocument/2006/relationships/image" Target="../media/image152.png"/><Relationship Id="rId2" Type="http://schemas.openxmlformats.org/officeDocument/2006/relationships/notesSlide" Target="../notesSlides/notesSlide27.xml"/><Relationship Id="rId16" Type="http://schemas.openxmlformats.org/officeDocument/2006/relationships/image" Target="../media/image151.svg"/><Relationship Id="rId1" Type="http://schemas.openxmlformats.org/officeDocument/2006/relationships/slideLayout" Target="../slideLayouts/slideLayout20.xml"/><Relationship Id="rId6" Type="http://schemas.openxmlformats.org/officeDocument/2006/relationships/image" Target="../media/image137.svg"/><Relationship Id="rId11" Type="http://schemas.openxmlformats.org/officeDocument/2006/relationships/image" Target="../media/image146.png"/><Relationship Id="rId5" Type="http://schemas.openxmlformats.org/officeDocument/2006/relationships/image" Target="../media/image136.png"/><Relationship Id="rId15" Type="http://schemas.openxmlformats.org/officeDocument/2006/relationships/image" Target="../media/image150.png"/><Relationship Id="rId10" Type="http://schemas.openxmlformats.org/officeDocument/2006/relationships/image" Target="../media/image145.svg"/><Relationship Id="rId4" Type="http://schemas.openxmlformats.org/officeDocument/2006/relationships/image" Target="../media/image134.svg"/><Relationship Id="rId9" Type="http://schemas.openxmlformats.org/officeDocument/2006/relationships/image" Target="../media/image144.png"/><Relationship Id="rId14" Type="http://schemas.openxmlformats.org/officeDocument/2006/relationships/image" Target="../media/image149.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9.xml"/><Relationship Id="rId1" Type="http://schemas.openxmlformats.org/officeDocument/2006/relationships/slideLayout" Target="../slideLayouts/slideLayout20.xml"/><Relationship Id="rId4" Type="http://schemas.openxmlformats.org/officeDocument/2006/relationships/image" Target="../media/image16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6.xml"/></Relationships>
</file>

<file path=ppt/slides/_rels/slide30.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notesSlide" Target="../notesSlides/notesSlide30.xml"/><Relationship Id="rId1" Type="http://schemas.openxmlformats.org/officeDocument/2006/relationships/slideLayout" Target="../slideLayouts/slideLayout680.xml"/></Relationships>
</file>

<file path=ppt/slides/_rels/slide3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1.xml"/><Relationship Id="rId1" Type="http://schemas.openxmlformats.org/officeDocument/2006/relationships/slideLayout" Target="../slideLayouts/slideLayout680.xml"/></Relationships>
</file>

<file path=ppt/slides/_rels/slide32.xml.rels><?xml version="1.0" encoding="UTF-8" standalone="yes"?>
<Relationships xmlns="http://schemas.openxmlformats.org/package/2006/relationships"><Relationship Id="rId3" Type="http://schemas.openxmlformats.org/officeDocument/2006/relationships/image" Target="../media/image165.png"/><Relationship Id="rId7" Type="http://schemas.openxmlformats.org/officeDocument/2006/relationships/image" Target="../media/image168.emf"/><Relationship Id="rId2" Type="http://schemas.openxmlformats.org/officeDocument/2006/relationships/notesSlide" Target="../notesSlides/notesSlide32.xml"/><Relationship Id="rId1" Type="http://schemas.openxmlformats.org/officeDocument/2006/relationships/slideLayout" Target="../slideLayouts/slideLayout680.xml"/><Relationship Id="rId6" Type="http://schemas.openxmlformats.org/officeDocument/2006/relationships/image" Target="../media/image167.svg"/><Relationship Id="rId5" Type="http://schemas.openxmlformats.org/officeDocument/2006/relationships/image" Target="../media/image166.png"/><Relationship Id="rId4" Type="http://schemas.openxmlformats.org/officeDocument/2006/relationships/image" Target="../media/image164.emf"/></Relationships>
</file>

<file path=ppt/slides/_rels/slide33.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5.png"/><Relationship Id="rId7" Type="http://schemas.openxmlformats.org/officeDocument/2006/relationships/image" Target="../media/image171.svg"/><Relationship Id="rId2" Type="http://schemas.openxmlformats.org/officeDocument/2006/relationships/notesSlide" Target="../notesSlides/notesSlide33.xml"/><Relationship Id="rId1" Type="http://schemas.openxmlformats.org/officeDocument/2006/relationships/slideLayout" Target="../slideLayouts/slideLayout680.xml"/><Relationship Id="rId6" Type="http://schemas.openxmlformats.org/officeDocument/2006/relationships/image" Target="../media/image170.png"/><Relationship Id="rId5" Type="http://schemas.openxmlformats.org/officeDocument/2006/relationships/image" Target="../media/image169.emf"/><Relationship Id="rId10" Type="http://schemas.openxmlformats.org/officeDocument/2006/relationships/image" Target="../media/image168.emf"/><Relationship Id="rId4" Type="http://schemas.openxmlformats.org/officeDocument/2006/relationships/image" Target="../media/image164.emf"/><Relationship Id="rId9" Type="http://schemas.openxmlformats.org/officeDocument/2006/relationships/image" Target="../media/image167.svg"/></Relationships>
</file>

<file path=ppt/slides/_rels/slide34.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5.png"/><Relationship Id="rId7" Type="http://schemas.openxmlformats.org/officeDocument/2006/relationships/image" Target="../media/image171.svg"/><Relationship Id="rId2" Type="http://schemas.openxmlformats.org/officeDocument/2006/relationships/notesSlide" Target="../notesSlides/notesSlide34.xml"/><Relationship Id="rId1" Type="http://schemas.openxmlformats.org/officeDocument/2006/relationships/slideLayout" Target="../slideLayouts/slideLayout680.xml"/><Relationship Id="rId6" Type="http://schemas.openxmlformats.org/officeDocument/2006/relationships/image" Target="../media/image170.png"/><Relationship Id="rId5" Type="http://schemas.openxmlformats.org/officeDocument/2006/relationships/image" Target="../media/image169.emf"/><Relationship Id="rId10" Type="http://schemas.openxmlformats.org/officeDocument/2006/relationships/image" Target="../media/image168.emf"/><Relationship Id="rId4" Type="http://schemas.openxmlformats.org/officeDocument/2006/relationships/image" Target="../media/image164.emf"/><Relationship Id="rId9" Type="http://schemas.openxmlformats.org/officeDocument/2006/relationships/image" Target="../media/image167.svg"/></Relationships>
</file>

<file path=ppt/slides/_rels/slide35.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5.png"/><Relationship Id="rId7" Type="http://schemas.openxmlformats.org/officeDocument/2006/relationships/image" Target="../media/image171.svg"/><Relationship Id="rId2" Type="http://schemas.openxmlformats.org/officeDocument/2006/relationships/notesSlide" Target="../notesSlides/notesSlide35.xml"/><Relationship Id="rId1" Type="http://schemas.openxmlformats.org/officeDocument/2006/relationships/slideLayout" Target="../slideLayouts/slideLayout680.xml"/><Relationship Id="rId6" Type="http://schemas.openxmlformats.org/officeDocument/2006/relationships/image" Target="../media/image170.png"/><Relationship Id="rId5" Type="http://schemas.openxmlformats.org/officeDocument/2006/relationships/image" Target="../media/image169.emf"/><Relationship Id="rId10" Type="http://schemas.openxmlformats.org/officeDocument/2006/relationships/image" Target="../media/image168.emf"/><Relationship Id="rId4" Type="http://schemas.openxmlformats.org/officeDocument/2006/relationships/image" Target="../media/image164.emf"/><Relationship Id="rId9" Type="http://schemas.openxmlformats.org/officeDocument/2006/relationships/image" Target="../media/image167.svg"/></Relationships>
</file>

<file path=ppt/slides/_rels/slide36.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5.png"/><Relationship Id="rId7" Type="http://schemas.openxmlformats.org/officeDocument/2006/relationships/image" Target="../media/image171.svg"/><Relationship Id="rId2" Type="http://schemas.openxmlformats.org/officeDocument/2006/relationships/notesSlide" Target="../notesSlides/notesSlide36.xml"/><Relationship Id="rId1" Type="http://schemas.openxmlformats.org/officeDocument/2006/relationships/slideLayout" Target="../slideLayouts/slideLayout680.xml"/><Relationship Id="rId6" Type="http://schemas.openxmlformats.org/officeDocument/2006/relationships/image" Target="../media/image170.png"/><Relationship Id="rId5" Type="http://schemas.openxmlformats.org/officeDocument/2006/relationships/image" Target="../media/image169.emf"/><Relationship Id="rId10" Type="http://schemas.openxmlformats.org/officeDocument/2006/relationships/image" Target="../media/image168.emf"/><Relationship Id="rId4" Type="http://schemas.openxmlformats.org/officeDocument/2006/relationships/image" Target="../media/image164.emf"/><Relationship Id="rId9" Type="http://schemas.openxmlformats.org/officeDocument/2006/relationships/image" Target="../media/image167.svg"/></Relationships>
</file>

<file path=ppt/slides/_rels/slide3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37.xml"/><Relationship Id="rId1" Type="http://schemas.openxmlformats.org/officeDocument/2006/relationships/slideLayout" Target="../slideLayouts/slideLayout67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8" Type="http://schemas.openxmlformats.org/officeDocument/2006/relationships/image" Target="../media/image174.png"/><Relationship Id="rId13" Type="http://schemas.openxmlformats.org/officeDocument/2006/relationships/image" Target="../media/image179.png"/><Relationship Id="rId3" Type="http://schemas.openxmlformats.org/officeDocument/2006/relationships/hyperlink" Target="https://aka.ms/mslearniot" TargetMode="External"/><Relationship Id="rId7" Type="http://schemas.openxmlformats.org/officeDocument/2006/relationships/image" Target="../media/image173.png"/><Relationship Id="rId12" Type="http://schemas.openxmlformats.org/officeDocument/2006/relationships/image" Target="../media/image178.png"/><Relationship Id="rId17" Type="http://schemas.openxmlformats.org/officeDocument/2006/relationships/hyperlink" Target="https://aka.ms/IntroAzureIoTLearningPath" TargetMode="External"/><Relationship Id="rId2" Type="http://schemas.openxmlformats.org/officeDocument/2006/relationships/notesSlide" Target="../notesSlides/notesSlide40.xml"/><Relationship Id="rId16" Type="http://schemas.openxmlformats.org/officeDocument/2006/relationships/image" Target="../media/image182.png"/><Relationship Id="rId1" Type="http://schemas.openxmlformats.org/officeDocument/2006/relationships/slideLayout" Target="../slideLayouts/slideLayout22.xml"/><Relationship Id="rId6" Type="http://schemas.openxmlformats.org/officeDocument/2006/relationships/hyperlink" Target="https://docs.microsoft.com/en-us/azure/iot-fundamentals/" TargetMode="External"/><Relationship Id="rId11" Type="http://schemas.openxmlformats.org/officeDocument/2006/relationships/image" Target="../media/image177.svg"/><Relationship Id="rId5" Type="http://schemas.openxmlformats.org/officeDocument/2006/relationships/hyperlink" Target="https://aka.ms/iottechcommunity" TargetMode="External"/><Relationship Id="rId15" Type="http://schemas.openxmlformats.org/officeDocument/2006/relationships/image" Target="../media/image181.png"/><Relationship Id="rId10" Type="http://schemas.openxmlformats.org/officeDocument/2006/relationships/image" Target="../media/image176.png"/><Relationship Id="rId4" Type="http://schemas.openxmlformats.org/officeDocument/2006/relationships/hyperlink" Target="https://aka.ms/msiotdevs" TargetMode="External"/><Relationship Id="rId9" Type="http://schemas.openxmlformats.org/officeDocument/2006/relationships/image" Target="../media/image175.svg"/><Relationship Id="rId14" Type="http://schemas.openxmlformats.org/officeDocument/2006/relationships/image" Target="../media/image180.png"/></Relationships>
</file>

<file path=ppt/slides/_rels/slide4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41.xml"/><Relationship Id="rId1" Type="http://schemas.openxmlformats.org/officeDocument/2006/relationships/slideLayout" Target="../slideLayouts/slideLayout22.xml"/><Relationship Id="rId4" Type="http://schemas.openxmlformats.org/officeDocument/2006/relationships/hyperlink" Target="https://nam06.safelinks.protection.outlook.com/?url=https%3A%2F%2Faka.ms%2F30DaysCSC%2FIoT&amp;data=04%7C01%7Cpacorte%40microsoft.com%7Caf050bc75ccc49adcc6d08d8c93b08d6%7C72f988bf86f141af91ab2d7cd011db47%7C1%7C0%7C637480602671162617%7CUnknown%7CTWFpbGZsb3d8eyJWIjoiMC4wLjAwMDAiLCJQIjoiV2luMzIiLCJBTiI6Ik1haWwiLCJXVCI6Mn0%3D%7C1000&amp;sdata=9bQM%2ByyWPBSI1yE%2BrYujOj%2BItlyAO3evWhKeiLwGU%2BI%3D&amp;reserved=0" TargetMode="External"/></Relationships>
</file>

<file path=ppt/slides/_rels/slide42.xml.rels><?xml version="1.0" encoding="UTF-8" standalone="yes"?>
<Relationships xmlns="http://schemas.openxmlformats.org/package/2006/relationships"><Relationship Id="rId8" Type="http://schemas.openxmlformats.org/officeDocument/2006/relationships/hyperlink" Target="https://aka.ms/msiotdevs" TargetMode="External"/><Relationship Id="rId3" Type="http://schemas.openxmlformats.org/officeDocument/2006/relationships/hyperlink" Target="https://aka.ms/iotrefarchitecture" TargetMode="External"/><Relationship Id="rId7" Type="http://schemas.openxmlformats.org/officeDocument/2006/relationships/hyperlink" Target="https://aka.ms/mslearniot" TargetMode="External"/><Relationship Id="rId2" Type="http://schemas.openxmlformats.org/officeDocument/2006/relationships/notesSlide" Target="../notesSlides/notesSlide42.xml"/><Relationship Id="rId1" Type="http://schemas.openxmlformats.org/officeDocument/2006/relationships/slideLayout" Target="../slideLayouts/slideLayout22.xml"/><Relationship Id="rId6" Type="http://schemas.openxmlformats.org/officeDocument/2006/relationships/hyperlink" Target="https://nam06.safelinks.protection.outlook.com/?url=https%3A%2F%2Faka.ms%2F30DaysCSC%2FIoT&amp;data=04%7C01%7Cpacorte%40microsoft.com%7Caf050bc75ccc49adcc6d08d8c93b08d6%7C72f988bf86f141af91ab2d7cd011db47%7C1%7C0%7C637480602671162617%7CUnknown%7CTWFpbGZsb3d8eyJWIjoiMC4wLjAwMDAiLCJQIjoiV2luMzIiLCJBTiI6Ik1haWwiLCJXVCI6Mn0%3D%7C1000&amp;sdata=9bQM%2ByyWPBSI1yE%2BrYujOj%2BItlyAO3evWhKeiLwGU%2BI%3D&amp;reserved=0" TargetMode="External"/><Relationship Id="rId5" Type="http://schemas.openxmlformats.org/officeDocument/2006/relationships/hyperlink" Target="https://apps.azureiotcentral.com/myapps" TargetMode="External"/><Relationship Id="rId10" Type="http://schemas.openxmlformats.org/officeDocument/2006/relationships/hyperlink" Target="https://docs.microsoft.com/en-us/azure/iot-fundamentals/" TargetMode="External"/><Relationship Id="rId4" Type="http://schemas.openxmlformats.org/officeDocument/2006/relationships/hyperlink" Target="https://aka.ms/get-started-azure-2021" TargetMode="External"/><Relationship Id="rId9" Type="http://schemas.openxmlformats.org/officeDocument/2006/relationships/hyperlink" Target="https://aka.ms/iottechcommunity"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nam06.safelinks.protection.outlook.com/?url=http%3A%2F%2Faka.ms%2FEmbeddedDevResearch&amp;data=04%7C01%7Cpacorte%40microsoft.com%7C3055b692064b4d49de7c08d8dcf778c7%7C72f988bf86f141af91ab2d7cd011db47%7C1%7C0%7C637502302725381068%7CUnknown%7CTWFpbGZsb3d8eyJWIjoiMC4wLjAwMDAiLCJQIjoiV2luMzIiLCJBTiI6Ik1haWwiLCJXVCI6Mn0%3D%7C1000&amp;sdata=p2qmfQjwUiDq7iOaSNK9TKynmugvr1dz4Rbb%2BlCHwTI%3D&amp;reserved=0" TargetMode="External"/><Relationship Id="rId2" Type="http://schemas.openxmlformats.org/officeDocument/2006/relationships/notesSlide" Target="../notesSlides/notesSlide43.xml"/><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hyperlink" Target="https://www.gartner.com/document/3980003" TargetMode="External"/><Relationship Id="rId7" Type="http://schemas.openxmlformats.org/officeDocument/2006/relationships/image" Target="../media/image187.svg"/><Relationship Id="rId2" Type="http://schemas.openxmlformats.org/officeDocument/2006/relationships/notesSlide" Target="../notesSlides/notesSlide44.xml"/><Relationship Id="rId1" Type="http://schemas.openxmlformats.org/officeDocument/2006/relationships/slideLayout" Target="../slideLayouts/slideLayout20.xml"/><Relationship Id="rId6" Type="http://schemas.openxmlformats.org/officeDocument/2006/relationships/image" Target="../media/image186.png"/><Relationship Id="rId5" Type="http://schemas.openxmlformats.org/officeDocument/2006/relationships/image" Target="../media/image185.svg"/><Relationship Id="rId4" Type="http://schemas.openxmlformats.org/officeDocument/2006/relationships/image" Target="../media/image184.png"/></Relationships>
</file>

<file path=ppt/slides/_rels/slide45.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45.xml"/><Relationship Id="rId1" Type="http://schemas.openxmlformats.org/officeDocument/2006/relationships/slideLayout" Target="../slideLayouts/slideLayout20.xml"/><Relationship Id="rId5" Type="http://schemas.openxmlformats.org/officeDocument/2006/relationships/image" Target="../media/image191.png"/><Relationship Id="rId4" Type="http://schemas.openxmlformats.org/officeDocument/2006/relationships/image" Target="../media/image190.svg"/></Relationships>
</file>

<file path=ppt/slides/_rels/slide46.xml.rels><?xml version="1.0" encoding="UTF-8" standalone="yes"?>
<Relationships xmlns="http://schemas.openxmlformats.org/package/2006/relationships"><Relationship Id="rId3" Type="http://schemas.openxmlformats.org/officeDocument/2006/relationships/image" Target="../media/image192.emf"/><Relationship Id="rId2" Type="http://schemas.openxmlformats.org/officeDocument/2006/relationships/notesSlide" Target="../notesSlides/notesSlide46.xml"/><Relationship Id="rId1" Type="http://schemas.openxmlformats.org/officeDocument/2006/relationships/slideLayout" Target="../slideLayouts/slideLayout76.xml"/><Relationship Id="rId5" Type="http://schemas.openxmlformats.org/officeDocument/2006/relationships/image" Target="../media/image194.emf"/><Relationship Id="rId4" Type="http://schemas.openxmlformats.org/officeDocument/2006/relationships/image" Target="../media/image193.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48.xml"/><Relationship Id="rId1" Type="http://schemas.openxmlformats.org/officeDocument/2006/relationships/slideLayout" Target="../slideLayouts/slideLayout44.xml"/><Relationship Id="rId6" Type="http://schemas.openxmlformats.org/officeDocument/2006/relationships/image" Target="../media/image196.svg"/><Relationship Id="rId5" Type="http://schemas.openxmlformats.org/officeDocument/2006/relationships/image" Target="../media/image195.png"/><Relationship Id="rId4" Type="http://schemas.openxmlformats.org/officeDocument/2006/relationships/image" Target="../media/image1510.png"/></Relationships>
</file>

<file path=ppt/slides/_rels/slide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xml"/><Relationship Id="rId1" Type="http://schemas.openxmlformats.org/officeDocument/2006/relationships/slideLayout" Target="../slideLayouts/slideLayout44.xml"/><Relationship Id="rId5" Type="http://schemas.openxmlformats.org/officeDocument/2006/relationships/hyperlink" Target="https://aka.ms/iotrefarchitecture" TargetMode="External"/><Relationship Id="rId4" Type="http://schemas.openxmlformats.org/officeDocument/2006/relationships/image" Target="../media/image131.svg"/></Relationships>
</file>

<file path=ppt/slides/_rels/slide50.xml.rels><?xml version="1.0" encoding="UTF-8" standalone="yes"?>
<Relationships xmlns="http://schemas.openxmlformats.org/package/2006/relationships"><Relationship Id="rId8" Type="http://schemas.openxmlformats.org/officeDocument/2006/relationships/image" Target="../media/image1540.png"/><Relationship Id="rId3" Type="http://schemas.openxmlformats.org/officeDocument/2006/relationships/customXml" Target="../ink/ink2.xml"/><Relationship Id="rId7" Type="http://schemas.openxmlformats.org/officeDocument/2006/relationships/customXml" Target="../ink/ink4.xml"/><Relationship Id="rId2" Type="http://schemas.openxmlformats.org/officeDocument/2006/relationships/notesSlide" Target="../notesSlides/notesSlide49.xml"/><Relationship Id="rId1" Type="http://schemas.openxmlformats.org/officeDocument/2006/relationships/slideLayout" Target="../slideLayouts/slideLayout76.xml"/><Relationship Id="rId6" Type="http://schemas.openxmlformats.org/officeDocument/2006/relationships/image" Target="../media/image1500.png"/><Relationship Id="rId5" Type="http://schemas.openxmlformats.org/officeDocument/2006/relationships/customXml" Target="../ink/ink3.xml"/><Relationship Id="rId4" Type="http://schemas.openxmlformats.org/officeDocument/2006/relationships/image" Target="../media/image1520.png"/></Relationships>
</file>

<file path=ppt/slides/_rels/slide51.xml.rels><?xml version="1.0" encoding="UTF-8" standalone="yes"?>
<Relationships xmlns="http://schemas.openxmlformats.org/package/2006/relationships"><Relationship Id="rId8" Type="http://schemas.openxmlformats.org/officeDocument/2006/relationships/image" Target="../media/image20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0.xml"/><Relationship Id="rId1" Type="http://schemas.openxmlformats.org/officeDocument/2006/relationships/slideLayout" Target="../slideLayouts/slideLayout44.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198.svg"/><Relationship Id="rId4" Type="http://schemas.openxmlformats.org/officeDocument/2006/relationships/diagramLayout" Target="../diagrams/layout1.xml"/><Relationship Id="rId9" Type="http://schemas.openxmlformats.org/officeDocument/2006/relationships/image" Target="../media/image197.png"/></Relationships>
</file>

<file path=ppt/slides/_rels/slide52.xml.rels><?xml version="1.0" encoding="UTF-8" standalone="yes"?>
<Relationships xmlns="http://schemas.openxmlformats.org/package/2006/relationships"><Relationship Id="rId3" Type="http://schemas.openxmlformats.org/officeDocument/2006/relationships/customXml" Target="../ink/ink5.xml"/><Relationship Id="rId7" Type="http://schemas.openxmlformats.org/officeDocument/2006/relationships/image" Target="../media/image202.png"/><Relationship Id="rId2" Type="http://schemas.openxmlformats.org/officeDocument/2006/relationships/notesSlide" Target="../notesSlides/notesSlide51.xml"/><Relationship Id="rId1" Type="http://schemas.openxmlformats.org/officeDocument/2006/relationships/slideLayout" Target="../slideLayouts/slideLayout76.xml"/><Relationship Id="rId6" Type="http://schemas.openxmlformats.org/officeDocument/2006/relationships/image" Target="../media/image1540.png"/><Relationship Id="rId5" Type="http://schemas.openxmlformats.org/officeDocument/2006/relationships/customXml" Target="../ink/ink6.xml"/><Relationship Id="rId4" Type="http://schemas.openxmlformats.org/officeDocument/2006/relationships/image" Target="../media/image1520.png"/></Relationships>
</file>

<file path=ppt/slides/_rels/slide5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52.xml"/><Relationship Id="rId1" Type="http://schemas.openxmlformats.org/officeDocument/2006/relationships/slideLayout" Target="../slideLayouts/slideLayout76.xml"/><Relationship Id="rId5" Type="http://schemas.openxmlformats.org/officeDocument/2006/relationships/image" Target="../media/image204.svg"/><Relationship Id="rId4" Type="http://schemas.openxmlformats.org/officeDocument/2006/relationships/image" Target="../media/image203.png"/></Relationships>
</file>

<file path=ppt/slides/_rels/slide5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53.xml"/><Relationship Id="rId1" Type="http://schemas.openxmlformats.org/officeDocument/2006/relationships/slideLayout" Target="../slideLayouts/slideLayout76.xml"/><Relationship Id="rId5" Type="http://schemas.openxmlformats.org/officeDocument/2006/relationships/image" Target="../media/image204.svg"/><Relationship Id="rId4" Type="http://schemas.openxmlformats.org/officeDocument/2006/relationships/image" Target="../media/image203.png"/></Relationships>
</file>

<file path=ppt/slides/_rels/slide55.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54.xml"/><Relationship Id="rId1" Type="http://schemas.openxmlformats.org/officeDocument/2006/relationships/slideLayout" Target="../slideLayouts/slideLayout44.xml"/><Relationship Id="rId5" Type="http://schemas.openxmlformats.org/officeDocument/2006/relationships/image" Target="../media/image202.png"/><Relationship Id="rId4" Type="http://schemas.openxmlformats.org/officeDocument/2006/relationships/image" Target="../media/image204.svg"/></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azure/iot-hub/iot-hub-scaling" TargetMode="External"/><Relationship Id="rId2" Type="http://schemas.openxmlformats.org/officeDocument/2006/relationships/notesSlide" Target="../notesSlides/notesSlide55.xml"/><Relationship Id="rId1" Type="http://schemas.openxmlformats.org/officeDocument/2006/relationships/slideLayout" Target="../slideLayouts/slideLayout76.xml"/><Relationship Id="rId5" Type="http://schemas.openxmlformats.org/officeDocument/2006/relationships/image" Target="../media/image206.png"/><Relationship Id="rId4" Type="http://schemas.openxmlformats.org/officeDocument/2006/relationships/image" Target="../media/image205.png"/></Relationships>
</file>

<file path=ppt/slides/_rels/slide57.xml.rels><?xml version="1.0" encoding="UTF-8" standalone="yes"?>
<Relationships xmlns="http://schemas.openxmlformats.org/package/2006/relationships"><Relationship Id="rId8" Type="http://schemas.openxmlformats.org/officeDocument/2006/relationships/image" Target="../media/image212.png"/><Relationship Id="rId13" Type="http://schemas.openxmlformats.org/officeDocument/2006/relationships/image" Target="../media/image217.png"/><Relationship Id="rId18" Type="http://schemas.openxmlformats.org/officeDocument/2006/relationships/image" Target="../media/image222.png"/><Relationship Id="rId3" Type="http://schemas.openxmlformats.org/officeDocument/2006/relationships/image" Target="../media/image207.png"/><Relationship Id="rId7" Type="http://schemas.openxmlformats.org/officeDocument/2006/relationships/image" Target="../media/image211.png"/><Relationship Id="rId12" Type="http://schemas.openxmlformats.org/officeDocument/2006/relationships/image" Target="../media/image216.png"/><Relationship Id="rId17" Type="http://schemas.openxmlformats.org/officeDocument/2006/relationships/image" Target="../media/image221.png"/><Relationship Id="rId2" Type="http://schemas.openxmlformats.org/officeDocument/2006/relationships/notesSlide" Target="../notesSlides/notesSlide56.xml"/><Relationship Id="rId16" Type="http://schemas.openxmlformats.org/officeDocument/2006/relationships/image" Target="../media/image220.png"/><Relationship Id="rId20" Type="http://schemas.openxmlformats.org/officeDocument/2006/relationships/image" Target="../media/image224.png"/><Relationship Id="rId1" Type="http://schemas.openxmlformats.org/officeDocument/2006/relationships/slideLayout" Target="../slideLayouts/slideLayout506.xml"/><Relationship Id="rId6" Type="http://schemas.openxmlformats.org/officeDocument/2006/relationships/image" Target="../media/image210.png"/><Relationship Id="rId11" Type="http://schemas.openxmlformats.org/officeDocument/2006/relationships/image" Target="../media/image215.jpeg"/><Relationship Id="rId5" Type="http://schemas.openxmlformats.org/officeDocument/2006/relationships/image" Target="../media/image209.png"/><Relationship Id="rId15" Type="http://schemas.openxmlformats.org/officeDocument/2006/relationships/image" Target="../media/image219.png"/><Relationship Id="rId10" Type="http://schemas.openxmlformats.org/officeDocument/2006/relationships/image" Target="../media/image214.jpeg"/><Relationship Id="rId19" Type="http://schemas.openxmlformats.org/officeDocument/2006/relationships/image" Target="../media/image223.png"/><Relationship Id="rId4" Type="http://schemas.openxmlformats.org/officeDocument/2006/relationships/image" Target="../media/image208.jpeg"/><Relationship Id="rId9" Type="http://schemas.openxmlformats.org/officeDocument/2006/relationships/image" Target="../media/image213.png"/><Relationship Id="rId14" Type="http://schemas.openxmlformats.org/officeDocument/2006/relationships/image" Target="../media/image218.jpeg"/></Relationships>
</file>

<file path=ppt/slides/_rels/slide58.xml.rels><?xml version="1.0" encoding="UTF-8" standalone="yes"?>
<Relationships xmlns="http://schemas.openxmlformats.org/package/2006/relationships"><Relationship Id="rId3" Type="http://schemas.openxmlformats.org/officeDocument/2006/relationships/image" Target="../media/image202.png"/><Relationship Id="rId7" Type="http://schemas.openxmlformats.org/officeDocument/2006/relationships/image" Target="../media/image201.png"/><Relationship Id="rId2" Type="http://schemas.openxmlformats.org/officeDocument/2006/relationships/notesSlide" Target="../notesSlides/notesSlide57.xml"/><Relationship Id="rId1" Type="http://schemas.openxmlformats.org/officeDocument/2006/relationships/slideLayout" Target="../slideLayouts/slideLayout22.xml"/><Relationship Id="rId6" Type="http://schemas.openxmlformats.org/officeDocument/2006/relationships/image" Target="../media/image225.png"/><Relationship Id="rId5" Type="http://schemas.openxmlformats.org/officeDocument/2006/relationships/image" Target="../media/image204.svg"/><Relationship Id="rId4" Type="http://schemas.openxmlformats.org/officeDocument/2006/relationships/image" Target="../media/image203.png"/></Relationships>
</file>

<file path=ppt/slides/_rels/slide59.xml.rels><?xml version="1.0" encoding="UTF-8" standalone="yes"?>
<Relationships xmlns="http://schemas.openxmlformats.org/package/2006/relationships"><Relationship Id="rId13" Type="http://schemas.openxmlformats.org/officeDocument/2006/relationships/image" Target="../media/image236.png"/><Relationship Id="rId18" Type="http://schemas.openxmlformats.org/officeDocument/2006/relationships/image" Target="../media/image241.png"/><Relationship Id="rId26" Type="http://schemas.openxmlformats.org/officeDocument/2006/relationships/image" Target="../media/image249.jpeg"/><Relationship Id="rId3" Type="http://schemas.openxmlformats.org/officeDocument/2006/relationships/image" Target="../media/image226.png"/><Relationship Id="rId21" Type="http://schemas.openxmlformats.org/officeDocument/2006/relationships/image" Target="../media/image244.png"/><Relationship Id="rId7" Type="http://schemas.openxmlformats.org/officeDocument/2006/relationships/image" Target="../media/image230.png"/><Relationship Id="rId12" Type="http://schemas.openxmlformats.org/officeDocument/2006/relationships/image" Target="../media/image235.png"/><Relationship Id="rId17" Type="http://schemas.openxmlformats.org/officeDocument/2006/relationships/image" Target="../media/image240.png"/><Relationship Id="rId25" Type="http://schemas.openxmlformats.org/officeDocument/2006/relationships/image" Target="../media/image248.png"/><Relationship Id="rId33" Type="http://schemas.openxmlformats.org/officeDocument/2006/relationships/image" Target="../media/image256.png"/><Relationship Id="rId2" Type="http://schemas.openxmlformats.org/officeDocument/2006/relationships/notesSlide" Target="../notesSlides/notesSlide58.xml"/><Relationship Id="rId16" Type="http://schemas.openxmlformats.org/officeDocument/2006/relationships/image" Target="../media/image239.png"/><Relationship Id="rId20" Type="http://schemas.openxmlformats.org/officeDocument/2006/relationships/image" Target="../media/image243.png"/><Relationship Id="rId29" Type="http://schemas.openxmlformats.org/officeDocument/2006/relationships/image" Target="../media/image252.png"/><Relationship Id="rId1" Type="http://schemas.openxmlformats.org/officeDocument/2006/relationships/slideLayout" Target="../slideLayouts/slideLayout172.xml"/><Relationship Id="rId6" Type="http://schemas.openxmlformats.org/officeDocument/2006/relationships/image" Target="../media/image229.png"/><Relationship Id="rId11" Type="http://schemas.openxmlformats.org/officeDocument/2006/relationships/image" Target="../media/image234.png"/><Relationship Id="rId24" Type="http://schemas.openxmlformats.org/officeDocument/2006/relationships/image" Target="../media/image247.png"/><Relationship Id="rId32" Type="http://schemas.openxmlformats.org/officeDocument/2006/relationships/image" Target="../media/image255.jpeg"/><Relationship Id="rId5" Type="http://schemas.openxmlformats.org/officeDocument/2006/relationships/image" Target="../media/image228.png"/><Relationship Id="rId15" Type="http://schemas.openxmlformats.org/officeDocument/2006/relationships/image" Target="../media/image238.png"/><Relationship Id="rId23" Type="http://schemas.openxmlformats.org/officeDocument/2006/relationships/image" Target="../media/image246.png"/><Relationship Id="rId28" Type="http://schemas.openxmlformats.org/officeDocument/2006/relationships/image" Target="../media/image251.png"/><Relationship Id="rId10" Type="http://schemas.openxmlformats.org/officeDocument/2006/relationships/image" Target="../media/image233.png"/><Relationship Id="rId19" Type="http://schemas.openxmlformats.org/officeDocument/2006/relationships/image" Target="../media/image242.png"/><Relationship Id="rId31" Type="http://schemas.openxmlformats.org/officeDocument/2006/relationships/image" Target="../media/image254.png"/><Relationship Id="rId4" Type="http://schemas.openxmlformats.org/officeDocument/2006/relationships/image" Target="../media/image227.png"/><Relationship Id="rId9" Type="http://schemas.openxmlformats.org/officeDocument/2006/relationships/image" Target="../media/image232.png"/><Relationship Id="rId14" Type="http://schemas.openxmlformats.org/officeDocument/2006/relationships/image" Target="../media/image237.png"/><Relationship Id="rId22" Type="http://schemas.openxmlformats.org/officeDocument/2006/relationships/image" Target="../media/image245.jpeg"/><Relationship Id="rId27" Type="http://schemas.openxmlformats.org/officeDocument/2006/relationships/image" Target="../media/image250.png"/><Relationship Id="rId30" Type="http://schemas.openxmlformats.org/officeDocument/2006/relationships/image" Target="../media/image253.png"/><Relationship Id="rId8" Type="http://schemas.openxmlformats.org/officeDocument/2006/relationships/image" Target="../media/image23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63.xml"/></Relationships>
</file>

<file path=ppt/slides/_rels/slide61.xml.rels><?xml version="1.0" encoding="UTF-8" standalone="yes"?>
<Relationships xmlns="http://schemas.openxmlformats.org/package/2006/relationships"><Relationship Id="rId8" Type="http://schemas.openxmlformats.org/officeDocument/2006/relationships/image" Target="../media/image257.png"/><Relationship Id="rId13" Type="http://schemas.openxmlformats.org/officeDocument/2006/relationships/image" Target="../media/image262.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261.png"/><Relationship Id="rId17" Type="http://schemas.openxmlformats.org/officeDocument/2006/relationships/image" Target="../media/image266.svg"/><Relationship Id="rId2" Type="http://schemas.openxmlformats.org/officeDocument/2006/relationships/notesSlide" Target="../notesSlides/notesSlide60.xml"/><Relationship Id="rId16" Type="http://schemas.openxmlformats.org/officeDocument/2006/relationships/image" Target="../media/image265.png"/><Relationship Id="rId1" Type="http://schemas.openxmlformats.org/officeDocument/2006/relationships/slideLayout" Target="../slideLayouts/slideLayout288.xml"/><Relationship Id="rId6" Type="http://schemas.openxmlformats.org/officeDocument/2006/relationships/diagramColors" Target="../diagrams/colors2.xml"/><Relationship Id="rId11" Type="http://schemas.openxmlformats.org/officeDocument/2006/relationships/image" Target="../media/image260.svg"/><Relationship Id="rId5" Type="http://schemas.openxmlformats.org/officeDocument/2006/relationships/diagramQuickStyle" Target="../diagrams/quickStyle2.xml"/><Relationship Id="rId15" Type="http://schemas.openxmlformats.org/officeDocument/2006/relationships/image" Target="../media/image264.svg"/><Relationship Id="rId10" Type="http://schemas.openxmlformats.org/officeDocument/2006/relationships/image" Target="../media/image259.png"/><Relationship Id="rId4" Type="http://schemas.openxmlformats.org/officeDocument/2006/relationships/diagramLayout" Target="../diagrams/layout2.xml"/><Relationship Id="rId9" Type="http://schemas.openxmlformats.org/officeDocument/2006/relationships/image" Target="../media/image258.svg"/><Relationship Id="rId14" Type="http://schemas.openxmlformats.org/officeDocument/2006/relationships/image" Target="../media/image263.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0.xml"/></Relationships>
</file>

<file path=ppt/slides/_rels/slide64.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63.xml"/><Relationship Id="rId1" Type="http://schemas.openxmlformats.org/officeDocument/2006/relationships/slideLayout" Target="../slideLayouts/slideLayout467.xml"/></Relationships>
</file>

<file path=ppt/slides/_rels/slide65.xml.rels><?xml version="1.0" encoding="UTF-8" standalone="yes"?>
<Relationships xmlns="http://schemas.openxmlformats.org/package/2006/relationships"><Relationship Id="rId8" Type="http://schemas.openxmlformats.org/officeDocument/2006/relationships/image" Target="../media/image271.png"/><Relationship Id="rId13" Type="http://schemas.microsoft.com/office/2007/relationships/hdphoto" Target="../media/hdphoto4.wdp"/><Relationship Id="rId18" Type="http://schemas.microsoft.com/office/2007/relationships/hdphoto" Target="../media/hdphoto6.wdp"/><Relationship Id="rId3" Type="http://schemas.openxmlformats.org/officeDocument/2006/relationships/image" Target="../media/image268.emf"/><Relationship Id="rId21" Type="http://schemas.openxmlformats.org/officeDocument/2006/relationships/image" Target="../media/image280.png"/><Relationship Id="rId7" Type="http://schemas.microsoft.com/office/2007/relationships/hdphoto" Target="../media/hdphoto2.wdp"/><Relationship Id="rId12" Type="http://schemas.openxmlformats.org/officeDocument/2006/relationships/image" Target="../media/image274.png"/><Relationship Id="rId17" Type="http://schemas.openxmlformats.org/officeDocument/2006/relationships/image" Target="../media/image277.png"/><Relationship Id="rId2" Type="http://schemas.openxmlformats.org/officeDocument/2006/relationships/notesSlide" Target="../notesSlides/notesSlide64.xml"/><Relationship Id="rId16" Type="http://schemas.microsoft.com/office/2007/relationships/hdphoto" Target="../media/hdphoto5.wdp"/><Relationship Id="rId20" Type="http://schemas.openxmlformats.org/officeDocument/2006/relationships/image" Target="../media/image279.emf"/><Relationship Id="rId1" Type="http://schemas.openxmlformats.org/officeDocument/2006/relationships/slideLayout" Target="../slideLayouts/slideLayout263.xml"/><Relationship Id="rId6" Type="http://schemas.openxmlformats.org/officeDocument/2006/relationships/image" Target="../media/image270.png"/><Relationship Id="rId11" Type="http://schemas.openxmlformats.org/officeDocument/2006/relationships/image" Target="../media/image273.png"/><Relationship Id="rId24" Type="http://schemas.microsoft.com/office/2007/relationships/hdphoto" Target="../media/hdphoto8.wdp"/><Relationship Id="rId5" Type="http://schemas.microsoft.com/office/2007/relationships/hdphoto" Target="../media/hdphoto1.wdp"/><Relationship Id="rId15" Type="http://schemas.openxmlformats.org/officeDocument/2006/relationships/image" Target="../media/image276.png"/><Relationship Id="rId23" Type="http://schemas.openxmlformats.org/officeDocument/2006/relationships/image" Target="../media/image281.png"/><Relationship Id="rId10" Type="http://schemas.openxmlformats.org/officeDocument/2006/relationships/image" Target="../media/image272.png"/><Relationship Id="rId19" Type="http://schemas.openxmlformats.org/officeDocument/2006/relationships/image" Target="../media/image278.png"/><Relationship Id="rId4" Type="http://schemas.openxmlformats.org/officeDocument/2006/relationships/image" Target="../media/image269.png"/><Relationship Id="rId9" Type="http://schemas.microsoft.com/office/2007/relationships/hdphoto" Target="../media/hdphoto3.wdp"/><Relationship Id="rId14" Type="http://schemas.openxmlformats.org/officeDocument/2006/relationships/image" Target="../media/image275.jpeg"/><Relationship Id="rId22" Type="http://schemas.microsoft.com/office/2007/relationships/hdphoto" Target="../media/hdphoto7.wdp"/></Relationships>
</file>

<file path=ppt/slides/_rels/slide66.xml.rels><?xml version="1.0" encoding="UTF-8" standalone="yes"?>
<Relationships xmlns="http://schemas.openxmlformats.org/package/2006/relationships"><Relationship Id="rId3" Type="http://schemas.openxmlformats.org/officeDocument/2006/relationships/image" Target="../media/image268.emf"/><Relationship Id="rId7" Type="http://schemas.microsoft.com/office/2007/relationships/hdphoto" Target="../media/hdphoto2.wdp"/><Relationship Id="rId2" Type="http://schemas.openxmlformats.org/officeDocument/2006/relationships/notesSlide" Target="../notesSlides/notesSlide65.xml"/><Relationship Id="rId1" Type="http://schemas.openxmlformats.org/officeDocument/2006/relationships/slideLayout" Target="../slideLayouts/slideLayout20.xml"/><Relationship Id="rId6" Type="http://schemas.openxmlformats.org/officeDocument/2006/relationships/image" Target="../media/image270.png"/><Relationship Id="rId5" Type="http://schemas.microsoft.com/office/2007/relationships/hdphoto" Target="../media/hdphoto1.wdp"/><Relationship Id="rId4" Type="http://schemas.openxmlformats.org/officeDocument/2006/relationships/image" Target="../media/image269.png"/></Relationships>
</file>

<file path=ppt/slides/_rels/slide67.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66.xml"/><Relationship Id="rId1" Type="http://schemas.openxmlformats.org/officeDocument/2006/relationships/slideLayout" Target="../slideLayouts/slideLayout289.xml"/></Relationships>
</file>

<file path=ppt/slides/_rels/slide68.xml.rels><?xml version="1.0" encoding="UTF-8" standalone="yes"?>
<Relationships xmlns="http://schemas.openxmlformats.org/package/2006/relationships"><Relationship Id="rId3" Type="http://schemas.openxmlformats.org/officeDocument/2006/relationships/hyperlink" Target="https://docs.microsoft.com/en-us/azure/iot-hub/iot-hub-devguide-direct-methods" TargetMode="External"/><Relationship Id="rId2" Type="http://schemas.openxmlformats.org/officeDocument/2006/relationships/notesSlide" Target="../notesSlides/notesSlide67.xml"/><Relationship Id="rId1" Type="http://schemas.openxmlformats.org/officeDocument/2006/relationships/slideLayout" Target="../slideLayouts/slideLayout289.xml"/><Relationship Id="rId6" Type="http://schemas.openxmlformats.org/officeDocument/2006/relationships/image" Target="../media/image282.png"/><Relationship Id="rId5" Type="http://schemas.openxmlformats.org/officeDocument/2006/relationships/hyperlink" Target="https://docs.microsoft.com/en-us/azure/iot-hub/iot-hub-devguide-messages-c2d" TargetMode="External"/><Relationship Id="rId4" Type="http://schemas.openxmlformats.org/officeDocument/2006/relationships/hyperlink" Target="https://docs.microsoft.com/en-us/azure/iot-hub/iot-hub-devguide-device-twins"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273.png"/><Relationship Id="rId7" Type="http://schemas.microsoft.com/office/2007/relationships/hdphoto" Target="../media/hdphoto3.wdp"/><Relationship Id="rId2" Type="http://schemas.openxmlformats.org/officeDocument/2006/relationships/notesSlide" Target="../notesSlides/notesSlide68.xml"/><Relationship Id="rId1" Type="http://schemas.openxmlformats.org/officeDocument/2006/relationships/slideLayout" Target="../slideLayouts/slideLayout20.xml"/><Relationship Id="rId6" Type="http://schemas.openxmlformats.org/officeDocument/2006/relationships/image" Target="../media/image271.png"/><Relationship Id="rId5" Type="http://schemas.microsoft.com/office/2007/relationships/hdphoto" Target="../media/hdphoto1.wdp"/><Relationship Id="rId4" Type="http://schemas.openxmlformats.org/officeDocument/2006/relationships/image" Target="../media/image269.png"/></Relationships>
</file>

<file path=ppt/slides/_rels/slide7.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70.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69.xml"/><Relationship Id="rId1" Type="http://schemas.openxmlformats.org/officeDocument/2006/relationships/slideLayout" Target="../slideLayouts/slideLayout276.xml"/></Relationships>
</file>

<file path=ppt/slides/_rels/slide71.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70.xml"/><Relationship Id="rId1" Type="http://schemas.openxmlformats.org/officeDocument/2006/relationships/slideLayout" Target="../slideLayouts/slideLayout276.xml"/></Relationships>
</file>

<file path=ppt/slides/_rels/slide72.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71.xml"/><Relationship Id="rId1" Type="http://schemas.openxmlformats.org/officeDocument/2006/relationships/slideLayout" Target="../slideLayouts/slideLayout551.xml"/><Relationship Id="rId4" Type="http://schemas.openxmlformats.org/officeDocument/2006/relationships/image" Target="../media/image286.svg"/></Relationships>
</file>

<file path=ppt/slides/_rels/slide73.xml.rels><?xml version="1.0" encoding="UTF-8" standalone="yes"?>
<Relationships xmlns="http://schemas.openxmlformats.org/package/2006/relationships"><Relationship Id="rId8" Type="http://schemas.openxmlformats.org/officeDocument/2006/relationships/image" Target="../media/image292.svg"/><Relationship Id="rId3" Type="http://schemas.openxmlformats.org/officeDocument/2006/relationships/image" Target="../media/image287.png"/><Relationship Id="rId7" Type="http://schemas.openxmlformats.org/officeDocument/2006/relationships/image" Target="../media/image291.png"/><Relationship Id="rId12" Type="http://schemas.openxmlformats.org/officeDocument/2006/relationships/image" Target="../media/image296.svg"/><Relationship Id="rId2" Type="http://schemas.openxmlformats.org/officeDocument/2006/relationships/notesSlide" Target="../notesSlides/notesSlide72.xml"/><Relationship Id="rId1" Type="http://schemas.openxmlformats.org/officeDocument/2006/relationships/slideLayout" Target="../slideLayouts/slideLayout551.xml"/><Relationship Id="rId6" Type="http://schemas.openxmlformats.org/officeDocument/2006/relationships/image" Target="../media/image290.svg"/><Relationship Id="rId11" Type="http://schemas.openxmlformats.org/officeDocument/2006/relationships/image" Target="../media/image295.png"/><Relationship Id="rId5" Type="http://schemas.openxmlformats.org/officeDocument/2006/relationships/image" Target="../media/image289.png"/><Relationship Id="rId10" Type="http://schemas.openxmlformats.org/officeDocument/2006/relationships/image" Target="../media/image294.svg"/><Relationship Id="rId4" Type="http://schemas.openxmlformats.org/officeDocument/2006/relationships/image" Target="../media/image288.svg"/><Relationship Id="rId9" Type="http://schemas.openxmlformats.org/officeDocument/2006/relationships/image" Target="../media/image293.png"/></Relationships>
</file>

<file path=ppt/slides/_rels/slide74.xml.rels><?xml version="1.0" encoding="UTF-8" standalone="yes"?>
<Relationships xmlns="http://schemas.openxmlformats.org/package/2006/relationships"><Relationship Id="rId8" Type="http://schemas.openxmlformats.org/officeDocument/2006/relationships/image" Target="../media/image300.png"/><Relationship Id="rId13" Type="http://schemas.openxmlformats.org/officeDocument/2006/relationships/image" Target="../media/image305.svg"/><Relationship Id="rId3" Type="http://schemas.openxmlformats.org/officeDocument/2006/relationships/image" Target="../media/image297.jpeg"/><Relationship Id="rId7" Type="http://schemas.openxmlformats.org/officeDocument/2006/relationships/image" Target="../media/image286.svg"/><Relationship Id="rId12" Type="http://schemas.openxmlformats.org/officeDocument/2006/relationships/image" Target="../media/image304.png"/><Relationship Id="rId2" Type="http://schemas.openxmlformats.org/officeDocument/2006/relationships/notesSlide" Target="../notesSlides/notesSlide73.xml"/><Relationship Id="rId1" Type="http://schemas.openxmlformats.org/officeDocument/2006/relationships/slideLayout" Target="../slideLayouts/slideLayout551.xml"/><Relationship Id="rId6" Type="http://schemas.openxmlformats.org/officeDocument/2006/relationships/image" Target="../media/image285.png"/><Relationship Id="rId11" Type="http://schemas.openxmlformats.org/officeDocument/2006/relationships/image" Target="../media/image303.svg"/><Relationship Id="rId5" Type="http://schemas.openxmlformats.org/officeDocument/2006/relationships/image" Target="../media/image299.svg"/><Relationship Id="rId10" Type="http://schemas.openxmlformats.org/officeDocument/2006/relationships/image" Target="../media/image302.png"/><Relationship Id="rId4" Type="http://schemas.openxmlformats.org/officeDocument/2006/relationships/image" Target="../media/image298.png"/><Relationship Id="rId9" Type="http://schemas.openxmlformats.org/officeDocument/2006/relationships/image" Target="../media/image301.sv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xml"/><Relationship Id="rId1" Type="http://schemas.openxmlformats.org/officeDocument/2006/relationships/slideLayout" Target="../slideLayouts/slideLayout76.xml"/><Relationship Id="rId4" Type="http://schemas.openxmlformats.org/officeDocument/2006/relationships/image" Target="../media/image134.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71908B-50ED-4BC3-BD12-3A141E87B0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465" y="5229589"/>
            <a:ext cx="434549" cy="434548"/>
          </a:xfrm>
          <a:prstGeom prst="rect">
            <a:avLst/>
          </a:prstGeom>
        </p:spPr>
      </p:pic>
      <p:sp>
        <p:nvSpPr>
          <p:cNvPr id="4" name="TextBox 3">
            <a:extLst>
              <a:ext uri="{FF2B5EF4-FFF2-40B4-BE49-F238E27FC236}">
                <a16:creationId xmlns:a16="http://schemas.microsoft.com/office/drawing/2014/main" id="{4FDB6368-69A1-4D99-BA12-570FAFF3DBDF}"/>
              </a:ext>
            </a:extLst>
          </p:cNvPr>
          <p:cNvSpPr txBox="1"/>
          <p:nvPr/>
        </p:nvSpPr>
        <p:spPr>
          <a:xfrm>
            <a:off x="828446" y="5203087"/>
            <a:ext cx="1591321"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r>
              <a:rPr lang="en-US" sz="1600" dirty="0">
                <a:solidFill>
                  <a:srgbClr val="FFFFFF"/>
                </a:solidFill>
                <a:latin typeface="Segoe UI" panose="020B0502040204020203" pitchFamily="34" charset="0"/>
                <a:cs typeface="Segoe UI" panose="020B0502040204020203" pitchFamily="34" charset="0"/>
              </a:rPr>
              <a:t>A</a:t>
            </a:r>
            <a:r>
              <a:rPr kumimoji="0" lang="en-US" sz="16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ltaOhms</a:t>
            </a:r>
            <a:endPar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5" name="Picture 4">
            <a:extLst>
              <a:ext uri="{FF2B5EF4-FFF2-40B4-BE49-F238E27FC236}">
                <a16:creationId xmlns:a16="http://schemas.microsoft.com/office/drawing/2014/main" id="{4495D031-25E4-49A7-9685-879661EDF2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16" y="5705499"/>
            <a:ext cx="252448" cy="232470"/>
          </a:xfrm>
          <a:prstGeom prst="rect">
            <a:avLst/>
          </a:prstGeom>
        </p:spPr>
      </p:pic>
      <p:sp>
        <p:nvSpPr>
          <p:cNvPr id="7" name="TextBox 6">
            <a:extLst>
              <a:ext uri="{FF2B5EF4-FFF2-40B4-BE49-F238E27FC236}">
                <a16:creationId xmlns:a16="http://schemas.microsoft.com/office/drawing/2014/main" id="{EF1A9A90-9423-4288-8DAC-46A52289FFE8}"/>
              </a:ext>
            </a:extLst>
          </p:cNvPr>
          <p:cNvSpPr txBox="1"/>
          <p:nvPr/>
        </p:nvSpPr>
        <p:spPr>
          <a:xfrm>
            <a:off x="828446" y="5582199"/>
            <a:ext cx="3276421"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a:t>
            </a:r>
            <a:r>
              <a:rPr kumimoji="0" lang="en-US" sz="16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pamelacortezhellotechie</a:t>
            </a:r>
            <a:endPar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9" name="Title 1">
            <a:extLst>
              <a:ext uri="{FF2B5EF4-FFF2-40B4-BE49-F238E27FC236}">
                <a16:creationId xmlns:a16="http://schemas.microsoft.com/office/drawing/2014/main" id="{98D682EF-4B23-4C4E-AFB2-8A5B6585FD88}"/>
              </a:ext>
            </a:extLst>
          </p:cNvPr>
          <p:cNvSpPr txBox="1">
            <a:spLocks/>
          </p:cNvSpPr>
          <p:nvPr/>
        </p:nvSpPr>
        <p:spPr>
          <a:xfrm>
            <a:off x="584200" y="1502451"/>
            <a:ext cx="6623424" cy="2031325"/>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rgbClr val="50E6FF"/>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dirty="0">
                <a:ln w="3175">
                  <a:noFill/>
                </a:ln>
                <a:gradFill>
                  <a:gsLst>
                    <a:gs pos="0">
                      <a:srgbClr val="50E6FF"/>
                    </a:gs>
                    <a:gs pos="100000">
                      <a:srgbClr val="0078D4"/>
                    </a:gs>
                  </a:gsLst>
                  <a:lin ang="2700000" scaled="0"/>
                </a:gradFill>
                <a:effectLst/>
                <a:uLnTx/>
                <a:uFillTx/>
                <a:latin typeface="Segoe UI Semibold"/>
                <a:ea typeface="+mn-ea"/>
                <a:cs typeface="Segoe UI" panose="020B0502040204020203" pitchFamily="34" charset="0"/>
              </a:rPr>
              <a:t>Understand IoT message processing, analytics, and business integration</a:t>
            </a:r>
          </a:p>
        </p:txBody>
      </p:sp>
      <p:sp>
        <p:nvSpPr>
          <p:cNvPr id="11" name="Text Placeholder 4">
            <a:extLst>
              <a:ext uri="{FF2B5EF4-FFF2-40B4-BE49-F238E27FC236}">
                <a16:creationId xmlns:a16="http://schemas.microsoft.com/office/drawing/2014/main" id="{3BE32119-984D-4B35-AACE-EB7CC37F7660}"/>
              </a:ext>
            </a:extLst>
          </p:cNvPr>
          <p:cNvSpPr txBox="1">
            <a:spLocks/>
          </p:cNvSpPr>
          <p:nvPr/>
        </p:nvSpPr>
        <p:spPr>
          <a:xfrm>
            <a:off x="617516" y="3630025"/>
            <a:ext cx="6590107" cy="861774"/>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mela Cortez </a:t>
            </a:r>
            <a:r>
              <a:rPr kumimoji="0" lang="en-US" sz="28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a:t>
            </a: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icrosoft, Azure IoT</a:t>
            </a:r>
          </a:p>
        </p:txBody>
      </p:sp>
    </p:spTree>
    <p:extLst>
      <p:ext uri="{BB962C8B-B14F-4D97-AF65-F5344CB8AC3E}">
        <p14:creationId xmlns:p14="http://schemas.microsoft.com/office/powerpoint/2010/main" val="411068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 Placeholder 2">
            <a:extLst>
              <a:ext uri="{FF2B5EF4-FFF2-40B4-BE49-F238E27FC236}">
                <a16:creationId xmlns:a16="http://schemas.microsoft.com/office/drawing/2014/main" id="{69AF0B02-6B06-4676-A9EA-0919A100373A}"/>
              </a:ext>
            </a:extLst>
          </p:cNvPr>
          <p:cNvSpPr txBox="1">
            <a:spLocks/>
          </p:cNvSpPr>
          <p:nvPr/>
        </p:nvSpPr>
        <p:spPr>
          <a:xfrm>
            <a:off x="2187575" y="3624510"/>
            <a:ext cx="9419208" cy="430887"/>
          </a:xfr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fr-FR">
                <a:solidFill>
                  <a:schemeClr val="tx1"/>
                </a:solidFill>
              </a:rPr>
              <a:t>Aggregate data to the right level</a:t>
            </a:r>
            <a:endParaRPr lang="en-GB">
              <a:solidFill>
                <a:schemeClr val="tx1"/>
              </a:solidFill>
            </a:endParaRPr>
          </a:p>
        </p:txBody>
      </p:sp>
      <p:sp>
        <p:nvSpPr>
          <p:cNvPr id="6" name="Text Placeholder 3">
            <a:extLst>
              <a:ext uri="{FF2B5EF4-FFF2-40B4-BE49-F238E27FC236}">
                <a16:creationId xmlns:a16="http://schemas.microsoft.com/office/drawing/2014/main" id="{4E35F6F0-9F34-41A1-BC42-7338F8C23485}"/>
              </a:ext>
            </a:extLst>
          </p:cNvPr>
          <p:cNvSpPr txBox="1">
            <a:spLocks/>
          </p:cNvSpPr>
          <p:nvPr/>
        </p:nvSpPr>
        <p:spPr>
          <a:xfrm>
            <a:off x="2187575" y="4906294"/>
            <a:ext cx="9419208" cy="430887"/>
          </a:xfr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fr-FR">
                <a:solidFill>
                  <a:schemeClr val="tx1"/>
                </a:solidFill>
              </a:rPr>
              <a:t>Duplicate data to different, specialized storage &amp; analytics systems</a:t>
            </a:r>
            <a:endParaRPr lang="en-GB">
              <a:solidFill>
                <a:schemeClr val="tx1"/>
              </a:solidFill>
            </a:endParaRPr>
          </a:p>
        </p:txBody>
      </p:sp>
      <p:sp>
        <p:nvSpPr>
          <p:cNvPr id="7" name="Title 8">
            <a:extLst>
              <a:ext uri="{FF2B5EF4-FFF2-40B4-BE49-F238E27FC236}">
                <a16:creationId xmlns:a16="http://schemas.microsoft.com/office/drawing/2014/main" id="{16F183A3-DB08-4F0F-BB9D-DC9D5938BF60}"/>
              </a:ext>
            </a:extLst>
          </p:cNvPr>
          <p:cNvSpPr txBox="1">
            <a:spLocks/>
          </p:cNvSpPr>
          <p:nvPr/>
        </p:nvSpPr>
        <p:spPr>
          <a:xfrm>
            <a:off x="588416" y="571501"/>
            <a:ext cx="11033523" cy="430887"/>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4705" b="0" kern="1200" cap="none" spc="-49" baseline="0" dirty="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fr-FR"/>
              <a:t>What are the challenges of integrating data?</a:t>
            </a:r>
            <a:endParaRPr lang="en-GB"/>
          </a:p>
        </p:txBody>
      </p:sp>
      <p:sp>
        <p:nvSpPr>
          <p:cNvPr id="8" name="Text Placeholder 1">
            <a:extLst>
              <a:ext uri="{FF2B5EF4-FFF2-40B4-BE49-F238E27FC236}">
                <a16:creationId xmlns:a16="http://schemas.microsoft.com/office/drawing/2014/main" id="{96894556-37D1-4C80-B51B-B6CD3C7E0987}"/>
              </a:ext>
            </a:extLst>
          </p:cNvPr>
          <p:cNvSpPr txBox="1">
            <a:spLocks/>
          </p:cNvSpPr>
          <p:nvPr/>
        </p:nvSpPr>
        <p:spPr>
          <a:xfrm>
            <a:off x="2187575" y="2305395"/>
            <a:ext cx="9419208" cy="430887"/>
          </a:xfr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fr-FR" dirty="0" err="1">
                <a:solidFill>
                  <a:schemeClr val="tx1"/>
                </a:solidFill>
              </a:rPr>
              <a:t>Prepare</a:t>
            </a:r>
            <a:r>
              <a:rPr lang="fr-FR" dirty="0">
                <a:solidFill>
                  <a:schemeClr val="tx1"/>
                </a:solidFill>
              </a:rPr>
              <a:t> data </a:t>
            </a:r>
            <a:r>
              <a:rPr lang="fr-FR" dirty="0" err="1">
                <a:solidFill>
                  <a:schemeClr val="tx1"/>
                </a:solidFill>
              </a:rPr>
              <a:t>so</a:t>
            </a:r>
            <a:r>
              <a:rPr lang="fr-FR" dirty="0">
                <a:solidFill>
                  <a:schemeClr val="tx1"/>
                </a:solidFill>
              </a:rPr>
              <a:t> the </a:t>
            </a:r>
            <a:r>
              <a:rPr lang="fr-FR" dirty="0" err="1">
                <a:solidFill>
                  <a:schemeClr val="tx1"/>
                </a:solidFill>
              </a:rPr>
              <a:t>analysts</a:t>
            </a:r>
            <a:r>
              <a:rPr lang="fr-FR" dirty="0">
                <a:solidFill>
                  <a:schemeClr val="tx1"/>
                </a:solidFill>
              </a:rPr>
              <a:t> can </a:t>
            </a:r>
            <a:r>
              <a:rPr lang="fr-FR" dirty="0" err="1">
                <a:solidFill>
                  <a:schemeClr val="tx1"/>
                </a:solidFill>
              </a:rPr>
              <a:t>find</a:t>
            </a:r>
            <a:r>
              <a:rPr lang="fr-FR" dirty="0">
                <a:solidFill>
                  <a:schemeClr val="tx1"/>
                </a:solidFill>
              </a:rPr>
              <a:t> and use </a:t>
            </a:r>
            <a:r>
              <a:rPr lang="fr-FR" dirty="0" err="1">
                <a:solidFill>
                  <a:schemeClr val="tx1"/>
                </a:solidFill>
              </a:rPr>
              <a:t>it</a:t>
            </a:r>
            <a:endParaRPr lang="en-GB" dirty="0">
              <a:solidFill>
                <a:schemeClr val="tx1"/>
              </a:solidFill>
            </a:endParaRPr>
          </a:p>
        </p:txBody>
      </p:sp>
      <p:pic>
        <p:nvPicPr>
          <p:cNvPr id="11" name="Picture 10" descr="A close up of a sign&#10;&#10;Description automatically generated">
            <a:extLst>
              <a:ext uri="{FF2B5EF4-FFF2-40B4-BE49-F238E27FC236}">
                <a16:creationId xmlns:a16="http://schemas.microsoft.com/office/drawing/2014/main" id="{7930996B-2CD9-427E-865C-83E39423AA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324" y="3482394"/>
            <a:ext cx="715117" cy="715117"/>
          </a:xfrm>
          <a:prstGeom prst="rect">
            <a:avLst/>
          </a:prstGeom>
        </p:spPr>
      </p:pic>
      <p:pic>
        <p:nvPicPr>
          <p:cNvPr id="13" name="Picture 12" descr="A close up of a sign&#10;&#10;Description automatically generated">
            <a:extLst>
              <a:ext uri="{FF2B5EF4-FFF2-40B4-BE49-F238E27FC236}">
                <a16:creationId xmlns:a16="http://schemas.microsoft.com/office/drawing/2014/main" id="{87680F01-C5DC-48BD-A26B-9C824E4ED78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324" y="2163279"/>
            <a:ext cx="715117" cy="715117"/>
          </a:xfrm>
          <a:prstGeom prst="rect">
            <a:avLst/>
          </a:prstGeom>
        </p:spPr>
      </p:pic>
      <p:pic>
        <p:nvPicPr>
          <p:cNvPr id="15" name="Picture 14" descr="A close up of a sign&#10;&#10;Description automatically generated">
            <a:extLst>
              <a:ext uri="{FF2B5EF4-FFF2-40B4-BE49-F238E27FC236}">
                <a16:creationId xmlns:a16="http://schemas.microsoft.com/office/drawing/2014/main" id="{437BF35B-ECF8-4C43-B4E4-873FC68105D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280" y="4764178"/>
            <a:ext cx="715117" cy="715117"/>
          </a:xfrm>
          <a:prstGeom prst="rect">
            <a:avLst/>
          </a:prstGeom>
        </p:spPr>
      </p:pic>
    </p:spTree>
    <p:extLst>
      <p:ext uri="{BB962C8B-B14F-4D97-AF65-F5344CB8AC3E}">
        <p14:creationId xmlns:p14="http://schemas.microsoft.com/office/powerpoint/2010/main" val="34349624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56F685-7660-44E1-8125-9DA4E3F111E1}"/>
              </a:ext>
            </a:extLst>
          </p:cNvPr>
          <p:cNvSpPr/>
          <p:nvPr/>
        </p:nvSpPr>
        <p:spPr>
          <a:xfrm>
            <a:off x="511369" y="3423409"/>
            <a:ext cx="11335535" cy="350090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b"/>
          <a:lstStyle/>
          <a:p>
            <a:pPr algn="r" defTabSz="412667" hangingPunct="0">
              <a:lnSpc>
                <a:spcPct val="70000"/>
              </a:lnSpc>
            </a:pPr>
            <a:r>
              <a:rPr lang="fr-FR" sz="3600" kern="0" spc="-112" dirty="0">
                <a:solidFill>
                  <a:schemeClr val="tx1"/>
                </a:solidFill>
                <a:latin typeface="Segoe UI Semibold" panose="020B0702040204020203" pitchFamily="34" charset="0"/>
                <a:cs typeface="Segoe UI Semibold" panose="020B0702040204020203" pitchFamily="34" charset="0"/>
                <a:sym typeface="Segoe UI Semibold"/>
              </a:rPr>
              <a:t>COLD PATH</a:t>
            </a:r>
            <a:endParaRPr lang="en-GB" sz="8000" kern="0" spc="-112" dirty="0">
              <a:solidFill>
                <a:schemeClr val="tx1"/>
              </a:solidFill>
              <a:latin typeface="Segoe UI Semibold" panose="020B0702040204020203" pitchFamily="34" charset="0"/>
              <a:cs typeface="Segoe UI Semibold" panose="020B0702040204020203" pitchFamily="34" charset="0"/>
              <a:sym typeface="Segoe UI Semibold"/>
            </a:endParaRPr>
          </a:p>
        </p:txBody>
      </p:sp>
      <p:sp>
        <p:nvSpPr>
          <p:cNvPr id="5" name="Rectangle 4">
            <a:extLst>
              <a:ext uri="{FF2B5EF4-FFF2-40B4-BE49-F238E27FC236}">
                <a16:creationId xmlns:a16="http://schemas.microsoft.com/office/drawing/2014/main" id="{4C6A7BAC-DEA3-45D4-9A6B-2132BB072F9B}"/>
              </a:ext>
            </a:extLst>
          </p:cNvPr>
          <p:cNvSpPr/>
          <p:nvPr/>
        </p:nvSpPr>
        <p:spPr>
          <a:xfrm>
            <a:off x="511370" y="139610"/>
            <a:ext cx="11335535" cy="3297949"/>
          </a:xfrm>
          <a:prstGeom prst="rect">
            <a:avLst/>
          </a:prstGeom>
          <a:solidFill>
            <a:srgbClr val="195A98"/>
          </a:solidFill>
          <a:ln>
            <a:noFill/>
          </a:ln>
          <a:effectLst/>
        </p:spPr>
        <p:style>
          <a:lnRef idx="2">
            <a:schemeClr val="accent5">
              <a:shade val="50000"/>
            </a:schemeClr>
          </a:lnRef>
          <a:fillRef idx="1">
            <a:schemeClr val="accent5"/>
          </a:fillRef>
          <a:effectRef idx="0">
            <a:schemeClr val="accent5"/>
          </a:effectRef>
          <a:fontRef idx="minor">
            <a:schemeClr val="lt1"/>
          </a:fontRef>
        </p:style>
        <p:txBody>
          <a:bodyPr rtlCol="0" anchor="t"/>
          <a:lstStyle/>
          <a:p>
            <a:pPr defTabSz="412667" hangingPunct="0">
              <a:lnSpc>
                <a:spcPct val="70000"/>
              </a:lnSpc>
            </a:pPr>
            <a:endParaRPr lang="fr-FR" sz="2000" kern="0" spc="-112" dirty="0">
              <a:solidFill>
                <a:srgbClr val="FFFFFF"/>
              </a:solidFill>
              <a:latin typeface="Segoe UI Semibold" panose="020B0702040204020203" pitchFamily="34" charset="0"/>
              <a:cs typeface="Segoe UI Semibold" panose="020B0702040204020203" pitchFamily="34" charset="0"/>
              <a:sym typeface="Segoe UI Semibold"/>
            </a:endParaRPr>
          </a:p>
          <a:p>
            <a:pPr algn="ctr" defTabSz="412667" hangingPunct="0">
              <a:lnSpc>
                <a:spcPct val="70000"/>
              </a:lnSpc>
            </a:pPr>
            <a:r>
              <a:rPr lang="fr-FR" sz="3600" kern="0" spc="-112" dirty="0">
                <a:solidFill>
                  <a:schemeClr val="bg1"/>
                </a:solidFill>
                <a:latin typeface="Segoe UI Semibold" panose="020B0702040204020203" pitchFamily="34" charset="0"/>
                <a:cs typeface="Segoe UI Semibold" panose="020B0702040204020203" pitchFamily="34" charset="0"/>
                <a:sym typeface="Segoe UI Semibold"/>
              </a:rPr>
              <a:t>HOT PATH</a:t>
            </a:r>
            <a:endParaRPr lang="en-GB" sz="3600" kern="0" spc="-112" dirty="0">
              <a:solidFill>
                <a:schemeClr val="bg1"/>
              </a:solidFill>
              <a:latin typeface="Segoe UI Semibold" panose="020B0702040204020203" pitchFamily="34" charset="0"/>
              <a:cs typeface="Segoe UI Semibold" panose="020B0702040204020203" pitchFamily="34" charset="0"/>
              <a:sym typeface="Segoe UI Semibold"/>
            </a:endParaRPr>
          </a:p>
        </p:txBody>
      </p:sp>
      <p:sp>
        <p:nvSpPr>
          <p:cNvPr id="50" name="Rectangle 49">
            <a:extLst>
              <a:ext uri="{FF2B5EF4-FFF2-40B4-BE49-F238E27FC236}">
                <a16:creationId xmlns:a16="http://schemas.microsoft.com/office/drawing/2014/main" id="{908E8CE3-58BA-479A-96E7-A5E5823D85DA}"/>
              </a:ext>
            </a:extLst>
          </p:cNvPr>
          <p:cNvSpPr/>
          <p:nvPr/>
        </p:nvSpPr>
        <p:spPr bwMode="auto">
          <a:xfrm>
            <a:off x="688094" y="1468438"/>
            <a:ext cx="1430084" cy="3529351"/>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12" name="Group 11">
            <a:extLst>
              <a:ext uri="{FF2B5EF4-FFF2-40B4-BE49-F238E27FC236}">
                <a16:creationId xmlns:a16="http://schemas.microsoft.com/office/drawing/2014/main" id="{591E005E-A937-42D5-BD02-53B35F544AFC}"/>
              </a:ext>
            </a:extLst>
          </p:cNvPr>
          <p:cNvGrpSpPr/>
          <p:nvPr/>
        </p:nvGrpSpPr>
        <p:grpSpPr>
          <a:xfrm>
            <a:off x="843491" y="2888789"/>
            <a:ext cx="1459797" cy="360000"/>
            <a:chOff x="4051094" y="3143895"/>
            <a:chExt cx="1459797" cy="360000"/>
          </a:xfrm>
        </p:grpSpPr>
        <p:sp>
          <p:nvSpPr>
            <p:cNvPr id="53" name="TextBox 52">
              <a:extLst>
                <a:ext uri="{FF2B5EF4-FFF2-40B4-BE49-F238E27FC236}">
                  <a16:creationId xmlns:a16="http://schemas.microsoft.com/office/drawing/2014/main" id="{0E30BD84-8BF0-4944-88C0-C34DAE64AD03}"/>
                </a:ext>
              </a:extLst>
            </p:cNvPr>
            <p:cNvSpPr txBox="1"/>
            <p:nvPr/>
          </p:nvSpPr>
          <p:spPr>
            <a:xfrm>
              <a:off x="4632938" y="3157739"/>
              <a:ext cx="877953" cy="332312"/>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IoT Hub</a:t>
              </a:r>
            </a:p>
          </p:txBody>
        </p:sp>
        <p:pic>
          <p:nvPicPr>
            <p:cNvPr id="54" name="Graphic 53">
              <a:extLst>
                <a:ext uri="{FF2B5EF4-FFF2-40B4-BE49-F238E27FC236}">
                  <a16:creationId xmlns:a16="http://schemas.microsoft.com/office/drawing/2014/main" id="{0B5D69B3-9DA5-42A7-A352-E348B834EA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1094" y="3143895"/>
              <a:ext cx="360000" cy="360000"/>
            </a:xfrm>
            <a:prstGeom prst="rect">
              <a:avLst/>
            </a:prstGeom>
          </p:spPr>
        </p:pic>
      </p:grpSp>
      <p:sp>
        <p:nvSpPr>
          <p:cNvPr id="62" name="Rectangle 61">
            <a:extLst>
              <a:ext uri="{FF2B5EF4-FFF2-40B4-BE49-F238E27FC236}">
                <a16:creationId xmlns:a16="http://schemas.microsoft.com/office/drawing/2014/main" id="{0AC160C8-D4B2-4EC7-A14A-BBFE16394F29}"/>
              </a:ext>
            </a:extLst>
          </p:cNvPr>
          <p:cNvSpPr/>
          <p:nvPr/>
        </p:nvSpPr>
        <p:spPr bwMode="auto">
          <a:xfrm>
            <a:off x="9519366" y="1653058"/>
            <a:ext cx="1841930" cy="1060428"/>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52" name="Group 51">
            <a:extLst>
              <a:ext uri="{FF2B5EF4-FFF2-40B4-BE49-F238E27FC236}">
                <a16:creationId xmlns:a16="http://schemas.microsoft.com/office/drawing/2014/main" id="{D853985D-7CDB-45B5-B002-36FE52C4BD9D}"/>
              </a:ext>
            </a:extLst>
          </p:cNvPr>
          <p:cNvGrpSpPr/>
          <p:nvPr/>
        </p:nvGrpSpPr>
        <p:grpSpPr>
          <a:xfrm>
            <a:off x="9819103" y="1988591"/>
            <a:ext cx="1242459" cy="360000"/>
            <a:chOff x="9902123" y="1988591"/>
            <a:chExt cx="1242459" cy="360000"/>
          </a:xfrm>
        </p:grpSpPr>
        <p:sp>
          <p:nvSpPr>
            <p:cNvPr id="63" name="TextBox 62">
              <a:extLst>
                <a:ext uri="{FF2B5EF4-FFF2-40B4-BE49-F238E27FC236}">
                  <a16:creationId xmlns:a16="http://schemas.microsoft.com/office/drawing/2014/main" id="{A743F278-6B81-41D3-85A1-0782B7F99DAC}"/>
                </a:ext>
              </a:extLst>
            </p:cNvPr>
            <p:cNvSpPr txBox="1"/>
            <p:nvPr/>
          </p:nvSpPr>
          <p:spPr>
            <a:xfrm>
              <a:off x="10536539" y="2117360"/>
              <a:ext cx="608043" cy="166156"/>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Teams</a:t>
              </a:r>
            </a:p>
          </p:txBody>
        </p:sp>
        <p:pic>
          <p:nvPicPr>
            <p:cNvPr id="27" name="Picture 2" descr="Afficher l’image source">
              <a:extLst>
                <a:ext uri="{FF2B5EF4-FFF2-40B4-BE49-F238E27FC236}">
                  <a16:creationId xmlns:a16="http://schemas.microsoft.com/office/drawing/2014/main" id="{CCE219AC-2501-4419-86D3-4A0A0C76CAC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02123" y="1988591"/>
              <a:ext cx="360000" cy="360000"/>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Rectangle 64">
            <a:extLst>
              <a:ext uri="{FF2B5EF4-FFF2-40B4-BE49-F238E27FC236}">
                <a16:creationId xmlns:a16="http://schemas.microsoft.com/office/drawing/2014/main" id="{9DFC749E-EDE3-4735-8DB5-98C9D73CB2F5}"/>
              </a:ext>
            </a:extLst>
          </p:cNvPr>
          <p:cNvSpPr/>
          <p:nvPr/>
        </p:nvSpPr>
        <p:spPr bwMode="auto">
          <a:xfrm>
            <a:off x="2886838" y="1466811"/>
            <a:ext cx="3108256"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28" name="Graphic 27">
            <a:extLst>
              <a:ext uri="{FF2B5EF4-FFF2-40B4-BE49-F238E27FC236}">
                <a16:creationId xmlns:a16="http://schemas.microsoft.com/office/drawing/2014/main" id="{58D08A55-172F-4321-B76E-5FF84B9ECF0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212" y="1928871"/>
            <a:ext cx="360000" cy="360000"/>
          </a:xfrm>
          <a:prstGeom prst="rect">
            <a:avLst/>
          </a:prstGeom>
        </p:spPr>
      </p:pic>
      <p:sp>
        <p:nvSpPr>
          <p:cNvPr id="69" name="Rectangle 68">
            <a:extLst>
              <a:ext uri="{FF2B5EF4-FFF2-40B4-BE49-F238E27FC236}">
                <a16:creationId xmlns:a16="http://schemas.microsoft.com/office/drawing/2014/main" id="{DF385D95-BC04-42BC-A6B2-DB69687A130E}"/>
              </a:ext>
            </a:extLst>
          </p:cNvPr>
          <p:cNvSpPr/>
          <p:nvPr/>
        </p:nvSpPr>
        <p:spPr bwMode="auto">
          <a:xfrm>
            <a:off x="9519366" y="296712"/>
            <a:ext cx="1841930" cy="1010743"/>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49" name="Group 48">
            <a:extLst>
              <a:ext uri="{FF2B5EF4-FFF2-40B4-BE49-F238E27FC236}">
                <a16:creationId xmlns:a16="http://schemas.microsoft.com/office/drawing/2014/main" id="{8D9DD90E-D3E5-452A-A6C2-5985319E0E96}"/>
              </a:ext>
            </a:extLst>
          </p:cNvPr>
          <p:cNvGrpSpPr/>
          <p:nvPr/>
        </p:nvGrpSpPr>
        <p:grpSpPr>
          <a:xfrm>
            <a:off x="9809642" y="653904"/>
            <a:ext cx="1261378" cy="371176"/>
            <a:chOff x="9809144" y="653904"/>
            <a:chExt cx="1261378" cy="371176"/>
          </a:xfrm>
        </p:grpSpPr>
        <p:sp>
          <p:nvSpPr>
            <p:cNvPr id="70" name="TextBox 69">
              <a:extLst>
                <a:ext uri="{FF2B5EF4-FFF2-40B4-BE49-F238E27FC236}">
                  <a16:creationId xmlns:a16="http://schemas.microsoft.com/office/drawing/2014/main" id="{0104E137-30D3-4D40-819B-566D0CAAF136}"/>
                </a:ext>
              </a:extLst>
            </p:cNvPr>
            <p:cNvSpPr txBox="1"/>
            <p:nvPr/>
          </p:nvSpPr>
          <p:spPr>
            <a:xfrm>
              <a:off x="10387856" y="692768"/>
              <a:ext cx="682666" cy="332312"/>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Business services</a:t>
              </a:r>
            </a:p>
          </p:txBody>
        </p:sp>
        <p:grpSp>
          <p:nvGrpSpPr>
            <p:cNvPr id="71" name="Group 70">
              <a:extLst>
                <a:ext uri="{FF2B5EF4-FFF2-40B4-BE49-F238E27FC236}">
                  <a16:creationId xmlns:a16="http://schemas.microsoft.com/office/drawing/2014/main" id="{72937D55-903A-4C79-B80C-10B5E2D54216}"/>
                </a:ext>
              </a:extLst>
            </p:cNvPr>
            <p:cNvGrpSpPr/>
            <p:nvPr/>
          </p:nvGrpSpPr>
          <p:grpSpPr>
            <a:xfrm>
              <a:off x="9809144" y="653904"/>
              <a:ext cx="427872" cy="363981"/>
              <a:chOff x="265316" y="5131089"/>
              <a:chExt cx="793593" cy="675092"/>
            </a:xfrm>
          </p:grpSpPr>
          <p:grpSp>
            <p:nvGrpSpPr>
              <p:cNvPr id="72" name="Group 71">
                <a:extLst>
                  <a:ext uri="{FF2B5EF4-FFF2-40B4-BE49-F238E27FC236}">
                    <a16:creationId xmlns:a16="http://schemas.microsoft.com/office/drawing/2014/main" id="{DBE8FD0A-2208-41DE-BB90-46F76E440EE8}"/>
                  </a:ext>
                </a:extLst>
              </p:cNvPr>
              <p:cNvGrpSpPr/>
              <p:nvPr/>
            </p:nvGrpSpPr>
            <p:grpSpPr>
              <a:xfrm>
                <a:off x="265316" y="5131089"/>
                <a:ext cx="793593" cy="675092"/>
                <a:chOff x="2107244" y="1575258"/>
                <a:chExt cx="310993" cy="264555"/>
              </a:xfrm>
            </p:grpSpPr>
            <p:sp>
              <p:nvSpPr>
                <p:cNvPr id="78" name="Rectangle 9">
                  <a:extLst>
                    <a:ext uri="{FF2B5EF4-FFF2-40B4-BE49-F238E27FC236}">
                      <a16:creationId xmlns:a16="http://schemas.microsoft.com/office/drawing/2014/main" id="{ED0185CF-75F6-4AD2-831D-41C9572A8225}"/>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grpSp>
              <p:nvGrpSpPr>
                <p:cNvPr id="79" name="Group 78">
                  <a:extLst>
                    <a:ext uri="{FF2B5EF4-FFF2-40B4-BE49-F238E27FC236}">
                      <a16:creationId xmlns:a16="http://schemas.microsoft.com/office/drawing/2014/main" id="{25D74247-B316-4204-8663-4140A9C8BE23}"/>
                    </a:ext>
                  </a:extLst>
                </p:cNvPr>
                <p:cNvGrpSpPr/>
                <p:nvPr/>
              </p:nvGrpSpPr>
              <p:grpSpPr>
                <a:xfrm>
                  <a:off x="2219774" y="1683758"/>
                  <a:ext cx="104220" cy="99334"/>
                  <a:chOff x="2219774" y="1683758"/>
                  <a:chExt cx="104220" cy="99334"/>
                </a:xfrm>
              </p:grpSpPr>
              <p:sp>
                <p:nvSpPr>
                  <p:cNvPr id="80" name="Freeform 14">
                    <a:extLst>
                      <a:ext uri="{FF2B5EF4-FFF2-40B4-BE49-F238E27FC236}">
                        <a16:creationId xmlns:a16="http://schemas.microsoft.com/office/drawing/2014/main" id="{10F36D5E-BBBA-492D-BC43-71501DBA459D}"/>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sp>
                <p:nvSpPr>
                  <p:cNvPr id="81" name="Line 15">
                    <a:extLst>
                      <a:ext uri="{FF2B5EF4-FFF2-40B4-BE49-F238E27FC236}">
                        <a16:creationId xmlns:a16="http://schemas.microsoft.com/office/drawing/2014/main" id="{5E3ACB78-C336-4253-A1BD-E8EDD8162DC1}"/>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grpSp>
          </p:grpSp>
          <p:sp>
            <p:nvSpPr>
              <p:cNvPr id="73" name="Rectangle 72">
                <a:extLst>
                  <a:ext uri="{FF2B5EF4-FFF2-40B4-BE49-F238E27FC236}">
                    <a16:creationId xmlns:a16="http://schemas.microsoft.com/office/drawing/2014/main" id="{8560E36F-314D-44AB-B88E-93E971E97927}"/>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Segoe UI"/>
                  <a:ea typeface="Segoe UI" pitchFamily="34" charset="0"/>
                  <a:cs typeface="Segoe UI" pitchFamily="34" charset="0"/>
                  <a:sym typeface="Segoe UI Semibold"/>
                </a:endParaRPr>
              </a:p>
            </p:txBody>
          </p:sp>
          <p:grpSp>
            <p:nvGrpSpPr>
              <p:cNvPr id="74" name="Group 73">
                <a:extLst>
                  <a:ext uri="{FF2B5EF4-FFF2-40B4-BE49-F238E27FC236}">
                    <a16:creationId xmlns:a16="http://schemas.microsoft.com/office/drawing/2014/main" id="{3168D619-9736-47B4-A33C-212E1213A3F3}"/>
                  </a:ext>
                </a:extLst>
              </p:cNvPr>
              <p:cNvGrpSpPr/>
              <p:nvPr/>
            </p:nvGrpSpPr>
            <p:grpSpPr>
              <a:xfrm>
                <a:off x="750755" y="5171384"/>
                <a:ext cx="242719" cy="60681"/>
                <a:chOff x="722201" y="5189927"/>
                <a:chExt cx="242719" cy="60681"/>
              </a:xfrm>
            </p:grpSpPr>
            <p:sp>
              <p:nvSpPr>
                <p:cNvPr id="75" name="Oval 11">
                  <a:extLst>
                    <a:ext uri="{FF2B5EF4-FFF2-40B4-BE49-F238E27FC236}">
                      <a16:creationId xmlns:a16="http://schemas.microsoft.com/office/drawing/2014/main" id="{A4C086C1-CD2B-49FD-8BD8-9607EB66E4F2}"/>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sp>
              <p:nvSpPr>
                <p:cNvPr id="76" name="Oval 12">
                  <a:extLst>
                    <a:ext uri="{FF2B5EF4-FFF2-40B4-BE49-F238E27FC236}">
                      <a16:creationId xmlns:a16="http://schemas.microsoft.com/office/drawing/2014/main" id="{5BCF4DAA-2567-4AB2-A90A-DFC736FBA6CF}"/>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sp>
              <p:nvSpPr>
                <p:cNvPr id="77" name="Oval 13">
                  <a:extLst>
                    <a:ext uri="{FF2B5EF4-FFF2-40B4-BE49-F238E27FC236}">
                      <a16:creationId xmlns:a16="http://schemas.microsoft.com/office/drawing/2014/main" id="{1F4ABDFE-13BC-4581-8015-256981F5B45A}"/>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grpSp>
        </p:grpSp>
      </p:grpSp>
      <p:sp>
        <p:nvSpPr>
          <p:cNvPr id="82" name="Rectangle 81">
            <a:extLst>
              <a:ext uri="{FF2B5EF4-FFF2-40B4-BE49-F238E27FC236}">
                <a16:creationId xmlns:a16="http://schemas.microsoft.com/office/drawing/2014/main" id="{66B08E33-17BA-49F8-A915-252A71824752}"/>
              </a:ext>
            </a:extLst>
          </p:cNvPr>
          <p:cNvSpPr/>
          <p:nvPr/>
        </p:nvSpPr>
        <p:spPr bwMode="auto">
          <a:xfrm>
            <a:off x="6536735" y="1490434"/>
            <a:ext cx="720000" cy="720000"/>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sp>
        <p:nvSpPr>
          <p:cNvPr id="83" name="Rectangle 82">
            <a:extLst>
              <a:ext uri="{FF2B5EF4-FFF2-40B4-BE49-F238E27FC236}">
                <a16:creationId xmlns:a16="http://schemas.microsoft.com/office/drawing/2014/main" id="{559A000E-F334-46BC-9912-17CBB8A06D8E}"/>
              </a:ext>
            </a:extLst>
          </p:cNvPr>
          <p:cNvSpPr/>
          <p:nvPr/>
        </p:nvSpPr>
        <p:spPr bwMode="auto">
          <a:xfrm>
            <a:off x="7866299" y="1512276"/>
            <a:ext cx="720000" cy="720000"/>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30" name="Graphic 29">
            <a:extLst>
              <a:ext uri="{FF2B5EF4-FFF2-40B4-BE49-F238E27FC236}">
                <a16:creationId xmlns:a16="http://schemas.microsoft.com/office/drawing/2014/main" id="{FB9AB600-0B93-4585-8198-DC7584CD91A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8516" y="1670434"/>
            <a:ext cx="360000" cy="360000"/>
          </a:xfrm>
          <a:prstGeom prst="rect">
            <a:avLst/>
          </a:prstGeom>
        </p:spPr>
      </p:pic>
      <p:pic>
        <p:nvPicPr>
          <p:cNvPr id="31" name="Graphic 30">
            <a:extLst>
              <a:ext uri="{FF2B5EF4-FFF2-40B4-BE49-F238E27FC236}">
                <a16:creationId xmlns:a16="http://schemas.microsoft.com/office/drawing/2014/main" id="{89895D92-D5AE-48D5-9BA4-C0CBAAC527E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55182" y="1692276"/>
            <a:ext cx="360000" cy="360000"/>
          </a:xfrm>
          <a:prstGeom prst="rect">
            <a:avLst/>
          </a:prstGeom>
        </p:spPr>
      </p:pic>
      <p:cxnSp>
        <p:nvCxnSpPr>
          <p:cNvPr id="2048" name="Straight Arrow Connector 2047">
            <a:extLst>
              <a:ext uri="{FF2B5EF4-FFF2-40B4-BE49-F238E27FC236}">
                <a16:creationId xmlns:a16="http://schemas.microsoft.com/office/drawing/2014/main" id="{48FC0D36-3860-47C4-888F-562A99353B64}"/>
              </a:ext>
            </a:extLst>
          </p:cNvPr>
          <p:cNvCxnSpPr>
            <a:cxnSpLocks/>
          </p:cNvCxnSpPr>
          <p:nvPr/>
        </p:nvCxnSpPr>
        <p:spPr>
          <a:xfrm>
            <a:off x="1547052" y="4997788"/>
            <a:ext cx="0" cy="876068"/>
          </a:xfrm>
          <a:prstGeom prst="straightConnector1">
            <a:avLst/>
          </a:prstGeom>
          <a:noFill/>
          <a:ln w="19050" cap="flat" cmpd="sng" algn="ctr">
            <a:solidFill>
              <a:srgbClr val="000000"/>
            </a:solidFill>
            <a:prstDash val="solid"/>
            <a:headEnd type="none" w="lg" len="med"/>
            <a:tailEnd type="triangle" w="med" len="med"/>
          </a:ln>
          <a:effectLst/>
        </p:spPr>
      </p:cxnSp>
      <p:grpSp>
        <p:nvGrpSpPr>
          <p:cNvPr id="2078" name="Group 2077">
            <a:extLst>
              <a:ext uri="{FF2B5EF4-FFF2-40B4-BE49-F238E27FC236}">
                <a16:creationId xmlns:a16="http://schemas.microsoft.com/office/drawing/2014/main" id="{F2780D3B-3E3D-4C7B-BA1F-C0FF339D8A51}"/>
              </a:ext>
            </a:extLst>
          </p:cNvPr>
          <p:cNvGrpSpPr/>
          <p:nvPr/>
        </p:nvGrpSpPr>
        <p:grpSpPr>
          <a:xfrm>
            <a:off x="688095" y="5881927"/>
            <a:ext cx="8254704" cy="791308"/>
            <a:chOff x="686507" y="6142892"/>
            <a:chExt cx="8254704" cy="791308"/>
          </a:xfrm>
        </p:grpSpPr>
        <p:sp>
          <p:nvSpPr>
            <p:cNvPr id="55" name="Rectangle 54">
              <a:extLst>
                <a:ext uri="{FF2B5EF4-FFF2-40B4-BE49-F238E27FC236}">
                  <a16:creationId xmlns:a16="http://schemas.microsoft.com/office/drawing/2014/main" id="{C06EF729-EA3D-4610-99C8-C942AF45A401}"/>
                </a:ext>
              </a:extLst>
            </p:cNvPr>
            <p:cNvSpPr/>
            <p:nvPr/>
          </p:nvSpPr>
          <p:spPr bwMode="auto">
            <a:xfrm>
              <a:off x="686507" y="6142892"/>
              <a:ext cx="8254704" cy="791308"/>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55" name="Group 2054">
              <a:extLst>
                <a:ext uri="{FF2B5EF4-FFF2-40B4-BE49-F238E27FC236}">
                  <a16:creationId xmlns:a16="http://schemas.microsoft.com/office/drawing/2014/main" id="{7EA480AF-11E2-4F28-8D26-F88C28BFD7EE}"/>
                </a:ext>
              </a:extLst>
            </p:cNvPr>
            <p:cNvGrpSpPr/>
            <p:nvPr/>
          </p:nvGrpSpPr>
          <p:grpSpPr>
            <a:xfrm>
              <a:off x="3704638" y="6358546"/>
              <a:ext cx="2218443" cy="367641"/>
              <a:chOff x="3476723" y="5710846"/>
              <a:chExt cx="2218443" cy="367641"/>
            </a:xfrm>
          </p:grpSpPr>
          <p:pic>
            <p:nvPicPr>
              <p:cNvPr id="18" name="Graphic 17">
                <a:extLst>
                  <a:ext uri="{FF2B5EF4-FFF2-40B4-BE49-F238E27FC236}">
                    <a16:creationId xmlns:a16="http://schemas.microsoft.com/office/drawing/2014/main" id="{36942917-ADCB-4A69-9BE2-9DD4E7BAA87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476723" y="5710846"/>
                <a:ext cx="360000" cy="360000"/>
              </a:xfrm>
              <a:prstGeom prst="rect">
                <a:avLst/>
              </a:prstGeom>
            </p:spPr>
          </p:pic>
          <p:sp>
            <p:nvSpPr>
              <p:cNvPr id="2054" name="TextBox 2053">
                <a:extLst>
                  <a:ext uri="{FF2B5EF4-FFF2-40B4-BE49-F238E27FC236}">
                    <a16:creationId xmlns:a16="http://schemas.microsoft.com/office/drawing/2014/main" id="{7200BAAA-A6E8-473D-96F7-96017DDF7517}"/>
                  </a:ext>
                </a:extLst>
              </p:cNvPr>
              <p:cNvSpPr txBox="1"/>
              <p:nvPr/>
            </p:nvSpPr>
            <p:spPr>
              <a:xfrm>
                <a:off x="4107562" y="5746088"/>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Lake Gen 2</a:t>
                </a:r>
              </a:p>
            </p:txBody>
          </p:sp>
        </p:grpSp>
      </p:grpSp>
      <p:cxnSp>
        <p:nvCxnSpPr>
          <p:cNvPr id="2059" name="Straight Arrow Connector 2058">
            <a:extLst>
              <a:ext uri="{FF2B5EF4-FFF2-40B4-BE49-F238E27FC236}">
                <a16:creationId xmlns:a16="http://schemas.microsoft.com/office/drawing/2014/main" id="{83E466FE-227B-4755-A92C-80A50BCDB1C6}"/>
              </a:ext>
            </a:extLst>
          </p:cNvPr>
          <p:cNvCxnSpPr>
            <a:cxnSpLocks/>
          </p:cNvCxnSpPr>
          <p:nvPr/>
        </p:nvCxnSpPr>
        <p:spPr>
          <a:xfrm>
            <a:off x="2118178" y="2117360"/>
            <a:ext cx="768660" cy="0"/>
          </a:xfrm>
          <a:prstGeom prst="straightConnector1">
            <a:avLst/>
          </a:prstGeom>
          <a:noFill/>
          <a:ln w="19050" cap="flat" cmpd="sng" algn="ctr">
            <a:solidFill>
              <a:srgbClr val="000000"/>
            </a:solidFill>
            <a:prstDash val="solid"/>
            <a:headEnd type="none" w="lg" len="med"/>
            <a:tailEnd type="triangle" w="med" len="med"/>
          </a:ln>
          <a:effectLst/>
        </p:spPr>
      </p:cxnSp>
      <p:sp>
        <p:nvSpPr>
          <p:cNvPr id="2062" name="TextBox 2061">
            <a:extLst>
              <a:ext uri="{FF2B5EF4-FFF2-40B4-BE49-F238E27FC236}">
                <a16:creationId xmlns:a16="http://schemas.microsoft.com/office/drawing/2014/main" id="{8D493B05-F15E-4599-95EE-34A9445E1381}"/>
              </a:ext>
            </a:extLst>
          </p:cNvPr>
          <p:cNvSpPr txBox="1"/>
          <p:nvPr/>
        </p:nvSpPr>
        <p:spPr>
          <a:xfrm>
            <a:off x="3884862" y="1938919"/>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tream Analytics</a:t>
            </a:r>
          </a:p>
        </p:txBody>
      </p:sp>
      <p:sp>
        <p:nvSpPr>
          <p:cNvPr id="106" name="TextBox 105">
            <a:extLst>
              <a:ext uri="{FF2B5EF4-FFF2-40B4-BE49-F238E27FC236}">
                <a16:creationId xmlns:a16="http://schemas.microsoft.com/office/drawing/2014/main" id="{2EE8F954-7726-47DE-9ADE-C6C42278610B}"/>
              </a:ext>
            </a:extLst>
          </p:cNvPr>
          <p:cNvSpPr txBox="1"/>
          <p:nvPr/>
        </p:nvSpPr>
        <p:spPr>
          <a:xfrm>
            <a:off x="6698516" y="2360043"/>
            <a:ext cx="605610" cy="332399"/>
          </a:xfrm>
          <a:prstGeom prst="rect">
            <a:avLst/>
          </a:prstGeom>
          <a:noFill/>
        </p:spPr>
        <p:txBody>
          <a:bodyPr wrap="square" lIns="0" tIns="0" rIns="0" bIns="0" rtlCol="0">
            <a:spAutoFit/>
          </a:bodyPr>
          <a:lstStyle/>
          <a:p>
            <a:pPr defTabSz="914093">
              <a:lnSpc>
                <a:spcPct val="90000"/>
              </a:lnSpc>
              <a:defRPr/>
            </a:pPr>
            <a:r>
              <a:rPr lang="en-US" sz="1200" kern="0">
                <a:solidFill>
                  <a:srgbClr val="FFFFFF">
                    <a:lumMod val="75000"/>
                  </a:srgbClr>
                </a:solidFill>
                <a:latin typeface="Segoe UI Semibold"/>
                <a:sym typeface="Segoe UI Semibold"/>
              </a:rPr>
              <a:t>Event Hubs</a:t>
            </a:r>
          </a:p>
        </p:txBody>
      </p:sp>
      <p:sp>
        <p:nvSpPr>
          <p:cNvPr id="107" name="TextBox 106">
            <a:extLst>
              <a:ext uri="{FF2B5EF4-FFF2-40B4-BE49-F238E27FC236}">
                <a16:creationId xmlns:a16="http://schemas.microsoft.com/office/drawing/2014/main" id="{CAC8D8EB-589A-4934-A330-E3BC434FE4E4}"/>
              </a:ext>
            </a:extLst>
          </p:cNvPr>
          <p:cNvSpPr txBox="1"/>
          <p:nvPr/>
        </p:nvSpPr>
        <p:spPr>
          <a:xfrm>
            <a:off x="7827503" y="2444528"/>
            <a:ext cx="719999" cy="166199"/>
          </a:xfrm>
          <a:prstGeom prst="rect">
            <a:avLst/>
          </a:prstGeom>
          <a:noFill/>
        </p:spPr>
        <p:txBody>
          <a:bodyPr wrap="square" lIns="0" tIns="0" rIns="0" bIns="0" rtlCol="0">
            <a:spAutoFit/>
          </a:bodyPr>
          <a:lstStyle/>
          <a:p>
            <a:pPr defTabSz="914093">
              <a:lnSpc>
                <a:spcPct val="90000"/>
              </a:lnSpc>
              <a:defRPr/>
            </a:pPr>
            <a:r>
              <a:rPr lang="en-US" sz="1200" kern="0">
                <a:solidFill>
                  <a:srgbClr val="FFFFFF">
                    <a:lumMod val="75000"/>
                  </a:srgbClr>
                </a:solidFill>
                <a:latin typeface="Segoe UI Semibold"/>
                <a:sym typeface="Segoe UI Semibold"/>
              </a:rPr>
              <a:t>Logic App</a:t>
            </a:r>
          </a:p>
        </p:txBody>
      </p:sp>
      <p:cxnSp>
        <p:nvCxnSpPr>
          <p:cNvPr id="4" name="Connector: Elbow 3">
            <a:extLst>
              <a:ext uri="{FF2B5EF4-FFF2-40B4-BE49-F238E27FC236}">
                <a16:creationId xmlns:a16="http://schemas.microsoft.com/office/drawing/2014/main" id="{E6150BA3-DB40-4E5F-9E4C-E144A03A6CAB}"/>
              </a:ext>
            </a:extLst>
          </p:cNvPr>
          <p:cNvCxnSpPr>
            <a:cxnSpLocks/>
            <a:stCxn id="82" idx="3"/>
            <a:endCxn id="69" idx="1"/>
          </p:cNvCxnSpPr>
          <p:nvPr/>
        </p:nvCxnSpPr>
        <p:spPr>
          <a:xfrm flipV="1">
            <a:off x="7256736" y="802084"/>
            <a:ext cx="2262631" cy="1048351"/>
          </a:xfrm>
          <a:prstGeom prst="bentConnector3">
            <a:avLst>
              <a:gd name="adj1" fmla="val 16374"/>
            </a:avLst>
          </a:prstGeom>
          <a:noFill/>
          <a:ln w="19050" cap="flat" cmpd="sng" algn="ctr">
            <a:solidFill>
              <a:srgbClr val="000000"/>
            </a:solidFill>
            <a:prstDash val="solid"/>
            <a:headEnd type="none" w="lg" len="med"/>
            <a:tailEnd type="triangle" w="med" len="med"/>
          </a:ln>
          <a:effectLst/>
        </p:spPr>
      </p:cxnSp>
      <p:cxnSp>
        <p:nvCxnSpPr>
          <p:cNvPr id="7" name="Straight Arrow Connector 6">
            <a:extLst>
              <a:ext uri="{FF2B5EF4-FFF2-40B4-BE49-F238E27FC236}">
                <a16:creationId xmlns:a16="http://schemas.microsoft.com/office/drawing/2014/main" id="{8AD94DBA-43C9-4C23-BDE0-71F844D0B7DD}"/>
              </a:ext>
            </a:extLst>
          </p:cNvPr>
          <p:cNvCxnSpPr/>
          <p:nvPr/>
        </p:nvCxnSpPr>
        <p:spPr>
          <a:xfrm>
            <a:off x="5984171" y="1850434"/>
            <a:ext cx="552565" cy="0"/>
          </a:xfrm>
          <a:prstGeom prst="straightConnector1">
            <a:avLst/>
          </a:prstGeom>
          <a:noFill/>
          <a:ln w="19050" cap="flat" cmpd="sng" algn="ctr">
            <a:solidFill>
              <a:srgbClr val="000000"/>
            </a:solidFill>
            <a:prstDash val="solid"/>
            <a:headEnd type="none" w="lg" len="med"/>
            <a:tailEnd type="triangle" w="med" len="med"/>
          </a:ln>
          <a:effectLst/>
        </p:spPr>
      </p:cxnSp>
      <p:cxnSp>
        <p:nvCxnSpPr>
          <p:cNvPr id="9" name="Straight Arrow Connector 8">
            <a:extLst>
              <a:ext uri="{FF2B5EF4-FFF2-40B4-BE49-F238E27FC236}">
                <a16:creationId xmlns:a16="http://schemas.microsoft.com/office/drawing/2014/main" id="{A444263F-E2DB-4BD5-A260-0F4B9EBD5DD0}"/>
              </a:ext>
            </a:extLst>
          </p:cNvPr>
          <p:cNvCxnSpPr>
            <a:cxnSpLocks/>
          </p:cNvCxnSpPr>
          <p:nvPr/>
        </p:nvCxnSpPr>
        <p:spPr>
          <a:xfrm>
            <a:off x="7279076" y="1857414"/>
            <a:ext cx="548427" cy="0"/>
          </a:xfrm>
          <a:prstGeom prst="straightConnector1">
            <a:avLst/>
          </a:prstGeom>
          <a:noFill/>
          <a:ln w="19050" cap="flat" cmpd="sng" algn="ctr">
            <a:solidFill>
              <a:srgbClr val="000000"/>
            </a:solidFill>
            <a:prstDash val="solid"/>
            <a:headEnd type="none" w="lg" len="med"/>
            <a:tailEnd type="triangle" w="med" len="med"/>
          </a:ln>
          <a:effectLst/>
        </p:spPr>
      </p:cxnSp>
      <p:cxnSp>
        <p:nvCxnSpPr>
          <p:cNvPr id="64" name="Straight Arrow Connector 63">
            <a:extLst>
              <a:ext uri="{FF2B5EF4-FFF2-40B4-BE49-F238E27FC236}">
                <a16:creationId xmlns:a16="http://schemas.microsoft.com/office/drawing/2014/main" id="{2AA32156-55C4-4B88-9000-217C358FC6A6}"/>
              </a:ext>
            </a:extLst>
          </p:cNvPr>
          <p:cNvCxnSpPr>
            <a:cxnSpLocks/>
          </p:cNvCxnSpPr>
          <p:nvPr/>
        </p:nvCxnSpPr>
        <p:spPr>
          <a:xfrm flipH="1">
            <a:off x="3011284" y="5352795"/>
            <a:ext cx="4130" cy="506539"/>
          </a:xfrm>
          <a:prstGeom prst="straightConnector1">
            <a:avLst/>
          </a:prstGeom>
          <a:noFill/>
          <a:ln w="19050" cap="flat" cmpd="sng" algn="ctr">
            <a:solidFill>
              <a:srgbClr val="000000"/>
            </a:solidFill>
            <a:prstDash val="solid"/>
            <a:headEnd type="none" w="lg" len="med"/>
            <a:tailEnd type="triangle" w="med" len="med"/>
          </a:ln>
          <a:effectLst/>
        </p:spPr>
      </p:cxnSp>
      <p:cxnSp>
        <p:nvCxnSpPr>
          <p:cNvPr id="66" name="Straight Arrow Connector 65">
            <a:extLst>
              <a:ext uri="{FF2B5EF4-FFF2-40B4-BE49-F238E27FC236}">
                <a16:creationId xmlns:a16="http://schemas.microsoft.com/office/drawing/2014/main" id="{FD919623-A86A-457C-AAC0-3B1E725F0C3F}"/>
              </a:ext>
            </a:extLst>
          </p:cNvPr>
          <p:cNvCxnSpPr>
            <a:cxnSpLocks/>
          </p:cNvCxnSpPr>
          <p:nvPr/>
        </p:nvCxnSpPr>
        <p:spPr>
          <a:xfrm>
            <a:off x="3772121" y="5361930"/>
            <a:ext cx="0" cy="485727"/>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3" name="Group 92">
            <a:extLst>
              <a:ext uri="{FF2B5EF4-FFF2-40B4-BE49-F238E27FC236}">
                <a16:creationId xmlns:a16="http://schemas.microsoft.com/office/drawing/2014/main" id="{49B82087-B0BC-4848-B112-E4935CA6B607}"/>
              </a:ext>
            </a:extLst>
          </p:cNvPr>
          <p:cNvGrpSpPr/>
          <p:nvPr/>
        </p:nvGrpSpPr>
        <p:grpSpPr>
          <a:xfrm>
            <a:off x="5505798" y="4088613"/>
            <a:ext cx="3445565" cy="1286689"/>
            <a:chOff x="5495646" y="4424851"/>
            <a:chExt cx="3445565" cy="1286689"/>
          </a:xfrm>
        </p:grpSpPr>
        <p:sp>
          <p:nvSpPr>
            <p:cNvPr id="67" name="Rectangle 66">
              <a:extLst>
                <a:ext uri="{FF2B5EF4-FFF2-40B4-BE49-F238E27FC236}">
                  <a16:creationId xmlns:a16="http://schemas.microsoft.com/office/drawing/2014/main" id="{82929D9A-DEFC-4BC0-9A8D-289C9895D81D}"/>
                </a:ext>
              </a:extLst>
            </p:cNvPr>
            <p:cNvSpPr/>
            <p:nvPr/>
          </p:nvSpPr>
          <p:spPr bwMode="auto">
            <a:xfrm>
              <a:off x="5495646" y="4424851"/>
              <a:ext cx="3445565"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68" name="Group 2067">
              <a:extLst>
                <a:ext uri="{FF2B5EF4-FFF2-40B4-BE49-F238E27FC236}">
                  <a16:creationId xmlns:a16="http://schemas.microsoft.com/office/drawing/2014/main" id="{E19B705F-9126-4E4C-AB43-6379A32256CE}"/>
                </a:ext>
              </a:extLst>
            </p:cNvPr>
            <p:cNvGrpSpPr/>
            <p:nvPr/>
          </p:nvGrpSpPr>
          <p:grpSpPr>
            <a:xfrm>
              <a:off x="7372981" y="4931855"/>
              <a:ext cx="1537924" cy="360000"/>
              <a:chOff x="7249867" y="4208717"/>
              <a:chExt cx="1537924" cy="360000"/>
            </a:xfrm>
          </p:grpSpPr>
          <p:sp>
            <p:nvSpPr>
              <p:cNvPr id="2063" name="TextBox 2062">
                <a:extLst>
                  <a:ext uri="{FF2B5EF4-FFF2-40B4-BE49-F238E27FC236}">
                    <a16:creationId xmlns:a16="http://schemas.microsoft.com/office/drawing/2014/main" id="{951F593A-492A-4445-8CF9-895D09A17915}"/>
                  </a:ext>
                </a:extLst>
              </p:cNvPr>
              <p:cNvSpPr txBox="1"/>
              <p:nvPr/>
            </p:nvSpPr>
            <p:spPr>
              <a:xfrm>
                <a:off x="7635212" y="4215984"/>
                <a:ext cx="1152579"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ynapse Analytics</a:t>
                </a:r>
              </a:p>
            </p:txBody>
          </p:sp>
          <p:pic>
            <p:nvPicPr>
              <p:cNvPr id="2064" name="Graphic 2063">
                <a:extLst>
                  <a:ext uri="{FF2B5EF4-FFF2-40B4-BE49-F238E27FC236}">
                    <a16:creationId xmlns:a16="http://schemas.microsoft.com/office/drawing/2014/main" id="{DE92E9C4-4494-4B98-9DD4-A14CF475FCC2}"/>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49867" y="4208717"/>
                <a:ext cx="313125" cy="360000"/>
              </a:xfrm>
              <a:prstGeom prst="rect">
                <a:avLst/>
              </a:prstGeom>
            </p:spPr>
          </p:pic>
        </p:grpSp>
        <p:grpSp>
          <p:nvGrpSpPr>
            <p:cNvPr id="2069" name="Group 2068">
              <a:extLst>
                <a:ext uri="{FF2B5EF4-FFF2-40B4-BE49-F238E27FC236}">
                  <a16:creationId xmlns:a16="http://schemas.microsoft.com/office/drawing/2014/main" id="{62D1B794-9A5A-4BD5-BF98-D4F751817994}"/>
                </a:ext>
              </a:extLst>
            </p:cNvPr>
            <p:cNvGrpSpPr/>
            <p:nvPr/>
          </p:nvGrpSpPr>
          <p:grpSpPr>
            <a:xfrm>
              <a:off x="5575782" y="4916599"/>
              <a:ext cx="1570303" cy="360000"/>
              <a:chOff x="5378138" y="4179766"/>
              <a:chExt cx="1570303" cy="360000"/>
            </a:xfrm>
          </p:grpSpPr>
          <p:pic>
            <p:nvPicPr>
              <p:cNvPr id="29" name="Graphic 28">
                <a:extLst>
                  <a:ext uri="{FF2B5EF4-FFF2-40B4-BE49-F238E27FC236}">
                    <a16:creationId xmlns:a16="http://schemas.microsoft.com/office/drawing/2014/main" id="{7A78BD5A-0E7A-4CE8-B21C-B7D8CAEC1EE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78138" y="4179766"/>
                <a:ext cx="360000" cy="360000"/>
              </a:xfrm>
              <a:prstGeom prst="rect">
                <a:avLst/>
              </a:prstGeom>
            </p:spPr>
          </p:pic>
          <p:sp>
            <p:nvSpPr>
              <p:cNvPr id="68" name="TextBox 67">
                <a:extLst>
                  <a:ext uri="{FF2B5EF4-FFF2-40B4-BE49-F238E27FC236}">
                    <a16:creationId xmlns:a16="http://schemas.microsoft.com/office/drawing/2014/main" id="{D83A5F90-DABC-45C6-A5BD-DD16332B37EC}"/>
                  </a:ext>
                </a:extLst>
              </p:cNvPr>
              <p:cNvSpPr txBox="1"/>
              <p:nvPr/>
            </p:nvSpPr>
            <p:spPr>
              <a:xfrm>
                <a:off x="5795862" y="4206117"/>
                <a:ext cx="1152579" cy="332399"/>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QL Datawarehouse</a:t>
                </a:r>
              </a:p>
            </p:txBody>
          </p:sp>
        </p:grpSp>
      </p:grpSp>
      <p:cxnSp>
        <p:nvCxnSpPr>
          <p:cNvPr id="84" name="Straight Arrow Connector 83">
            <a:extLst>
              <a:ext uri="{FF2B5EF4-FFF2-40B4-BE49-F238E27FC236}">
                <a16:creationId xmlns:a16="http://schemas.microsoft.com/office/drawing/2014/main" id="{8420B9F6-867E-4A2C-8F59-7D0BEAF51070}"/>
              </a:ext>
            </a:extLst>
          </p:cNvPr>
          <p:cNvCxnSpPr>
            <a:cxnSpLocks/>
          </p:cNvCxnSpPr>
          <p:nvPr/>
        </p:nvCxnSpPr>
        <p:spPr>
          <a:xfrm>
            <a:off x="5831570" y="2753500"/>
            <a:ext cx="0" cy="1281029"/>
          </a:xfrm>
          <a:prstGeom prst="straightConnector1">
            <a:avLst/>
          </a:prstGeom>
          <a:noFill/>
          <a:ln w="19050" cap="flat" cmpd="sng" algn="ctr">
            <a:solidFill>
              <a:srgbClr val="000000"/>
            </a:solidFill>
            <a:prstDash val="solid"/>
            <a:headEnd type="none" w="lg" len="med"/>
            <a:tailEnd type="triangle" w="med" len="med"/>
          </a:ln>
          <a:effectLst/>
        </p:spPr>
      </p:cxnSp>
      <p:cxnSp>
        <p:nvCxnSpPr>
          <p:cNvPr id="85" name="Straight Arrow Connector 84">
            <a:extLst>
              <a:ext uri="{FF2B5EF4-FFF2-40B4-BE49-F238E27FC236}">
                <a16:creationId xmlns:a16="http://schemas.microsoft.com/office/drawing/2014/main" id="{F5102098-353B-4C88-86B7-9FAA84A7E80A}"/>
              </a:ext>
            </a:extLst>
          </p:cNvPr>
          <p:cNvCxnSpPr>
            <a:cxnSpLocks/>
          </p:cNvCxnSpPr>
          <p:nvPr/>
        </p:nvCxnSpPr>
        <p:spPr>
          <a:xfrm>
            <a:off x="7048963" y="5398798"/>
            <a:ext cx="0" cy="483922"/>
          </a:xfrm>
          <a:prstGeom prst="straightConnector1">
            <a:avLst/>
          </a:prstGeom>
          <a:noFill/>
          <a:ln w="19050" cap="flat" cmpd="sng" algn="ctr">
            <a:solidFill>
              <a:srgbClr val="000000"/>
            </a:solidFill>
            <a:prstDash val="solid"/>
            <a:headEnd type="none" w="lg" len="med"/>
            <a:tailEnd type="triangle" w="med" len="med"/>
          </a:ln>
          <a:effectLst/>
        </p:spPr>
      </p:cxnSp>
      <p:cxnSp>
        <p:nvCxnSpPr>
          <p:cNvPr id="86" name="Straight Arrow Connector 85">
            <a:extLst>
              <a:ext uri="{FF2B5EF4-FFF2-40B4-BE49-F238E27FC236}">
                <a16:creationId xmlns:a16="http://schemas.microsoft.com/office/drawing/2014/main" id="{D9846E3A-2378-4E97-90D9-2DA48D546DD6}"/>
              </a:ext>
            </a:extLst>
          </p:cNvPr>
          <p:cNvCxnSpPr>
            <a:cxnSpLocks/>
          </p:cNvCxnSpPr>
          <p:nvPr/>
        </p:nvCxnSpPr>
        <p:spPr>
          <a:xfrm>
            <a:off x="7521358" y="5375302"/>
            <a:ext cx="0" cy="507419"/>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2" name="Group 91">
            <a:extLst>
              <a:ext uri="{FF2B5EF4-FFF2-40B4-BE49-F238E27FC236}">
                <a16:creationId xmlns:a16="http://schemas.microsoft.com/office/drawing/2014/main" id="{F96AB8BA-5C0C-4FB2-99F7-6EF5F43C2647}"/>
              </a:ext>
            </a:extLst>
          </p:cNvPr>
          <p:cNvGrpSpPr/>
          <p:nvPr/>
        </p:nvGrpSpPr>
        <p:grpSpPr>
          <a:xfrm>
            <a:off x="4356624" y="4091404"/>
            <a:ext cx="906891" cy="1272327"/>
            <a:chOff x="4346472" y="4427642"/>
            <a:chExt cx="906891" cy="1272327"/>
          </a:xfrm>
        </p:grpSpPr>
        <p:sp>
          <p:nvSpPr>
            <p:cNvPr id="87" name="Rectangle 86">
              <a:extLst>
                <a:ext uri="{FF2B5EF4-FFF2-40B4-BE49-F238E27FC236}">
                  <a16:creationId xmlns:a16="http://schemas.microsoft.com/office/drawing/2014/main" id="{C93BDA40-2B2A-42B7-8798-4CC7E1FA647A}"/>
                </a:ext>
              </a:extLst>
            </p:cNvPr>
            <p:cNvSpPr/>
            <p:nvPr/>
          </p:nvSpPr>
          <p:spPr bwMode="auto">
            <a:xfrm>
              <a:off x="4346472" y="4427642"/>
              <a:ext cx="906891"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13" name="Graphic 12">
              <a:extLst>
                <a:ext uri="{FF2B5EF4-FFF2-40B4-BE49-F238E27FC236}">
                  <a16:creationId xmlns:a16="http://schemas.microsoft.com/office/drawing/2014/main" id="{B6EE4014-0BC6-4208-8F16-730663E254A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604869" y="4792328"/>
              <a:ext cx="360000" cy="360000"/>
            </a:xfrm>
            <a:prstGeom prst="rect">
              <a:avLst/>
            </a:prstGeom>
          </p:spPr>
        </p:pic>
        <p:sp>
          <p:nvSpPr>
            <p:cNvPr id="89" name="TextBox 88">
              <a:extLst>
                <a:ext uri="{FF2B5EF4-FFF2-40B4-BE49-F238E27FC236}">
                  <a16:creationId xmlns:a16="http://schemas.microsoft.com/office/drawing/2014/main" id="{D1E29D12-C807-437F-AC78-383EEE5CA250}"/>
                </a:ext>
              </a:extLst>
            </p:cNvPr>
            <p:cNvSpPr txBox="1"/>
            <p:nvPr/>
          </p:nvSpPr>
          <p:spPr>
            <a:xfrm>
              <a:off x="4522733" y="5251656"/>
              <a:ext cx="524271" cy="332399"/>
            </a:xfrm>
            <a:prstGeom prst="rect">
              <a:avLst/>
            </a:prstGeom>
            <a:noFill/>
          </p:spPr>
          <p:txBody>
            <a:bodyPr wrap="square" lIns="0" tIns="0" rIns="0" bIns="0" rtlCol="0">
              <a:spAutoFit/>
            </a:bodyPr>
            <a:lstStyle/>
            <a:p>
              <a:pPr algn="ct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QL</a:t>
              </a:r>
            </a:p>
          </p:txBody>
        </p:sp>
      </p:grpSp>
      <p:cxnSp>
        <p:nvCxnSpPr>
          <p:cNvPr id="91" name="Straight Arrow Connector 90">
            <a:extLst>
              <a:ext uri="{FF2B5EF4-FFF2-40B4-BE49-F238E27FC236}">
                <a16:creationId xmlns:a16="http://schemas.microsoft.com/office/drawing/2014/main" id="{2E7AE7E5-DEA3-4EF8-9075-5F49F793A41D}"/>
              </a:ext>
            </a:extLst>
          </p:cNvPr>
          <p:cNvCxnSpPr>
            <a:cxnSpLocks/>
          </p:cNvCxnSpPr>
          <p:nvPr/>
        </p:nvCxnSpPr>
        <p:spPr>
          <a:xfrm>
            <a:off x="4696106" y="2753500"/>
            <a:ext cx="0" cy="1335113"/>
          </a:xfrm>
          <a:prstGeom prst="straightConnector1">
            <a:avLst/>
          </a:prstGeom>
          <a:noFill/>
          <a:ln w="19050" cap="flat" cmpd="sng" algn="ctr">
            <a:solidFill>
              <a:srgbClr val="000000"/>
            </a:solidFill>
            <a:prstDash val="solid"/>
            <a:headEnd type="none" w="lg" len="med"/>
            <a:tailEnd type="triangle" w="med" len="med"/>
          </a:ln>
          <a:effectLst/>
        </p:spPr>
      </p:cxnSp>
      <p:cxnSp>
        <p:nvCxnSpPr>
          <p:cNvPr id="103" name="Straight Arrow Connector 102">
            <a:extLst>
              <a:ext uri="{FF2B5EF4-FFF2-40B4-BE49-F238E27FC236}">
                <a16:creationId xmlns:a16="http://schemas.microsoft.com/office/drawing/2014/main" id="{B3F3BD21-2B59-419B-BCE9-95D3092075A3}"/>
              </a:ext>
            </a:extLst>
          </p:cNvPr>
          <p:cNvCxnSpPr>
            <a:cxnSpLocks/>
            <a:stCxn id="83" idx="3"/>
          </p:cNvCxnSpPr>
          <p:nvPr/>
        </p:nvCxnSpPr>
        <p:spPr>
          <a:xfrm flipV="1">
            <a:off x="8586299" y="1865640"/>
            <a:ext cx="885676" cy="6636"/>
          </a:xfrm>
          <a:prstGeom prst="straightConnector1">
            <a:avLst/>
          </a:prstGeom>
          <a:noFill/>
          <a:ln w="19050" cap="flat" cmpd="sng" algn="ctr">
            <a:solidFill>
              <a:srgbClr val="000000"/>
            </a:solidFill>
            <a:prstDash val="solid"/>
            <a:headEnd type="none" w="lg" len="med"/>
            <a:tailEnd type="triangle" w="med" len="med"/>
          </a:ln>
          <a:effectLst/>
        </p:spPr>
      </p:cxnSp>
      <p:cxnSp>
        <p:nvCxnSpPr>
          <p:cNvPr id="2053" name="Straight Arrow Connector 2052">
            <a:extLst>
              <a:ext uri="{FF2B5EF4-FFF2-40B4-BE49-F238E27FC236}">
                <a16:creationId xmlns:a16="http://schemas.microsoft.com/office/drawing/2014/main" id="{49553682-7F22-421A-82E4-92A710564538}"/>
              </a:ext>
            </a:extLst>
          </p:cNvPr>
          <p:cNvCxnSpPr/>
          <p:nvPr/>
        </p:nvCxnSpPr>
        <p:spPr>
          <a:xfrm flipH="1">
            <a:off x="8942800" y="4236265"/>
            <a:ext cx="576567" cy="0"/>
          </a:xfrm>
          <a:prstGeom prst="straightConnector1">
            <a:avLst/>
          </a:prstGeom>
          <a:noFill/>
          <a:ln w="19050" cap="flat" cmpd="sng" algn="ctr">
            <a:solidFill>
              <a:srgbClr val="000000"/>
            </a:solidFill>
            <a:prstDash val="solid"/>
            <a:headEnd type="none" w="lg" len="med"/>
            <a:tailEnd type="triangle" w="med" len="med"/>
          </a:ln>
          <a:effectLst/>
        </p:spPr>
      </p:cxnSp>
      <p:cxnSp>
        <p:nvCxnSpPr>
          <p:cNvPr id="111" name="Straight Arrow Connector 110">
            <a:extLst>
              <a:ext uri="{FF2B5EF4-FFF2-40B4-BE49-F238E27FC236}">
                <a16:creationId xmlns:a16="http://schemas.microsoft.com/office/drawing/2014/main" id="{BDE5A235-E5BA-4014-9748-ACA9B679D902}"/>
              </a:ext>
            </a:extLst>
          </p:cNvPr>
          <p:cNvCxnSpPr>
            <a:cxnSpLocks/>
          </p:cNvCxnSpPr>
          <p:nvPr/>
        </p:nvCxnSpPr>
        <p:spPr>
          <a:xfrm>
            <a:off x="4966457" y="3860026"/>
            <a:ext cx="0" cy="228587"/>
          </a:xfrm>
          <a:prstGeom prst="straightConnector1">
            <a:avLst/>
          </a:prstGeom>
          <a:noFill/>
          <a:ln w="19050" cap="flat" cmpd="sng" algn="ctr">
            <a:solidFill>
              <a:srgbClr val="000000"/>
            </a:solidFill>
            <a:prstDash val="solid"/>
            <a:headEnd type="none" w="lg" len="med"/>
            <a:tailEnd type="triangle" w="med" len="med"/>
          </a:ln>
          <a:effectLst/>
        </p:spPr>
      </p:cxnSp>
      <p:cxnSp>
        <p:nvCxnSpPr>
          <p:cNvPr id="2061" name="Straight Connector 2060">
            <a:extLst>
              <a:ext uri="{FF2B5EF4-FFF2-40B4-BE49-F238E27FC236}">
                <a16:creationId xmlns:a16="http://schemas.microsoft.com/office/drawing/2014/main" id="{1AD6DD68-D4F3-4C80-BC92-2C38DE9AC9AE}"/>
              </a:ext>
            </a:extLst>
          </p:cNvPr>
          <p:cNvCxnSpPr>
            <a:cxnSpLocks/>
          </p:cNvCxnSpPr>
          <p:nvPr/>
        </p:nvCxnSpPr>
        <p:spPr>
          <a:xfrm>
            <a:off x="4975021" y="3864788"/>
            <a:ext cx="4552909" cy="0"/>
          </a:xfrm>
          <a:prstGeom prst="line">
            <a:avLst/>
          </a:prstGeom>
          <a:noFill/>
          <a:ln w="19050" cap="flat" cmpd="sng" algn="ctr">
            <a:solidFill>
              <a:srgbClr val="000000"/>
            </a:solidFill>
            <a:prstDash val="solid"/>
            <a:headEnd type="none" w="med" len="med"/>
            <a:tailEnd type="none" w="med" len="med"/>
          </a:ln>
          <a:effectLst/>
        </p:spPr>
      </p:cxnSp>
      <p:grpSp>
        <p:nvGrpSpPr>
          <p:cNvPr id="95" name="Group 94">
            <a:extLst>
              <a:ext uri="{FF2B5EF4-FFF2-40B4-BE49-F238E27FC236}">
                <a16:creationId xmlns:a16="http://schemas.microsoft.com/office/drawing/2014/main" id="{9C80676B-4525-4D77-B1DE-CBA5D10209FF}"/>
              </a:ext>
            </a:extLst>
          </p:cNvPr>
          <p:cNvGrpSpPr/>
          <p:nvPr/>
        </p:nvGrpSpPr>
        <p:grpSpPr>
          <a:xfrm>
            <a:off x="2893449" y="3036082"/>
            <a:ext cx="3052481" cy="754007"/>
            <a:chOff x="2885249" y="3163451"/>
            <a:chExt cx="3052481" cy="754007"/>
          </a:xfrm>
        </p:grpSpPr>
        <p:sp>
          <p:nvSpPr>
            <p:cNvPr id="116" name="Rectangle 115">
              <a:extLst>
                <a:ext uri="{FF2B5EF4-FFF2-40B4-BE49-F238E27FC236}">
                  <a16:creationId xmlns:a16="http://schemas.microsoft.com/office/drawing/2014/main" id="{8071C4AA-F47E-4433-BD73-06B070257543}"/>
                </a:ext>
              </a:extLst>
            </p:cNvPr>
            <p:cNvSpPr/>
            <p:nvPr/>
          </p:nvSpPr>
          <p:spPr bwMode="auto">
            <a:xfrm>
              <a:off x="2885249" y="3163451"/>
              <a:ext cx="3052481" cy="75400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94" name="Group 93">
              <a:extLst>
                <a:ext uri="{FF2B5EF4-FFF2-40B4-BE49-F238E27FC236}">
                  <a16:creationId xmlns:a16="http://schemas.microsoft.com/office/drawing/2014/main" id="{876F4413-D318-4761-97B8-8C4F7BAD7CB2}"/>
                </a:ext>
              </a:extLst>
            </p:cNvPr>
            <p:cNvGrpSpPr/>
            <p:nvPr/>
          </p:nvGrpSpPr>
          <p:grpSpPr>
            <a:xfrm>
              <a:off x="3763922" y="3345781"/>
              <a:ext cx="1334847" cy="360000"/>
              <a:chOff x="3763922" y="3345781"/>
              <a:chExt cx="1334847" cy="360000"/>
            </a:xfrm>
          </p:grpSpPr>
          <p:pic>
            <p:nvPicPr>
              <p:cNvPr id="2066" name="Graphic 2065">
                <a:extLst>
                  <a:ext uri="{FF2B5EF4-FFF2-40B4-BE49-F238E27FC236}">
                    <a16:creationId xmlns:a16="http://schemas.microsoft.com/office/drawing/2014/main" id="{A4108ED1-9D20-4D51-BC42-883D25CEF99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763922" y="3345781"/>
                <a:ext cx="360000" cy="360000"/>
              </a:xfrm>
              <a:prstGeom prst="rect">
                <a:avLst/>
              </a:prstGeom>
            </p:spPr>
          </p:pic>
          <p:sp>
            <p:nvSpPr>
              <p:cNvPr id="119" name="TextBox 118">
                <a:extLst>
                  <a:ext uri="{FF2B5EF4-FFF2-40B4-BE49-F238E27FC236}">
                    <a16:creationId xmlns:a16="http://schemas.microsoft.com/office/drawing/2014/main" id="{40691262-3D00-43E0-9970-139F05CC36E1}"/>
                  </a:ext>
                </a:extLst>
              </p:cNvPr>
              <p:cNvSpPr txBox="1"/>
              <p:nvPr/>
            </p:nvSpPr>
            <p:spPr>
              <a:xfrm>
                <a:off x="4191371" y="3364575"/>
                <a:ext cx="907398"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Time Series Insights</a:t>
                </a:r>
              </a:p>
            </p:txBody>
          </p:sp>
        </p:grpSp>
      </p:grpSp>
      <p:cxnSp>
        <p:nvCxnSpPr>
          <p:cNvPr id="122" name="Straight Arrow Connector 121">
            <a:extLst>
              <a:ext uri="{FF2B5EF4-FFF2-40B4-BE49-F238E27FC236}">
                <a16:creationId xmlns:a16="http://schemas.microsoft.com/office/drawing/2014/main" id="{79B296E7-F04C-40A9-A445-185261CA1C3E}"/>
              </a:ext>
            </a:extLst>
          </p:cNvPr>
          <p:cNvCxnSpPr>
            <a:cxnSpLocks/>
          </p:cNvCxnSpPr>
          <p:nvPr/>
        </p:nvCxnSpPr>
        <p:spPr>
          <a:xfrm>
            <a:off x="2124788" y="3446338"/>
            <a:ext cx="768660" cy="0"/>
          </a:xfrm>
          <a:prstGeom prst="straightConnector1">
            <a:avLst/>
          </a:prstGeom>
          <a:noFill/>
          <a:ln w="19050" cap="flat" cmpd="sng" algn="ctr">
            <a:solidFill>
              <a:srgbClr val="000000"/>
            </a:solidFill>
            <a:prstDash val="solid"/>
            <a:headEnd type="none" w="lg" len="med"/>
            <a:tailEnd type="triangle" w="med" len="med"/>
          </a:ln>
          <a:effectLst/>
        </p:spPr>
      </p:cxnSp>
      <p:cxnSp>
        <p:nvCxnSpPr>
          <p:cNvPr id="123" name="Straight Arrow Connector 122">
            <a:extLst>
              <a:ext uri="{FF2B5EF4-FFF2-40B4-BE49-F238E27FC236}">
                <a16:creationId xmlns:a16="http://schemas.microsoft.com/office/drawing/2014/main" id="{21236C44-E393-48C3-B012-17DCB4E595C8}"/>
              </a:ext>
            </a:extLst>
          </p:cNvPr>
          <p:cNvCxnSpPr>
            <a:cxnSpLocks/>
          </p:cNvCxnSpPr>
          <p:nvPr/>
        </p:nvCxnSpPr>
        <p:spPr>
          <a:xfrm flipH="1" flipV="1">
            <a:off x="5945157" y="3416429"/>
            <a:ext cx="3580424" cy="6981"/>
          </a:xfrm>
          <a:prstGeom prst="straightConnector1">
            <a:avLst/>
          </a:prstGeom>
          <a:noFill/>
          <a:ln w="19050" cap="flat" cmpd="sng" algn="ctr">
            <a:solidFill>
              <a:srgbClr val="000000"/>
            </a:solidFill>
            <a:prstDash val="solid"/>
            <a:headEnd type="none" w="lg" len="med"/>
            <a:tailEnd type="triangle" w="med" len="med"/>
          </a:ln>
          <a:effectLst/>
        </p:spPr>
      </p:cxnSp>
      <p:sp>
        <p:nvSpPr>
          <p:cNvPr id="57" name="Rectangle 56">
            <a:extLst>
              <a:ext uri="{FF2B5EF4-FFF2-40B4-BE49-F238E27FC236}">
                <a16:creationId xmlns:a16="http://schemas.microsoft.com/office/drawing/2014/main" id="{4E948A42-7075-4281-AB6C-9F32A4F37310}"/>
              </a:ext>
            </a:extLst>
          </p:cNvPr>
          <p:cNvSpPr/>
          <p:nvPr/>
        </p:nvSpPr>
        <p:spPr bwMode="auto">
          <a:xfrm>
            <a:off x="9519366" y="2994612"/>
            <a:ext cx="1841930" cy="149641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51" name="Group 50">
            <a:extLst>
              <a:ext uri="{FF2B5EF4-FFF2-40B4-BE49-F238E27FC236}">
                <a16:creationId xmlns:a16="http://schemas.microsoft.com/office/drawing/2014/main" id="{A4AC3279-830A-4628-931B-931C9B9DD62E}"/>
              </a:ext>
            </a:extLst>
          </p:cNvPr>
          <p:cNvGrpSpPr/>
          <p:nvPr/>
        </p:nvGrpSpPr>
        <p:grpSpPr>
          <a:xfrm>
            <a:off x="9818146" y="3610963"/>
            <a:ext cx="1252935" cy="358250"/>
            <a:chOff x="9730105" y="3501775"/>
            <a:chExt cx="1252935" cy="358250"/>
          </a:xfrm>
        </p:grpSpPr>
        <p:sp>
          <p:nvSpPr>
            <p:cNvPr id="58" name="TextBox 57">
              <a:extLst>
                <a:ext uri="{FF2B5EF4-FFF2-40B4-BE49-F238E27FC236}">
                  <a16:creationId xmlns:a16="http://schemas.microsoft.com/office/drawing/2014/main" id="{CDBA0939-8AA3-4E72-B317-BBE45D1DC071}"/>
                </a:ext>
              </a:extLst>
            </p:cNvPr>
            <p:cNvSpPr txBox="1"/>
            <p:nvPr/>
          </p:nvSpPr>
          <p:spPr>
            <a:xfrm>
              <a:off x="10374997" y="3640359"/>
              <a:ext cx="608043" cy="166156"/>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Power BI</a:t>
              </a:r>
            </a:p>
          </p:txBody>
        </p:sp>
        <p:grpSp>
          <p:nvGrpSpPr>
            <p:cNvPr id="59" name="Group 58">
              <a:extLst>
                <a:ext uri="{FF2B5EF4-FFF2-40B4-BE49-F238E27FC236}">
                  <a16:creationId xmlns:a16="http://schemas.microsoft.com/office/drawing/2014/main" id="{CF0CA3EF-E4AF-48CE-A471-4C831E54EF3F}"/>
                </a:ext>
              </a:extLst>
            </p:cNvPr>
            <p:cNvGrpSpPr/>
            <p:nvPr/>
          </p:nvGrpSpPr>
          <p:grpSpPr>
            <a:xfrm>
              <a:off x="9730105" y="3501775"/>
              <a:ext cx="474506" cy="358250"/>
              <a:chOff x="2851176" y="840527"/>
              <a:chExt cx="3024388" cy="2283410"/>
            </a:xfrm>
          </p:grpSpPr>
          <p:sp>
            <p:nvSpPr>
              <p:cNvPr id="60" name="Freeform: Shape 338">
                <a:extLst>
                  <a:ext uri="{FF2B5EF4-FFF2-40B4-BE49-F238E27FC236}">
                    <a16:creationId xmlns:a16="http://schemas.microsoft.com/office/drawing/2014/main" id="{755D314E-9F9D-47B0-8CC8-7815A6387FB6}"/>
                  </a:ext>
                </a:extLst>
              </p:cNvPr>
              <p:cNvSpPr/>
              <p:nvPr/>
            </p:nvSpPr>
            <p:spPr>
              <a:xfrm>
                <a:off x="2851176" y="840527"/>
                <a:ext cx="3024388" cy="1958289"/>
              </a:xfrm>
              <a:custGeom>
                <a:avLst/>
                <a:gdLst>
                  <a:gd name="connsiteX0" fmla="*/ 61230 w 493108"/>
                  <a:gd name="connsiteY0" fmla="*/ 0 h 319287"/>
                  <a:gd name="connsiteX1" fmla="*/ 431878 w 493108"/>
                  <a:gd name="connsiteY1" fmla="*/ 0 h 319287"/>
                  <a:gd name="connsiteX2" fmla="*/ 493108 w 493108"/>
                  <a:gd name="connsiteY2" fmla="*/ 61230 h 319287"/>
                  <a:gd name="connsiteX3" fmla="*/ 493108 w 493108"/>
                  <a:gd name="connsiteY3" fmla="*/ 258057 h 319287"/>
                  <a:gd name="connsiteX4" fmla="*/ 431878 w 493108"/>
                  <a:gd name="connsiteY4" fmla="*/ 319287 h 319287"/>
                  <a:gd name="connsiteX5" fmla="*/ 425306 w 493108"/>
                  <a:gd name="connsiteY5" fmla="*/ 319287 h 319287"/>
                  <a:gd name="connsiteX6" fmla="*/ 425306 w 493108"/>
                  <a:gd name="connsiteY6" fmla="*/ 298563 h 319287"/>
                  <a:gd name="connsiteX7" fmla="*/ 434307 w 493108"/>
                  <a:gd name="connsiteY7" fmla="*/ 298563 h 319287"/>
                  <a:gd name="connsiteX8" fmla="*/ 474000 w 493108"/>
                  <a:gd name="connsiteY8" fmla="*/ 258870 h 319287"/>
                  <a:gd name="connsiteX9" fmla="*/ 474000 w 493108"/>
                  <a:gd name="connsiteY9" fmla="*/ 59417 h 319287"/>
                  <a:gd name="connsiteX10" fmla="*/ 434307 w 493108"/>
                  <a:gd name="connsiteY10" fmla="*/ 19724 h 319287"/>
                  <a:gd name="connsiteX11" fmla="*/ 60650 w 493108"/>
                  <a:gd name="connsiteY11" fmla="*/ 19724 h 319287"/>
                  <a:gd name="connsiteX12" fmla="*/ 20957 w 493108"/>
                  <a:gd name="connsiteY12" fmla="*/ 59417 h 319287"/>
                  <a:gd name="connsiteX13" fmla="*/ 20957 w 493108"/>
                  <a:gd name="connsiteY13" fmla="*/ 258870 h 319287"/>
                  <a:gd name="connsiteX14" fmla="*/ 60650 w 493108"/>
                  <a:gd name="connsiteY14" fmla="*/ 298563 h 319287"/>
                  <a:gd name="connsiteX15" fmla="*/ 69652 w 493108"/>
                  <a:gd name="connsiteY15" fmla="*/ 298563 h 319287"/>
                  <a:gd name="connsiteX16" fmla="*/ 69652 w 493108"/>
                  <a:gd name="connsiteY16" fmla="*/ 319287 h 319287"/>
                  <a:gd name="connsiteX17" fmla="*/ 61230 w 493108"/>
                  <a:gd name="connsiteY17" fmla="*/ 319287 h 319287"/>
                  <a:gd name="connsiteX18" fmla="*/ 0 w 493108"/>
                  <a:gd name="connsiteY18" fmla="*/ 258057 h 319287"/>
                  <a:gd name="connsiteX19" fmla="*/ 0 w 493108"/>
                  <a:gd name="connsiteY19" fmla="*/ 61230 h 319287"/>
                  <a:gd name="connsiteX20" fmla="*/ 61230 w 493108"/>
                  <a:gd name="connsiteY20" fmla="*/ 0 h 31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3108" h="319287">
                    <a:moveTo>
                      <a:pt x="61230" y="0"/>
                    </a:moveTo>
                    <a:lnTo>
                      <a:pt x="431878" y="0"/>
                    </a:lnTo>
                    <a:cubicBezTo>
                      <a:pt x="465695" y="0"/>
                      <a:pt x="493108" y="27414"/>
                      <a:pt x="493108" y="61230"/>
                    </a:cubicBezTo>
                    <a:lnTo>
                      <a:pt x="493108" y="258057"/>
                    </a:lnTo>
                    <a:cubicBezTo>
                      <a:pt x="493108" y="291874"/>
                      <a:pt x="465695" y="319287"/>
                      <a:pt x="431878" y="319287"/>
                    </a:cubicBezTo>
                    <a:lnTo>
                      <a:pt x="425306" y="319287"/>
                    </a:lnTo>
                    <a:lnTo>
                      <a:pt x="425306" y="298563"/>
                    </a:lnTo>
                    <a:lnTo>
                      <a:pt x="434307" y="298563"/>
                    </a:lnTo>
                    <a:cubicBezTo>
                      <a:pt x="456229" y="298563"/>
                      <a:pt x="474000" y="280792"/>
                      <a:pt x="474000" y="258870"/>
                    </a:cubicBezTo>
                    <a:lnTo>
                      <a:pt x="474000" y="59417"/>
                    </a:lnTo>
                    <a:cubicBezTo>
                      <a:pt x="474000" y="37495"/>
                      <a:pt x="456229" y="19724"/>
                      <a:pt x="434307" y="19724"/>
                    </a:cubicBezTo>
                    <a:lnTo>
                      <a:pt x="60650" y="19724"/>
                    </a:lnTo>
                    <a:cubicBezTo>
                      <a:pt x="38728" y="19724"/>
                      <a:pt x="20957" y="37495"/>
                      <a:pt x="20957" y="59417"/>
                    </a:cubicBezTo>
                    <a:lnTo>
                      <a:pt x="20957" y="258870"/>
                    </a:lnTo>
                    <a:cubicBezTo>
                      <a:pt x="20957" y="280792"/>
                      <a:pt x="38728" y="298563"/>
                      <a:pt x="60650" y="298563"/>
                    </a:cubicBezTo>
                    <a:lnTo>
                      <a:pt x="69652" y="298563"/>
                    </a:lnTo>
                    <a:lnTo>
                      <a:pt x="69652" y="319287"/>
                    </a:lnTo>
                    <a:lnTo>
                      <a:pt x="61230" y="319287"/>
                    </a:lnTo>
                    <a:cubicBezTo>
                      <a:pt x="27414" y="319287"/>
                      <a:pt x="0" y="291874"/>
                      <a:pt x="0" y="258057"/>
                    </a:cubicBezTo>
                    <a:lnTo>
                      <a:pt x="0" y="61230"/>
                    </a:lnTo>
                    <a:cubicBezTo>
                      <a:pt x="0" y="27414"/>
                      <a:pt x="27414" y="0"/>
                      <a:pt x="61230" y="0"/>
                    </a:cubicBezTo>
                    <a:close/>
                  </a:path>
                </a:pathLst>
              </a:custGeom>
              <a:solidFill>
                <a:srgbClr val="0078D7"/>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sp>
            <p:nvSpPr>
              <p:cNvPr id="61" name="Freeform: Shape 339">
                <a:extLst>
                  <a:ext uri="{FF2B5EF4-FFF2-40B4-BE49-F238E27FC236}">
                    <a16:creationId xmlns:a16="http://schemas.microsoft.com/office/drawing/2014/main" id="{37EC31AF-BED1-444B-9403-A3721206BF92}"/>
                  </a:ext>
                </a:extLst>
              </p:cNvPr>
              <p:cNvSpPr/>
              <p:nvPr/>
            </p:nvSpPr>
            <p:spPr>
              <a:xfrm>
                <a:off x="3382432" y="1335590"/>
                <a:ext cx="1959012" cy="1788347"/>
              </a:xfrm>
              <a:custGeom>
                <a:avLst/>
                <a:gdLst>
                  <a:gd name="connsiteX0" fmla="*/ 169583 w 1959012"/>
                  <a:gd name="connsiteY0" fmla="*/ 1054931 h 1788347"/>
                  <a:gd name="connsiteX1" fmla="*/ 339166 w 1959012"/>
                  <a:gd name="connsiteY1" fmla="*/ 1224514 h 1788347"/>
                  <a:gd name="connsiteX2" fmla="*/ 339166 w 1959012"/>
                  <a:gd name="connsiteY2" fmla="*/ 1618758 h 1788347"/>
                  <a:gd name="connsiteX3" fmla="*/ 169583 w 1959012"/>
                  <a:gd name="connsiteY3" fmla="*/ 1788341 h 1788347"/>
                  <a:gd name="connsiteX4" fmla="*/ 0 w 1959012"/>
                  <a:gd name="connsiteY4" fmla="*/ 1618758 h 1788347"/>
                  <a:gd name="connsiteX5" fmla="*/ 0 w 1959012"/>
                  <a:gd name="connsiteY5" fmla="*/ 1224514 h 1788347"/>
                  <a:gd name="connsiteX6" fmla="*/ 169583 w 1959012"/>
                  <a:gd name="connsiteY6" fmla="*/ 1054931 h 1788347"/>
                  <a:gd name="connsiteX7" fmla="*/ 1255480 w 1959012"/>
                  <a:gd name="connsiteY7" fmla="*/ 692010 h 1788347"/>
                  <a:gd name="connsiteX8" fmla="*/ 1425063 w 1959012"/>
                  <a:gd name="connsiteY8" fmla="*/ 861593 h 1788347"/>
                  <a:gd name="connsiteX9" fmla="*/ 1425063 w 1959012"/>
                  <a:gd name="connsiteY9" fmla="*/ 1618764 h 1788347"/>
                  <a:gd name="connsiteX10" fmla="*/ 1255480 w 1959012"/>
                  <a:gd name="connsiteY10" fmla="*/ 1788347 h 1788347"/>
                  <a:gd name="connsiteX11" fmla="*/ 1085897 w 1959012"/>
                  <a:gd name="connsiteY11" fmla="*/ 1618764 h 1788347"/>
                  <a:gd name="connsiteX12" fmla="*/ 1085897 w 1959012"/>
                  <a:gd name="connsiteY12" fmla="*/ 861593 h 1788347"/>
                  <a:gd name="connsiteX13" fmla="*/ 1255480 w 1959012"/>
                  <a:gd name="connsiteY13" fmla="*/ 692010 h 1788347"/>
                  <a:gd name="connsiteX14" fmla="*/ 712526 w 1959012"/>
                  <a:gd name="connsiteY14" fmla="*/ 438716 h 1788347"/>
                  <a:gd name="connsiteX15" fmla="*/ 882106 w 1959012"/>
                  <a:gd name="connsiteY15" fmla="*/ 608296 h 1788347"/>
                  <a:gd name="connsiteX16" fmla="*/ 882106 w 1959012"/>
                  <a:gd name="connsiteY16" fmla="*/ 1618767 h 1788347"/>
                  <a:gd name="connsiteX17" fmla="*/ 712526 w 1959012"/>
                  <a:gd name="connsiteY17" fmla="*/ 1788347 h 1788347"/>
                  <a:gd name="connsiteX18" fmla="*/ 542946 w 1959012"/>
                  <a:gd name="connsiteY18" fmla="*/ 1618767 h 1788347"/>
                  <a:gd name="connsiteX19" fmla="*/ 542946 w 1959012"/>
                  <a:gd name="connsiteY19" fmla="*/ 608296 h 1788347"/>
                  <a:gd name="connsiteX20" fmla="*/ 712526 w 1959012"/>
                  <a:gd name="connsiteY20" fmla="*/ 438716 h 1788347"/>
                  <a:gd name="connsiteX21" fmla="*/ 1789429 w 1959012"/>
                  <a:gd name="connsiteY21" fmla="*/ 0 h 1788347"/>
                  <a:gd name="connsiteX22" fmla="*/ 1959012 w 1959012"/>
                  <a:gd name="connsiteY22" fmla="*/ 169583 h 1788347"/>
                  <a:gd name="connsiteX23" fmla="*/ 1959012 w 1959012"/>
                  <a:gd name="connsiteY23" fmla="*/ 1618764 h 1788347"/>
                  <a:gd name="connsiteX24" fmla="*/ 1789429 w 1959012"/>
                  <a:gd name="connsiteY24" fmla="*/ 1788347 h 1788347"/>
                  <a:gd name="connsiteX25" fmla="*/ 1619846 w 1959012"/>
                  <a:gd name="connsiteY25" fmla="*/ 1618764 h 1788347"/>
                  <a:gd name="connsiteX26" fmla="*/ 1619846 w 1959012"/>
                  <a:gd name="connsiteY26" fmla="*/ 169583 h 1788347"/>
                  <a:gd name="connsiteX27" fmla="*/ 1789429 w 1959012"/>
                  <a:gd name="connsiteY27" fmla="*/ 0 h 178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9012" h="1788347">
                    <a:moveTo>
                      <a:pt x="169583" y="1054931"/>
                    </a:moveTo>
                    <a:cubicBezTo>
                      <a:pt x="263241" y="1054931"/>
                      <a:pt x="339166" y="1130856"/>
                      <a:pt x="339166" y="1224514"/>
                    </a:cubicBezTo>
                    <a:lnTo>
                      <a:pt x="339166" y="1618758"/>
                    </a:lnTo>
                    <a:cubicBezTo>
                      <a:pt x="339166" y="1712416"/>
                      <a:pt x="263241" y="1788341"/>
                      <a:pt x="169583" y="1788341"/>
                    </a:cubicBezTo>
                    <a:cubicBezTo>
                      <a:pt x="75925" y="1788341"/>
                      <a:pt x="0" y="1712416"/>
                      <a:pt x="0" y="1618758"/>
                    </a:cubicBezTo>
                    <a:lnTo>
                      <a:pt x="0" y="1224514"/>
                    </a:lnTo>
                    <a:cubicBezTo>
                      <a:pt x="0" y="1130856"/>
                      <a:pt x="75925" y="1054931"/>
                      <a:pt x="169583" y="1054931"/>
                    </a:cubicBezTo>
                    <a:close/>
                    <a:moveTo>
                      <a:pt x="1255480" y="692010"/>
                    </a:moveTo>
                    <a:cubicBezTo>
                      <a:pt x="1349138" y="692010"/>
                      <a:pt x="1425063" y="767935"/>
                      <a:pt x="1425063" y="861593"/>
                    </a:cubicBezTo>
                    <a:lnTo>
                      <a:pt x="1425063" y="1618764"/>
                    </a:lnTo>
                    <a:cubicBezTo>
                      <a:pt x="1425063" y="1712422"/>
                      <a:pt x="1349138" y="1788347"/>
                      <a:pt x="1255480" y="1788347"/>
                    </a:cubicBezTo>
                    <a:cubicBezTo>
                      <a:pt x="1161822" y="1788347"/>
                      <a:pt x="1085897" y="1712422"/>
                      <a:pt x="1085897" y="1618764"/>
                    </a:cubicBezTo>
                    <a:lnTo>
                      <a:pt x="1085897" y="861593"/>
                    </a:lnTo>
                    <a:cubicBezTo>
                      <a:pt x="1085897" y="767935"/>
                      <a:pt x="1161822" y="692010"/>
                      <a:pt x="1255480" y="692010"/>
                    </a:cubicBezTo>
                    <a:close/>
                    <a:moveTo>
                      <a:pt x="712526" y="438716"/>
                    </a:moveTo>
                    <a:cubicBezTo>
                      <a:pt x="806182" y="438716"/>
                      <a:pt x="882106" y="514640"/>
                      <a:pt x="882106" y="608296"/>
                    </a:cubicBezTo>
                    <a:lnTo>
                      <a:pt x="882106" y="1618767"/>
                    </a:lnTo>
                    <a:cubicBezTo>
                      <a:pt x="882106" y="1712423"/>
                      <a:pt x="806182" y="1788347"/>
                      <a:pt x="712526" y="1788347"/>
                    </a:cubicBezTo>
                    <a:cubicBezTo>
                      <a:pt x="618870" y="1788347"/>
                      <a:pt x="542946" y="1712423"/>
                      <a:pt x="542946" y="1618767"/>
                    </a:cubicBezTo>
                    <a:lnTo>
                      <a:pt x="542946" y="608296"/>
                    </a:lnTo>
                    <a:cubicBezTo>
                      <a:pt x="542946" y="514640"/>
                      <a:pt x="618870" y="438716"/>
                      <a:pt x="712526" y="438716"/>
                    </a:cubicBezTo>
                    <a:close/>
                    <a:moveTo>
                      <a:pt x="1789429" y="0"/>
                    </a:moveTo>
                    <a:cubicBezTo>
                      <a:pt x="1883087" y="0"/>
                      <a:pt x="1959012" y="75925"/>
                      <a:pt x="1959012" y="169583"/>
                    </a:cubicBezTo>
                    <a:lnTo>
                      <a:pt x="1959012" y="1618764"/>
                    </a:lnTo>
                    <a:cubicBezTo>
                      <a:pt x="1959012" y="1712422"/>
                      <a:pt x="1883087" y="1788347"/>
                      <a:pt x="1789429" y="1788347"/>
                    </a:cubicBezTo>
                    <a:cubicBezTo>
                      <a:pt x="1695771" y="1788347"/>
                      <a:pt x="1619846" y="1712422"/>
                      <a:pt x="1619846" y="1618764"/>
                    </a:cubicBezTo>
                    <a:lnTo>
                      <a:pt x="1619846" y="169583"/>
                    </a:lnTo>
                    <a:cubicBezTo>
                      <a:pt x="1619846" y="75925"/>
                      <a:pt x="1695771" y="0"/>
                      <a:pt x="1789429" y="0"/>
                    </a:cubicBezTo>
                    <a:close/>
                  </a:path>
                </a:pathLst>
              </a:custGeom>
              <a:solidFill>
                <a:srgbClr val="50E6FF"/>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grpSp>
      </p:grpSp>
      <p:grpSp>
        <p:nvGrpSpPr>
          <p:cNvPr id="88" name="Group 87">
            <a:extLst>
              <a:ext uri="{FF2B5EF4-FFF2-40B4-BE49-F238E27FC236}">
                <a16:creationId xmlns:a16="http://schemas.microsoft.com/office/drawing/2014/main" id="{5C4D9EDA-8BFD-4202-8F2B-D353FBC84EA6}"/>
              </a:ext>
            </a:extLst>
          </p:cNvPr>
          <p:cNvGrpSpPr/>
          <p:nvPr/>
        </p:nvGrpSpPr>
        <p:grpSpPr>
          <a:xfrm>
            <a:off x="2490882" y="4089603"/>
            <a:ext cx="1575344" cy="1272327"/>
            <a:chOff x="2489294" y="4089602"/>
            <a:chExt cx="1575344" cy="1272327"/>
          </a:xfrm>
        </p:grpSpPr>
        <p:sp>
          <p:nvSpPr>
            <p:cNvPr id="96" name="Rectangle 95">
              <a:extLst>
                <a:ext uri="{FF2B5EF4-FFF2-40B4-BE49-F238E27FC236}">
                  <a16:creationId xmlns:a16="http://schemas.microsoft.com/office/drawing/2014/main" id="{9FA35741-B998-4936-BC15-09148ACA8295}"/>
                </a:ext>
              </a:extLst>
            </p:cNvPr>
            <p:cNvSpPr/>
            <p:nvPr/>
          </p:nvSpPr>
          <p:spPr bwMode="auto">
            <a:xfrm>
              <a:off x="2489294" y="4089602"/>
              <a:ext cx="1575344"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97" name="Graphic 96">
              <a:extLst>
                <a:ext uri="{FF2B5EF4-FFF2-40B4-BE49-F238E27FC236}">
                  <a16:creationId xmlns:a16="http://schemas.microsoft.com/office/drawing/2014/main" id="{41B437A6-6708-4018-A3B7-6392AD0BE1B0}"/>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589519" y="4278408"/>
              <a:ext cx="360000" cy="360000"/>
            </a:xfrm>
            <a:prstGeom prst="rect">
              <a:avLst/>
            </a:prstGeom>
          </p:spPr>
        </p:pic>
        <p:sp>
          <p:nvSpPr>
            <p:cNvPr id="98" name="TextBox 97">
              <a:extLst>
                <a:ext uri="{FF2B5EF4-FFF2-40B4-BE49-F238E27FC236}">
                  <a16:creationId xmlns:a16="http://schemas.microsoft.com/office/drawing/2014/main" id="{B2F57E0A-EEFE-4B8D-8B60-CB60698C4602}"/>
                </a:ext>
              </a:extLst>
            </p:cNvPr>
            <p:cNvSpPr txBox="1"/>
            <p:nvPr/>
          </p:nvSpPr>
          <p:spPr>
            <a:xfrm>
              <a:off x="3085966" y="4306009"/>
              <a:ext cx="907398"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Factory</a:t>
              </a:r>
            </a:p>
          </p:txBody>
        </p:sp>
        <p:sp>
          <p:nvSpPr>
            <p:cNvPr id="99" name="TextBox 98">
              <a:extLst>
                <a:ext uri="{FF2B5EF4-FFF2-40B4-BE49-F238E27FC236}">
                  <a16:creationId xmlns:a16="http://schemas.microsoft.com/office/drawing/2014/main" id="{9ADB9E95-BF6F-480B-BCC3-E9DF85C73150}"/>
                </a:ext>
              </a:extLst>
            </p:cNvPr>
            <p:cNvSpPr txBox="1"/>
            <p:nvPr/>
          </p:nvSpPr>
          <p:spPr>
            <a:xfrm>
              <a:off x="3078768" y="4846326"/>
              <a:ext cx="771498"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Synapse Analytics</a:t>
              </a:r>
            </a:p>
          </p:txBody>
        </p:sp>
        <p:pic>
          <p:nvPicPr>
            <p:cNvPr id="100" name="Graphic 99">
              <a:extLst>
                <a:ext uri="{FF2B5EF4-FFF2-40B4-BE49-F238E27FC236}">
                  <a16:creationId xmlns:a16="http://schemas.microsoft.com/office/drawing/2014/main" id="{BB19AC35-253F-4AD7-8E44-C12553F019C3}"/>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18043" y="4840444"/>
              <a:ext cx="313125" cy="360000"/>
            </a:xfrm>
            <a:prstGeom prst="rect">
              <a:avLst/>
            </a:prstGeom>
          </p:spPr>
        </p:pic>
      </p:grpSp>
    </p:spTree>
    <p:extLst>
      <p:ext uri="{BB962C8B-B14F-4D97-AF65-F5344CB8AC3E}">
        <p14:creationId xmlns:p14="http://schemas.microsoft.com/office/powerpoint/2010/main" val="236113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Content Placeholder 5">
            <a:extLst>
              <a:ext uri="{FF2B5EF4-FFF2-40B4-BE49-F238E27FC236}">
                <a16:creationId xmlns:a16="http://schemas.microsoft.com/office/drawing/2014/main" id="{3C11E6FF-B612-4544-86D7-6643742A165A}"/>
              </a:ext>
            </a:extLst>
          </p:cNvPr>
          <p:cNvSpPr txBox="1">
            <a:spLocks/>
          </p:cNvSpPr>
          <p:nvPr/>
        </p:nvSpPr>
        <p:spPr>
          <a:xfrm>
            <a:off x="6265818" y="3777056"/>
            <a:ext cx="2727242" cy="1110630"/>
          </a:xfrm>
          <a:prstGeom prst="rect">
            <a:avLst/>
          </a:prstGeom>
          <a:solidFill>
            <a:srgbClr val="50E6FF">
              <a:lumMod val="50000"/>
            </a:srgbClr>
          </a:solidFill>
        </p:spPr>
        <p:txBody>
          <a:bodyPr vert="horz" lIns="182832" tIns="182832" rIns="182832" bIns="182832" rtlCol="0" anchor="ctr">
            <a:noAutofit/>
          </a:bodyPr>
          <a:lstStyle>
            <a:lvl1pPr marL="0" indent="0" algn="l" defTabSz="586003" rtl="0" eaLnBrk="1" latinLnBrk="0" hangingPunct="1">
              <a:lnSpc>
                <a:spcPct val="100000"/>
              </a:lnSpc>
              <a:spcBef>
                <a:spcPts val="1800"/>
              </a:spcBef>
              <a:buClrTx/>
              <a:buSzPct val="75000"/>
              <a:buFont typeface="Myriad Pro" panose="020B0503030403020204" pitchFamily="34" charset="0"/>
              <a:buNone/>
              <a:defRPr sz="2400" b="0" i="0" kern="1200" baseline="0">
                <a:solidFill>
                  <a:schemeClr val="bg1"/>
                </a:solidFill>
                <a:latin typeface="Roboto Mono" pitchFamily="2" charset="0"/>
                <a:ea typeface="Roboto Mono" pitchFamily="2" charset="0"/>
                <a:cs typeface="Consolas" panose="020B0609020204030204" pitchFamily="49" charset="0"/>
              </a:defRPr>
            </a:lvl1pPr>
            <a:lvl2pPr marL="297073" indent="0" algn="l" defTabSz="586003" rtl="0" eaLnBrk="1" latinLnBrk="0" hangingPunct="1">
              <a:lnSpc>
                <a:spcPct val="100000"/>
              </a:lnSpc>
              <a:spcBef>
                <a:spcPts val="600"/>
              </a:spcBef>
              <a:buClrTx/>
              <a:buSzPct val="75000"/>
              <a:buFont typeface="Lucida Grande"/>
              <a:buNone/>
              <a:defRPr sz="2400" b="0" i="0" kern="1200">
                <a:solidFill>
                  <a:schemeClr val="bg1"/>
                </a:solidFill>
                <a:latin typeface="Consolas" panose="020B0609020204030204" pitchFamily="49" charset="0"/>
                <a:ea typeface="Gotham Book" panose="02000604040000020004" pitchFamily="50" charset="0"/>
                <a:cs typeface="Consolas" panose="020B0609020204030204" pitchFamily="49" charset="0"/>
              </a:defRPr>
            </a:lvl2pPr>
            <a:lvl3pPr marL="596174" indent="0" algn="l" defTabSz="586003" rtl="0" eaLnBrk="1" latinLnBrk="0" hangingPunct="1">
              <a:lnSpc>
                <a:spcPct val="100000"/>
              </a:lnSpc>
              <a:spcBef>
                <a:spcPts val="600"/>
              </a:spcBef>
              <a:buClrTx/>
              <a:buSzPct val="75000"/>
              <a:buFont typeface="Lucida Grande"/>
              <a:buNone/>
              <a:defRPr sz="2400" b="0" i="0" kern="1200">
                <a:solidFill>
                  <a:schemeClr val="bg1"/>
                </a:solidFill>
                <a:latin typeface="Consolas" panose="020B0609020204030204" pitchFamily="49" charset="0"/>
                <a:ea typeface="Gotham Book" panose="02000604040000020004" pitchFamily="50" charset="0"/>
                <a:cs typeface="Consolas" panose="020B0609020204030204" pitchFamily="49" charset="0"/>
              </a:defRPr>
            </a:lvl3pPr>
            <a:lvl4pPr marL="883075" indent="0" algn="l" defTabSz="586003" rtl="0" eaLnBrk="1" latinLnBrk="0" hangingPunct="1">
              <a:lnSpc>
                <a:spcPct val="100000"/>
              </a:lnSpc>
              <a:spcBef>
                <a:spcPts val="600"/>
              </a:spcBef>
              <a:buClrTx/>
              <a:buSzPct val="75000"/>
              <a:buFont typeface="Wingdings" panose="05000000000000000000" pitchFamily="2" charset="2"/>
              <a:buNone/>
              <a:defRPr sz="2400" b="0" i="0" kern="1200" baseline="0">
                <a:solidFill>
                  <a:schemeClr val="bg1"/>
                </a:solidFill>
                <a:latin typeface="Consolas" panose="020B0609020204030204" pitchFamily="49" charset="0"/>
                <a:ea typeface="Gotham Book" panose="02000604040000020004" pitchFamily="50" charset="0"/>
                <a:cs typeface="Consolas" panose="020B0609020204030204" pitchFamily="49" charset="0"/>
              </a:defRPr>
            </a:lvl4pPr>
            <a:lvl5pPr marL="1096720" indent="0" algn="l" defTabSz="586003" rtl="0" eaLnBrk="1" latinLnBrk="0" hangingPunct="1">
              <a:lnSpc>
                <a:spcPct val="100000"/>
              </a:lnSpc>
              <a:spcBef>
                <a:spcPts val="600"/>
              </a:spcBef>
              <a:buClrTx/>
              <a:buSzPct val="75000"/>
              <a:buFont typeface="Myriad Pro Light" panose="020B0403030403020204" pitchFamily="34" charset="0"/>
              <a:buNone/>
              <a:tabLst/>
              <a:defRPr sz="2400" b="0" i="0" kern="1200" baseline="0">
                <a:solidFill>
                  <a:schemeClr val="bg1"/>
                </a:solidFill>
                <a:latin typeface="Consolas" panose="020B0609020204030204" pitchFamily="49" charset="0"/>
                <a:ea typeface="Gotham Book" panose="02000604040000020004" pitchFamily="50" charset="0"/>
                <a:cs typeface="Consolas" panose="020B0609020204030204" pitchFamily="49" charset="0"/>
              </a:defRPr>
            </a:lvl5pPr>
            <a:lvl6pPr marL="1719263" indent="-292100" algn="l" defTabSz="586003" rtl="0" eaLnBrk="1" latinLnBrk="0" hangingPunct="1">
              <a:spcBef>
                <a:spcPts val="448"/>
              </a:spcBef>
              <a:buClr>
                <a:schemeClr val="tx1"/>
              </a:buClr>
              <a:buSzPct val="70000"/>
              <a:buFont typeface="Montserrat"/>
              <a:buChar char=" "/>
              <a:defRPr lang="en-US" sz="2400" b="0" i="0" kern="1200" baseline="0" dirty="0" smtClean="0">
                <a:solidFill>
                  <a:srgbClr val="404040"/>
                </a:solidFill>
                <a:effectLst/>
                <a:latin typeface="Gotham Book" panose="02000604040000020004" pitchFamily="50" charset="0"/>
                <a:ea typeface="+mn-ea"/>
                <a:cs typeface="Arial"/>
              </a:defRPr>
            </a:lvl6pPr>
            <a:lvl7pPr marL="2003425" indent="-288925" algn="l" defTabSz="586003" rtl="0" eaLnBrk="1" latinLnBrk="0" hangingPunct="1">
              <a:spcBef>
                <a:spcPct val="20000"/>
              </a:spcBef>
              <a:buSzPct val="70000"/>
              <a:buFont typeface="Montserrat"/>
              <a:buChar char=" "/>
              <a:defRPr lang="en-US" sz="2400" kern="1200" dirty="0" smtClean="0">
                <a:solidFill>
                  <a:srgbClr val="404040"/>
                </a:solidFill>
                <a:effectLst/>
                <a:latin typeface="Gotham Book" panose="02000604040000020004" pitchFamily="50" charset="0"/>
                <a:ea typeface="+mn-ea"/>
                <a:cs typeface="+mn-cs"/>
              </a:defRPr>
            </a:lvl7pPr>
            <a:lvl8pPr marL="2286000" indent="-282575" algn="l" defTabSz="586003" rtl="0" eaLnBrk="1" latinLnBrk="0" hangingPunct="1">
              <a:spcBef>
                <a:spcPct val="20000"/>
              </a:spcBef>
              <a:buSzPct val="70000"/>
              <a:buFont typeface="Montserrat"/>
              <a:buChar char=" "/>
              <a:defRPr lang="en-US" sz="2400" kern="1200" dirty="0" smtClean="0">
                <a:solidFill>
                  <a:srgbClr val="404040"/>
                </a:solidFill>
                <a:effectLst/>
                <a:latin typeface="Gotham Book" panose="02000604040000020004" pitchFamily="50" charset="0"/>
                <a:ea typeface="+mn-ea"/>
                <a:cs typeface="+mn-cs"/>
              </a:defRPr>
            </a:lvl8pPr>
            <a:lvl9pPr marL="2571750" indent="-285750" algn="l" defTabSz="586003" rtl="0" eaLnBrk="1" latinLnBrk="0" hangingPunct="1">
              <a:spcBef>
                <a:spcPct val="20000"/>
              </a:spcBef>
              <a:buSzPct val="70000"/>
              <a:buFont typeface="Montserrat"/>
              <a:buChar char=" "/>
              <a:defRPr lang="en-US" sz="2400" kern="1200" baseline="0" dirty="0" smtClean="0">
                <a:solidFill>
                  <a:srgbClr val="404040"/>
                </a:solidFill>
                <a:effectLst/>
                <a:latin typeface="Gotham Book" panose="02000604040000020004" pitchFamily="50" charset="0"/>
                <a:ea typeface="+mn-ea"/>
                <a:cs typeface="+mn-cs"/>
              </a:defRPr>
            </a:lvl9pPr>
          </a:lstStyle>
          <a:p>
            <a:pPr>
              <a:spcBef>
                <a:spcPts val="600"/>
              </a:spcBef>
              <a:defRPr/>
            </a:pPr>
            <a:endParaRPr lang="en-US" sz="1899">
              <a:solidFill>
                <a:srgbClr val="0478D4"/>
              </a:solidFill>
              <a:latin typeface="Segoe UI Semibold"/>
              <a:ea typeface="Gotham-Book" charset="0"/>
              <a:cs typeface="Gotham-Book" charset="0"/>
              <a:sym typeface="Segoe UI Semibold"/>
            </a:endParaRPr>
          </a:p>
        </p:txBody>
      </p:sp>
      <p:sp>
        <p:nvSpPr>
          <p:cNvPr id="101" name="Content Placeholder 5">
            <a:extLst>
              <a:ext uri="{FF2B5EF4-FFF2-40B4-BE49-F238E27FC236}">
                <a16:creationId xmlns:a16="http://schemas.microsoft.com/office/drawing/2014/main" id="{CEC2A3E7-D70C-4691-A4AC-642269F57C86}"/>
              </a:ext>
            </a:extLst>
          </p:cNvPr>
          <p:cNvSpPr txBox="1">
            <a:spLocks/>
          </p:cNvSpPr>
          <p:nvPr/>
        </p:nvSpPr>
        <p:spPr>
          <a:xfrm flipH="1">
            <a:off x="6265819" y="3813759"/>
            <a:ext cx="2684379" cy="284074"/>
          </a:xfrm>
          <a:prstGeom prst="rect">
            <a:avLst/>
          </a:prstGeom>
          <a:solidFill>
            <a:schemeClr val="tx1">
              <a:lumMod val="20000"/>
              <a:lumOff val="80000"/>
            </a:schemeClr>
          </a:solidFill>
          <a:ln w="19050">
            <a:noFill/>
          </a:ln>
        </p:spPr>
        <p:txBody>
          <a:bodyPr vert="horz" lIns="182832" tIns="182832" rIns="182832" bIns="182832" rtlCol="0" anchor="ctr">
            <a:noAutofit/>
          </a:bodyPr>
          <a:lstStyle>
            <a:lvl1pPr marL="0" indent="0" algn="l" defTabSz="586003" rtl="0" eaLnBrk="1" latinLnBrk="0" hangingPunct="1">
              <a:lnSpc>
                <a:spcPct val="100000"/>
              </a:lnSpc>
              <a:spcBef>
                <a:spcPts val="1800"/>
              </a:spcBef>
              <a:buClrTx/>
              <a:buSzPct val="75000"/>
              <a:buFont typeface="Myriad Pro" panose="020B0503030403020204" pitchFamily="34" charset="0"/>
              <a:buNone/>
              <a:defRPr sz="2400" b="0" i="0" kern="1200" baseline="0">
                <a:solidFill>
                  <a:schemeClr val="bg1"/>
                </a:solidFill>
                <a:latin typeface="Roboto Mono" pitchFamily="2" charset="0"/>
                <a:ea typeface="Roboto Mono" pitchFamily="2" charset="0"/>
                <a:cs typeface="Consolas" panose="020B0609020204030204" pitchFamily="49" charset="0"/>
              </a:defRPr>
            </a:lvl1pPr>
            <a:lvl2pPr marL="297073" indent="0" algn="l" defTabSz="586003" rtl="0" eaLnBrk="1" latinLnBrk="0" hangingPunct="1">
              <a:lnSpc>
                <a:spcPct val="100000"/>
              </a:lnSpc>
              <a:spcBef>
                <a:spcPts val="600"/>
              </a:spcBef>
              <a:buClrTx/>
              <a:buSzPct val="75000"/>
              <a:buFont typeface="Lucida Grande"/>
              <a:buNone/>
              <a:defRPr sz="2400" b="0" i="0" kern="1200">
                <a:solidFill>
                  <a:schemeClr val="bg1"/>
                </a:solidFill>
                <a:latin typeface="Consolas" panose="020B0609020204030204" pitchFamily="49" charset="0"/>
                <a:ea typeface="Gotham Book" panose="02000604040000020004" pitchFamily="50" charset="0"/>
                <a:cs typeface="Consolas" panose="020B0609020204030204" pitchFamily="49" charset="0"/>
              </a:defRPr>
            </a:lvl2pPr>
            <a:lvl3pPr marL="596174" indent="0" algn="l" defTabSz="586003" rtl="0" eaLnBrk="1" latinLnBrk="0" hangingPunct="1">
              <a:lnSpc>
                <a:spcPct val="100000"/>
              </a:lnSpc>
              <a:spcBef>
                <a:spcPts val="600"/>
              </a:spcBef>
              <a:buClrTx/>
              <a:buSzPct val="75000"/>
              <a:buFont typeface="Lucida Grande"/>
              <a:buNone/>
              <a:defRPr sz="2400" b="0" i="0" kern="1200">
                <a:solidFill>
                  <a:schemeClr val="bg1"/>
                </a:solidFill>
                <a:latin typeface="Consolas" panose="020B0609020204030204" pitchFamily="49" charset="0"/>
                <a:ea typeface="Gotham Book" panose="02000604040000020004" pitchFamily="50" charset="0"/>
                <a:cs typeface="Consolas" panose="020B0609020204030204" pitchFamily="49" charset="0"/>
              </a:defRPr>
            </a:lvl3pPr>
            <a:lvl4pPr marL="883075" indent="0" algn="l" defTabSz="586003" rtl="0" eaLnBrk="1" latinLnBrk="0" hangingPunct="1">
              <a:lnSpc>
                <a:spcPct val="100000"/>
              </a:lnSpc>
              <a:spcBef>
                <a:spcPts val="600"/>
              </a:spcBef>
              <a:buClrTx/>
              <a:buSzPct val="75000"/>
              <a:buFont typeface="Wingdings" panose="05000000000000000000" pitchFamily="2" charset="2"/>
              <a:buNone/>
              <a:defRPr sz="2400" b="0" i="0" kern="1200" baseline="0">
                <a:solidFill>
                  <a:schemeClr val="bg1"/>
                </a:solidFill>
                <a:latin typeface="Consolas" panose="020B0609020204030204" pitchFamily="49" charset="0"/>
                <a:ea typeface="Gotham Book" panose="02000604040000020004" pitchFamily="50" charset="0"/>
                <a:cs typeface="Consolas" panose="020B0609020204030204" pitchFamily="49" charset="0"/>
              </a:defRPr>
            </a:lvl4pPr>
            <a:lvl5pPr marL="1096720" indent="0" algn="l" defTabSz="586003" rtl="0" eaLnBrk="1" latinLnBrk="0" hangingPunct="1">
              <a:lnSpc>
                <a:spcPct val="100000"/>
              </a:lnSpc>
              <a:spcBef>
                <a:spcPts val="600"/>
              </a:spcBef>
              <a:buClrTx/>
              <a:buSzPct val="75000"/>
              <a:buFont typeface="Myriad Pro Light" panose="020B0403030403020204" pitchFamily="34" charset="0"/>
              <a:buNone/>
              <a:tabLst/>
              <a:defRPr sz="2400" b="0" i="0" kern="1200" baseline="0">
                <a:solidFill>
                  <a:schemeClr val="bg1"/>
                </a:solidFill>
                <a:latin typeface="Consolas" panose="020B0609020204030204" pitchFamily="49" charset="0"/>
                <a:ea typeface="Gotham Book" panose="02000604040000020004" pitchFamily="50" charset="0"/>
                <a:cs typeface="Consolas" panose="020B0609020204030204" pitchFamily="49" charset="0"/>
              </a:defRPr>
            </a:lvl5pPr>
            <a:lvl6pPr marL="1719263" indent="-292100" algn="l" defTabSz="586003" rtl="0" eaLnBrk="1" latinLnBrk="0" hangingPunct="1">
              <a:spcBef>
                <a:spcPts val="448"/>
              </a:spcBef>
              <a:buClr>
                <a:schemeClr val="tx1"/>
              </a:buClr>
              <a:buSzPct val="70000"/>
              <a:buFont typeface="Montserrat"/>
              <a:buChar char=" "/>
              <a:defRPr lang="en-US" sz="2400" b="0" i="0" kern="1200" baseline="0" dirty="0" smtClean="0">
                <a:solidFill>
                  <a:srgbClr val="404040"/>
                </a:solidFill>
                <a:effectLst/>
                <a:latin typeface="Gotham Book" panose="02000604040000020004" pitchFamily="50" charset="0"/>
                <a:ea typeface="+mn-ea"/>
                <a:cs typeface="Arial"/>
              </a:defRPr>
            </a:lvl6pPr>
            <a:lvl7pPr marL="2003425" indent="-288925" algn="l" defTabSz="586003" rtl="0" eaLnBrk="1" latinLnBrk="0" hangingPunct="1">
              <a:spcBef>
                <a:spcPct val="20000"/>
              </a:spcBef>
              <a:buSzPct val="70000"/>
              <a:buFont typeface="Montserrat"/>
              <a:buChar char=" "/>
              <a:defRPr lang="en-US" sz="2400" kern="1200" dirty="0" smtClean="0">
                <a:solidFill>
                  <a:srgbClr val="404040"/>
                </a:solidFill>
                <a:effectLst/>
                <a:latin typeface="Gotham Book" panose="02000604040000020004" pitchFamily="50" charset="0"/>
                <a:ea typeface="+mn-ea"/>
                <a:cs typeface="+mn-cs"/>
              </a:defRPr>
            </a:lvl7pPr>
            <a:lvl8pPr marL="2286000" indent="-282575" algn="l" defTabSz="586003" rtl="0" eaLnBrk="1" latinLnBrk="0" hangingPunct="1">
              <a:spcBef>
                <a:spcPct val="20000"/>
              </a:spcBef>
              <a:buSzPct val="70000"/>
              <a:buFont typeface="Montserrat"/>
              <a:buChar char=" "/>
              <a:defRPr lang="en-US" sz="2400" kern="1200" dirty="0" smtClean="0">
                <a:solidFill>
                  <a:srgbClr val="404040"/>
                </a:solidFill>
                <a:effectLst/>
                <a:latin typeface="Gotham Book" panose="02000604040000020004" pitchFamily="50" charset="0"/>
                <a:ea typeface="+mn-ea"/>
                <a:cs typeface="+mn-cs"/>
              </a:defRPr>
            </a:lvl8pPr>
            <a:lvl9pPr marL="2571750" indent="-285750" algn="l" defTabSz="586003" rtl="0" eaLnBrk="1" latinLnBrk="0" hangingPunct="1">
              <a:spcBef>
                <a:spcPct val="20000"/>
              </a:spcBef>
              <a:buSzPct val="70000"/>
              <a:buFont typeface="Montserrat"/>
              <a:buChar char=" "/>
              <a:defRPr lang="en-US" sz="2400" kern="1200" baseline="0" dirty="0" smtClean="0">
                <a:solidFill>
                  <a:srgbClr val="404040"/>
                </a:solidFill>
                <a:effectLst/>
                <a:latin typeface="Gotham Book" panose="02000604040000020004" pitchFamily="50" charset="0"/>
                <a:ea typeface="+mn-ea"/>
                <a:cs typeface="+mn-cs"/>
              </a:defRPr>
            </a:lvl9pPr>
          </a:lstStyle>
          <a:p>
            <a:pPr algn="r">
              <a:spcBef>
                <a:spcPts val="600"/>
              </a:spcBef>
              <a:defRPr/>
            </a:pPr>
            <a:r>
              <a:rPr lang="en-US" sz="1600" b="1">
                <a:solidFill>
                  <a:srgbClr val="50E6FF">
                    <a:lumMod val="50000"/>
                  </a:srgbClr>
                </a:solidFill>
                <a:latin typeface="Segoe UI Semibold" panose="020B0502040204020203" pitchFamily="34" charset="0"/>
                <a:cs typeface="Segoe UI Semibold" panose="020B0502040204020203" pitchFamily="34" charset="0"/>
                <a:sym typeface="Segoe UI Semibold"/>
              </a:rPr>
              <a:t>Store processed data</a:t>
            </a:r>
          </a:p>
        </p:txBody>
      </p:sp>
      <p:sp>
        <p:nvSpPr>
          <p:cNvPr id="98" name="Content Placeholder 5">
            <a:extLst>
              <a:ext uri="{FF2B5EF4-FFF2-40B4-BE49-F238E27FC236}">
                <a16:creationId xmlns:a16="http://schemas.microsoft.com/office/drawing/2014/main" id="{CF87BAEF-85A3-411E-A160-7AB5619076CF}"/>
              </a:ext>
            </a:extLst>
          </p:cNvPr>
          <p:cNvSpPr txBox="1">
            <a:spLocks/>
          </p:cNvSpPr>
          <p:nvPr/>
        </p:nvSpPr>
        <p:spPr>
          <a:xfrm>
            <a:off x="625477" y="5562605"/>
            <a:ext cx="2746991" cy="1110630"/>
          </a:xfrm>
          <a:prstGeom prst="rect">
            <a:avLst/>
          </a:prstGeom>
          <a:solidFill>
            <a:srgbClr val="50E6FF">
              <a:lumMod val="50000"/>
            </a:srgbClr>
          </a:solidFill>
        </p:spPr>
        <p:txBody>
          <a:bodyPr vert="horz" lIns="182832" tIns="182832" rIns="182832" bIns="182832" rtlCol="0" anchor="ctr">
            <a:noAutofit/>
          </a:bodyPr>
          <a:lstStyle>
            <a:lvl1pPr marL="0" indent="0" algn="l" defTabSz="586003" rtl="0" eaLnBrk="1" latinLnBrk="0" hangingPunct="1">
              <a:lnSpc>
                <a:spcPct val="100000"/>
              </a:lnSpc>
              <a:spcBef>
                <a:spcPts val="1800"/>
              </a:spcBef>
              <a:buClrTx/>
              <a:buSzPct val="75000"/>
              <a:buFont typeface="Myriad Pro" panose="020B0503030403020204" pitchFamily="34" charset="0"/>
              <a:buNone/>
              <a:defRPr sz="2400" b="0" i="0" kern="1200" baseline="0">
                <a:solidFill>
                  <a:schemeClr val="bg1"/>
                </a:solidFill>
                <a:latin typeface="Roboto Mono" pitchFamily="2" charset="0"/>
                <a:ea typeface="Roboto Mono" pitchFamily="2" charset="0"/>
                <a:cs typeface="Consolas" panose="020B0609020204030204" pitchFamily="49" charset="0"/>
              </a:defRPr>
            </a:lvl1pPr>
            <a:lvl2pPr marL="297073" indent="0" algn="l" defTabSz="586003" rtl="0" eaLnBrk="1" latinLnBrk="0" hangingPunct="1">
              <a:lnSpc>
                <a:spcPct val="100000"/>
              </a:lnSpc>
              <a:spcBef>
                <a:spcPts val="600"/>
              </a:spcBef>
              <a:buClrTx/>
              <a:buSzPct val="75000"/>
              <a:buFont typeface="Lucida Grande"/>
              <a:buNone/>
              <a:defRPr sz="2400" b="0" i="0" kern="1200">
                <a:solidFill>
                  <a:schemeClr val="bg1"/>
                </a:solidFill>
                <a:latin typeface="Consolas" panose="020B0609020204030204" pitchFamily="49" charset="0"/>
                <a:ea typeface="Gotham Book" panose="02000604040000020004" pitchFamily="50" charset="0"/>
                <a:cs typeface="Consolas" panose="020B0609020204030204" pitchFamily="49" charset="0"/>
              </a:defRPr>
            </a:lvl2pPr>
            <a:lvl3pPr marL="596174" indent="0" algn="l" defTabSz="586003" rtl="0" eaLnBrk="1" latinLnBrk="0" hangingPunct="1">
              <a:lnSpc>
                <a:spcPct val="100000"/>
              </a:lnSpc>
              <a:spcBef>
                <a:spcPts val="600"/>
              </a:spcBef>
              <a:buClrTx/>
              <a:buSzPct val="75000"/>
              <a:buFont typeface="Lucida Grande"/>
              <a:buNone/>
              <a:defRPr sz="2400" b="0" i="0" kern="1200">
                <a:solidFill>
                  <a:schemeClr val="bg1"/>
                </a:solidFill>
                <a:latin typeface="Consolas" panose="020B0609020204030204" pitchFamily="49" charset="0"/>
                <a:ea typeface="Gotham Book" panose="02000604040000020004" pitchFamily="50" charset="0"/>
                <a:cs typeface="Consolas" panose="020B0609020204030204" pitchFamily="49" charset="0"/>
              </a:defRPr>
            </a:lvl3pPr>
            <a:lvl4pPr marL="883075" indent="0" algn="l" defTabSz="586003" rtl="0" eaLnBrk="1" latinLnBrk="0" hangingPunct="1">
              <a:lnSpc>
                <a:spcPct val="100000"/>
              </a:lnSpc>
              <a:spcBef>
                <a:spcPts val="600"/>
              </a:spcBef>
              <a:buClrTx/>
              <a:buSzPct val="75000"/>
              <a:buFont typeface="Wingdings" panose="05000000000000000000" pitchFamily="2" charset="2"/>
              <a:buNone/>
              <a:defRPr sz="2400" b="0" i="0" kern="1200" baseline="0">
                <a:solidFill>
                  <a:schemeClr val="bg1"/>
                </a:solidFill>
                <a:latin typeface="Consolas" panose="020B0609020204030204" pitchFamily="49" charset="0"/>
                <a:ea typeface="Gotham Book" panose="02000604040000020004" pitchFamily="50" charset="0"/>
                <a:cs typeface="Consolas" panose="020B0609020204030204" pitchFamily="49" charset="0"/>
              </a:defRPr>
            </a:lvl4pPr>
            <a:lvl5pPr marL="1096720" indent="0" algn="l" defTabSz="586003" rtl="0" eaLnBrk="1" latinLnBrk="0" hangingPunct="1">
              <a:lnSpc>
                <a:spcPct val="100000"/>
              </a:lnSpc>
              <a:spcBef>
                <a:spcPts val="600"/>
              </a:spcBef>
              <a:buClrTx/>
              <a:buSzPct val="75000"/>
              <a:buFont typeface="Myriad Pro Light" panose="020B0403030403020204" pitchFamily="34" charset="0"/>
              <a:buNone/>
              <a:tabLst/>
              <a:defRPr sz="2400" b="0" i="0" kern="1200" baseline="0">
                <a:solidFill>
                  <a:schemeClr val="bg1"/>
                </a:solidFill>
                <a:latin typeface="Consolas" panose="020B0609020204030204" pitchFamily="49" charset="0"/>
                <a:ea typeface="Gotham Book" panose="02000604040000020004" pitchFamily="50" charset="0"/>
                <a:cs typeface="Consolas" panose="020B0609020204030204" pitchFamily="49" charset="0"/>
              </a:defRPr>
            </a:lvl5pPr>
            <a:lvl6pPr marL="1719263" indent="-292100" algn="l" defTabSz="586003" rtl="0" eaLnBrk="1" latinLnBrk="0" hangingPunct="1">
              <a:spcBef>
                <a:spcPts val="448"/>
              </a:spcBef>
              <a:buClr>
                <a:schemeClr val="tx1"/>
              </a:buClr>
              <a:buSzPct val="70000"/>
              <a:buFont typeface="Montserrat"/>
              <a:buChar char=" "/>
              <a:defRPr lang="en-US" sz="2400" b="0" i="0" kern="1200" baseline="0" dirty="0" smtClean="0">
                <a:solidFill>
                  <a:srgbClr val="404040"/>
                </a:solidFill>
                <a:effectLst/>
                <a:latin typeface="Gotham Book" panose="02000604040000020004" pitchFamily="50" charset="0"/>
                <a:ea typeface="+mn-ea"/>
                <a:cs typeface="Arial"/>
              </a:defRPr>
            </a:lvl6pPr>
            <a:lvl7pPr marL="2003425" indent="-288925" algn="l" defTabSz="586003" rtl="0" eaLnBrk="1" latinLnBrk="0" hangingPunct="1">
              <a:spcBef>
                <a:spcPct val="20000"/>
              </a:spcBef>
              <a:buSzPct val="70000"/>
              <a:buFont typeface="Montserrat"/>
              <a:buChar char=" "/>
              <a:defRPr lang="en-US" sz="2400" kern="1200" dirty="0" smtClean="0">
                <a:solidFill>
                  <a:srgbClr val="404040"/>
                </a:solidFill>
                <a:effectLst/>
                <a:latin typeface="Gotham Book" panose="02000604040000020004" pitchFamily="50" charset="0"/>
                <a:ea typeface="+mn-ea"/>
                <a:cs typeface="+mn-cs"/>
              </a:defRPr>
            </a:lvl7pPr>
            <a:lvl8pPr marL="2286000" indent="-282575" algn="l" defTabSz="586003" rtl="0" eaLnBrk="1" latinLnBrk="0" hangingPunct="1">
              <a:spcBef>
                <a:spcPct val="20000"/>
              </a:spcBef>
              <a:buSzPct val="70000"/>
              <a:buFont typeface="Montserrat"/>
              <a:buChar char=" "/>
              <a:defRPr lang="en-US" sz="2400" kern="1200" dirty="0" smtClean="0">
                <a:solidFill>
                  <a:srgbClr val="404040"/>
                </a:solidFill>
                <a:effectLst/>
                <a:latin typeface="Gotham Book" panose="02000604040000020004" pitchFamily="50" charset="0"/>
                <a:ea typeface="+mn-ea"/>
                <a:cs typeface="+mn-cs"/>
              </a:defRPr>
            </a:lvl8pPr>
            <a:lvl9pPr marL="2571750" indent="-285750" algn="l" defTabSz="586003" rtl="0" eaLnBrk="1" latinLnBrk="0" hangingPunct="1">
              <a:spcBef>
                <a:spcPct val="20000"/>
              </a:spcBef>
              <a:buSzPct val="70000"/>
              <a:buFont typeface="Montserrat"/>
              <a:buChar char=" "/>
              <a:defRPr lang="en-US" sz="2400" kern="1200" baseline="0" dirty="0" smtClean="0">
                <a:solidFill>
                  <a:srgbClr val="404040"/>
                </a:solidFill>
                <a:effectLst/>
                <a:latin typeface="Gotham Book" panose="02000604040000020004" pitchFamily="50" charset="0"/>
                <a:ea typeface="+mn-ea"/>
                <a:cs typeface="+mn-cs"/>
              </a:defRPr>
            </a:lvl9pPr>
          </a:lstStyle>
          <a:p>
            <a:pPr>
              <a:spcBef>
                <a:spcPts val="600"/>
              </a:spcBef>
              <a:defRPr/>
            </a:pPr>
            <a:endParaRPr lang="en-US" sz="1899">
              <a:solidFill>
                <a:srgbClr val="0478D4"/>
              </a:solidFill>
              <a:latin typeface="Segoe UI Semibold"/>
              <a:ea typeface="Gotham-Book" charset="0"/>
              <a:cs typeface="Gotham-Book" charset="0"/>
              <a:sym typeface="Segoe UI Semibold"/>
            </a:endParaRPr>
          </a:p>
        </p:txBody>
      </p:sp>
      <p:sp>
        <p:nvSpPr>
          <p:cNvPr id="2" name="Title 1">
            <a:extLst>
              <a:ext uri="{FF2B5EF4-FFF2-40B4-BE49-F238E27FC236}">
                <a16:creationId xmlns:a16="http://schemas.microsoft.com/office/drawing/2014/main" id="{912621F7-19CD-6B4A-8900-FB4BCB77EC8A}"/>
              </a:ext>
            </a:extLst>
          </p:cNvPr>
          <p:cNvSpPr>
            <a:spLocks noGrp="1"/>
          </p:cNvSpPr>
          <p:nvPr>
            <p:ph type="title" idx="4294967295"/>
          </p:nvPr>
        </p:nvSpPr>
        <p:spPr>
          <a:xfrm>
            <a:off x="885825" y="620713"/>
            <a:ext cx="11306175" cy="403225"/>
          </a:xfrm>
        </p:spPr>
        <p:txBody>
          <a:bodyPr/>
          <a:lstStyle/>
          <a:p>
            <a:r>
              <a:rPr lang="en-US" dirty="0">
                <a:solidFill>
                  <a:srgbClr val="0070C0"/>
                </a:solidFill>
              </a:rPr>
              <a:t>Using IoT as an operational Data Source</a:t>
            </a:r>
          </a:p>
        </p:txBody>
      </p:sp>
      <p:sp>
        <p:nvSpPr>
          <p:cNvPr id="50" name="Rectangle 49">
            <a:extLst>
              <a:ext uri="{FF2B5EF4-FFF2-40B4-BE49-F238E27FC236}">
                <a16:creationId xmlns:a16="http://schemas.microsoft.com/office/drawing/2014/main" id="{908E8CE3-58BA-479A-96E7-A5E5823D85DA}"/>
              </a:ext>
            </a:extLst>
          </p:cNvPr>
          <p:cNvSpPr/>
          <p:nvPr/>
        </p:nvSpPr>
        <p:spPr bwMode="auto">
          <a:xfrm>
            <a:off x="688094" y="1468438"/>
            <a:ext cx="1430084" cy="3529351"/>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12" name="Group 11">
            <a:extLst>
              <a:ext uri="{FF2B5EF4-FFF2-40B4-BE49-F238E27FC236}">
                <a16:creationId xmlns:a16="http://schemas.microsoft.com/office/drawing/2014/main" id="{591E005E-A937-42D5-BD02-53B35F544AFC}"/>
              </a:ext>
            </a:extLst>
          </p:cNvPr>
          <p:cNvGrpSpPr/>
          <p:nvPr/>
        </p:nvGrpSpPr>
        <p:grpSpPr>
          <a:xfrm>
            <a:off x="843491" y="2888789"/>
            <a:ext cx="1459797" cy="360000"/>
            <a:chOff x="4051094" y="3143895"/>
            <a:chExt cx="1459797" cy="360000"/>
          </a:xfrm>
        </p:grpSpPr>
        <p:sp>
          <p:nvSpPr>
            <p:cNvPr id="53" name="TextBox 52">
              <a:extLst>
                <a:ext uri="{FF2B5EF4-FFF2-40B4-BE49-F238E27FC236}">
                  <a16:creationId xmlns:a16="http://schemas.microsoft.com/office/drawing/2014/main" id="{0E30BD84-8BF0-4944-88C0-C34DAE64AD03}"/>
                </a:ext>
              </a:extLst>
            </p:cNvPr>
            <p:cNvSpPr txBox="1"/>
            <p:nvPr/>
          </p:nvSpPr>
          <p:spPr>
            <a:xfrm>
              <a:off x="4632938" y="3157739"/>
              <a:ext cx="877953" cy="332312"/>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IoT Hub</a:t>
              </a:r>
            </a:p>
          </p:txBody>
        </p:sp>
        <p:pic>
          <p:nvPicPr>
            <p:cNvPr id="54" name="Graphic 53">
              <a:extLst>
                <a:ext uri="{FF2B5EF4-FFF2-40B4-BE49-F238E27FC236}">
                  <a16:creationId xmlns:a16="http://schemas.microsoft.com/office/drawing/2014/main" id="{0B5D69B3-9DA5-42A7-A352-E348B834EA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1094" y="3143895"/>
              <a:ext cx="360000" cy="360000"/>
            </a:xfrm>
            <a:prstGeom prst="rect">
              <a:avLst/>
            </a:prstGeom>
          </p:spPr>
        </p:pic>
      </p:grpSp>
      <p:sp>
        <p:nvSpPr>
          <p:cNvPr id="65" name="Rectangle 64">
            <a:extLst>
              <a:ext uri="{FF2B5EF4-FFF2-40B4-BE49-F238E27FC236}">
                <a16:creationId xmlns:a16="http://schemas.microsoft.com/office/drawing/2014/main" id="{9DFC749E-EDE3-4735-8DB5-98C9D73CB2F5}"/>
              </a:ext>
            </a:extLst>
          </p:cNvPr>
          <p:cNvSpPr/>
          <p:nvPr/>
        </p:nvSpPr>
        <p:spPr bwMode="auto">
          <a:xfrm>
            <a:off x="2886838" y="1466811"/>
            <a:ext cx="3108256"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28" name="Graphic 27">
            <a:extLst>
              <a:ext uri="{FF2B5EF4-FFF2-40B4-BE49-F238E27FC236}">
                <a16:creationId xmlns:a16="http://schemas.microsoft.com/office/drawing/2014/main" id="{58D08A55-172F-4321-B76E-5FF84B9ECF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60212" y="1928871"/>
            <a:ext cx="360000" cy="360000"/>
          </a:xfrm>
          <a:prstGeom prst="rect">
            <a:avLst/>
          </a:prstGeom>
        </p:spPr>
      </p:pic>
      <p:cxnSp>
        <p:nvCxnSpPr>
          <p:cNvPr id="2048" name="Straight Arrow Connector 2047">
            <a:extLst>
              <a:ext uri="{FF2B5EF4-FFF2-40B4-BE49-F238E27FC236}">
                <a16:creationId xmlns:a16="http://schemas.microsoft.com/office/drawing/2014/main" id="{48FC0D36-3860-47C4-888F-562A99353B64}"/>
              </a:ext>
            </a:extLst>
          </p:cNvPr>
          <p:cNvCxnSpPr>
            <a:cxnSpLocks/>
          </p:cNvCxnSpPr>
          <p:nvPr/>
        </p:nvCxnSpPr>
        <p:spPr>
          <a:xfrm>
            <a:off x="1547052" y="4997789"/>
            <a:ext cx="0" cy="564817"/>
          </a:xfrm>
          <a:prstGeom prst="straightConnector1">
            <a:avLst/>
          </a:prstGeom>
          <a:noFill/>
          <a:ln w="19050" cap="flat" cmpd="sng" algn="ctr">
            <a:solidFill>
              <a:srgbClr val="000000"/>
            </a:solidFill>
            <a:prstDash val="solid"/>
            <a:headEnd type="none" w="lg" len="med"/>
            <a:tailEnd type="triangle" w="med" len="med"/>
          </a:ln>
          <a:effectLst/>
        </p:spPr>
      </p:cxnSp>
      <p:grpSp>
        <p:nvGrpSpPr>
          <p:cNvPr id="2078" name="Group 2077">
            <a:extLst>
              <a:ext uri="{FF2B5EF4-FFF2-40B4-BE49-F238E27FC236}">
                <a16:creationId xmlns:a16="http://schemas.microsoft.com/office/drawing/2014/main" id="{F2780D3B-3E3D-4C7B-BA1F-C0FF339D8A51}"/>
              </a:ext>
            </a:extLst>
          </p:cNvPr>
          <p:cNvGrpSpPr/>
          <p:nvPr/>
        </p:nvGrpSpPr>
        <p:grpSpPr>
          <a:xfrm>
            <a:off x="688095" y="5881927"/>
            <a:ext cx="8254704" cy="791308"/>
            <a:chOff x="686507" y="6142892"/>
            <a:chExt cx="8254704" cy="791308"/>
          </a:xfrm>
        </p:grpSpPr>
        <p:sp>
          <p:nvSpPr>
            <p:cNvPr id="55" name="Rectangle 54">
              <a:extLst>
                <a:ext uri="{FF2B5EF4-FFF2-40B4-BE49-F238E27FC236}">
                  <a16:creationId xmlns:a16="http://schemas.microsoft.com/office/drawing/2014/main" id="{C06EF729-EA3D-4610-99C8-C942AF45A401}"/>
                </a:ext>
              </a:extLst>
            </p:cNvPr>
            <p:cNvSpPr/>
            <p:nvPr/>
          </p:nvSpPr>
          <p:spPr bwMode="auto">
            <a:xfrm>
              <a:off x="686507" y="6142892"/>
              <a:ext cx="8254704" cy="791308"/>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55" name="Group 2054">
              <a:extLst>
                <a:ext uri="{FF2B5EF4-FFF2-40B4-BE49-F238E27FC236}">
                  <a16:creationId xmlns:a16="http://schemas.microsoft.com/office/drawing/2014/main" id="{7EA480AF-11E2-4F28-8D26-F88C28BFD7EE}"/>
                </a:ext>
              </a:extLst>
            </p:cNvPr>
            <p:cNvGrpSpPr/>
            <p:nvPr/>
          </p:nvGrpSpPr>
          <p:grpSpPr>
            <a:xfrm>
              <a:off x="3704638" y="6358546"/>
              <a:ext cx="2218443" cy="367641"/>
              <a:chOff x="3476723" y="5710846"/>
              <a:chExt cx="2218443" cy="367641"/>
            </a:xfrm>
          </p:grpSpPr>
          <p:pic>
            <p:nvPicPr>
              <p:cNvPr id="18" name="Graphic 17">
                <a:extLst>
                  <a:ext uri="{FF2B5EF4-FFF2-40B4-BE49-F238E27FC236}">
                    <a16:creationId xmlns:a16="http://schemas.microsoft.com/office/drawing/2014/main" id="{36942917-ADCB-4A69-9BE2-9DD4E7BAA8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76723" y="5710846"/>
                <a:ext cx="360000" cy="360000"/>
              </a:xfrm>
              <a:prstGeom prst="rect">
                <a:avLst/>
              </a:prstGeom>
            </p:spPr>
          </p:pic>
          <p:sp>
            <p:nvSpPr>
              <p:cNvPr id="2054" name="TextBox 2053">
                <a:extLst>
                  <a:ext uri="{FF2B5EF4-FFF2-40B4-BE49-F238E27FC236}">
                    <a16:creationId xmlns:a16="http://schemas.microsoft.com/office/drawing/2014/main" id="{7200BAAA-A6E8-473D-96F7-96017DDF7517}"/>
                  </a:ext>
                </a:extLst>
              </p:cNvPr>
              <p:cNvSpPr txBox="1"/>
              <p:nvPr/>
            </p:nvSpPr>
            <p:spPr>
              <a:xfrm>
                <a:off x="4107562" y="5746088"/>
                <a:ext cx="1587604" cy="332399"/>
              </a:xfrm>
              <a:prstGeom prst="rect">
                <a:avLst/>
              </a:prstGeom>
              <a:noFill/>
            </p:spPr>
            <p:txBody>
              <a:bodyPr wrap="square" lIns="0" tIns="0" rIns="0" bIns="0" rtlCol="0">
                <a:spAutoFit/>
              </a:bodyPr>
              <a:lstStyle/>
              <a:p>
                <a:pPr defTabSz="914093">
                  <a:lnSpc>
                    <a:spcPct val="90000"/>
                  </a:lnSpc>
                  <a:defRPr/>
                </a:pPr>
                <a:r>
                  <a:rPr lang="en-US" sz="1200" kern="0" dirty="0">
                    <a:solidFill>
                      <a:srgbClr val="000000"/>
                    </a:solidFill>
                    <a:latin typeface="Segoe UI Semibold"/>
                    <a:sym typeface="Segoe UI Semibold"/>
                  </a:rPr>
                  <a:t>Azure </a:t>
                </a:r>
                <a:br>
                  <a:rPr lang="en-US" sz="1200" kern="0" dirty="0">
                    <a:solidFill>
                      <a:srgbClr val="000000"/>
                    </a:solidFill>
                    <a:latin typeface="Segoe UI Semibold"/>
                    <a:sym typeface="Segoe UI Semibold"/>
                  </a:rPr>
                </a:br>
                <a:r>
                  <a:rPr lang="en-US" sz="1200" kern="0" dirty="0">
                    <a:solidFill>
                      <a:srgbClr val="000000"/>
                    </a:solidFill>
                    <a:latin typeface="Segoe UI Semibold"/>
                    <a:sym typeface="Segoe UI Semibold"/>
                  </a:rPr>
                  <a:t>Data Lake Gen 2</a:t>
                </a:r>
              </a:p>
            </p:txBody>
          </p:sp>
        </p:grpSp>
      </p:grpSp>
      <p:cxnSp>
        <p:nvCxnSpPr>
          <p:cNvPr id="2059" name="Straight Arrow Connector 2058">
            <a:extLst>
              <a:ext uri="{FF2B5EF4-FFF2-40B4-BE49-F238E27FC236}">
                <a16:creationId xmlns:a16="http://schemas.microsoft.com/office/drawing/2014/main" id="{83E466FE-227B-4755-A92C-80A50BCDB1C6}"/>
              </a:ext>
            </a:extLst>
          </p:cNvPr>
          <p:cNvCxnSpPr>
            <a:cxnSpLocks/>
          </p:cNvCxnSpPr>
          <p:nvPr/>
        </p:nvCxnSpPr>
        <p:spPr>
          <a:xfrm>
            <a:off x="2118178" y="2117360"/>
            <a:ext cx="768660" cy="0"/>
          </a:xfrm>
          <a:prstGeom prst="straightConnector1">
            <a:avLst/>
          </a:prstGeom>
          <a:noFill/>
          <a:ln w="19050" cap="flat" cmpd="sng" algn="ctr">
            <a:solidFill>
              <a:srgbClr val="000000"/>
            </a:solidFill>
            <a:prstDash val="solid"/>
            <a:headEnd type="none" w="lg" len="med"/>
            <a:tailEnd type="triangle" w="med" len="med"/>
          </a:ln>
          <a:effectLst/>
        </p:spPr>
      </p:cxnSp>
      <p:sp>
        <p:nvSpPr>
          <p:cNvPr id="2062" name="TextBox 2061">
            <a:extLst>
              <a:ext uri="{FF2B5EF4-FFF2-40B4-BE49-F238E27FC236}">
                <a16:creationId xmlns:a16="http://schemas.microsoft.com/office/drawing/2014/main" id="{8D493B05-F15E-4599-95EE-34A9445E1381}"/>
              </a:ext>
            </a:extLst>
          </p:cNvPr>
          <p:cNvSpPr txBox="1"/>
          <p:nvPr/>
        </p:nvSpPr>
        <p:spPr>
          <a:xfrm>
            <a:off x="3884862" y="1938919"/>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tream Analytics</a:t>
            </a:r>
          </a:p>
        </p:txBody>
      </p:sp>
      <p:grpSp>
        <p:nvGrpSpPr>
          <p:cNvPr id="93" name="Group 92">
            <a:extLst>
              <a:ext uri="{FF2B5EF4-FFF2-40B4-BE49-F238E27FC236}">
                <a16:creationId xmlns:a16="http://schemas.microsoft.com/office/drawing/2014/main" id="{49B82087-B0BC-4848-B112-E4935CA6B607}"/>
              </a:ext>
            </a:extLst>
          </p:cNvPr>
          <p:cNvGrpSpPr/>
          <p:nvPr/>
        </p:nvGrpSpPr>
        <p:grpSpPr>
          <a:xfrm>
            <a:off x="5505798" y="4088613"/>
            <a:ext cx="3445565" cy="1286689"/>
            <a:chOff x="5495646" y="4424851"/>
            <a:chExt cx="3445565" cy="1286689"/>
          </a:xfrm>
        </p:grpSpPr>
        <p:sp>
          <p:nvSpPr>
            <p:cNvPr id="67" name="Rectangle 66">
              <a:extLst>
                <a:ext uri="{FF2B5EF4-FFF2-40B4-BE49-F238E27FC236}">
                  <a16:creationId xmlns:a16="http://schemas.microsoft.com/office/drawing/2014/main" id="{82929D9A-DEFC-4BC0-9A8D-289C9895D81D}"/>
                </a:ext>
              </a:extLst>
            </p:cNvPr>
            <p:cNvSpPr/>
            <p:nvPr/>
          </p:nvSpPr>
          <p:spPr bwMode="auto">
            <a:xfrm>
              <a:off x="5495646" y="4424851"/>
              <a:ext cx="3445565"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68" name="Group 2067">
              <a:extLst>
                <a:ext uri="{FF2B5EF4-FFF2-40B4-BE49-F238E27FC236}">
                  <a16:creationId xmlns:a16="http://schemas.microsoft.com/office/drawing/2014/main" id="{E19B705F-9126-4E4C-AB43-6379A32256CE}"/>
                </a:ext>
              </a:extLst>
            </p:cNvPr>
            <p:cNvGrpSpPr/>
            <p:nvPr/>
          </p:nvGrpSpPr>
          <p:grpSpPr>
            <a:xfrm>
              <a:off x="7372981" y="4931855"/>
              <a:ext cx="1537924" cy="360000"/>
              <a:chOff x="7249867" y="4208717"/>
              <a:chExt cx="1537924" cy="360000"/>
            </a:xfrm>
          </p:grpSpPr>
          <p:sp>
            <p:nvSpPr>
              <p:cNvPr id="2063" name="TextBox 2062">
                <a:extLst>
                  <a:ext uri="{FF2B5EF4-FFF2-40B4-BE49-F238E27FC236}">
                    <a16:creationId xmlns:a16="http://schemas.microsoft.com/office/drawing/2014/main" id="{951F593A-492A-4445-8CF9-895D09A17915}"/>
                  </a:ext>
                </a:extLst>
              </p:cNvPr>
              <p:cNvSpPr txBox="1"/>
              <p:nvPr/>
            </p:nvSpPr>
            <p:spPr>
              <a:xfrm>
                <a:off x="7635212" y="4215984"/>
                <a:ext cx="1152579"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ynapse Analytics</a:t>
                </a:r>
              </a:p>
            </p:txBody>
          </p:sp>
          <p:pic>
            <p:nvPicPr>
              <p:cNvPr id="2064" name="Graphic 2063">
                <a:extLst>
                  <a:ext uri="{FF2B5EF4-FFF2-40B4-BE49-F238E27FC236}">
                    <a16:creationId xmlns:a16="http://schemas.microsoft.com/office/drawing/2014/main" id="{DE92E9C4-4494-4B98-9DD4-A14CF475FCC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49867" y="4208717"/>
                <a:ext cx="313125" cy="360000"/>
              </a:xfrm>
              <a:prstGeom prst="rect">
                <a:avLst/>
              </a:prstGeom>
            </p:spPr>
          </p:pic>
        </p:grpSp>
        <p:grpSp>
          <p:nvGrpSpPr>
            <p:cNvPr id="2069" name="Group 2068">
              <a:extLst>
                <a:ext uri="{FF2B5EF4-FFF2-40B4-BE49-F238E27FC236}">
                  <a16:creationId xmlns:a16="http://schemas.microsoft.com/office/drawing/2014/main" id="{62D1B794-9A5A-4BD5-BF98-D4F751817994}"/>
                </a:ext>
              </a:extLst>
            </p:cNvPr>
            <p:cNvGrpSpPr/>
            <p:nvPr/>
          </p:nvGrpSpPr>
          <p:grpSpPr>
            <a:xfrm>
              <a:off x="5575782" y="4916599"/>
              <a:ext cx="1570303" cy="360000"/>
              <a:chOff x="5378138" y="4179766"/>
              <a:chExt cx="1570303" cy="360000"/>
            </a:xfrm>
          </p:grpSpPr>
          <p:pic>
            <p:nvPicPr>
              <p:cNvPr id="29" name="Graphic 28">
                <a:extLst>
                  <a:ext uri="{FF2B5EF4-FFF2-40B4-BE49-F238E27FC236}">
                    <a16:creationId xmlns:a16="http://schemas.microsoft.com/office/drawing/2014/main" id="{7A78BD5A-0E7A-4CE8-B21C-B7D8CAEC1E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78138" y="4179766"/>
                <a:ext cx="360000" cy="360000"/>
              </a:xfrm>
              <a:prstGeom prst="rect">
                <a:avLst/>
              </a:prstGeom>
            </p:spPr>
          </p:pic>
          <p:sp>
            <p:nvSpPr>
              <p:cNvPr id="68" name="TextBox 67">
                <a:extLst>
                  <a:ext uri="{FF2B5EF4-FFF2-40B4-BE49-F238E27FC236}">
                    <a16:creationId xmlns:a16="http://schemas.microsoft.com/office/drawing/2014/main" id="{D83A5F90-DABC-45C6-A5BD-DD16332B37EC}"/>
                  </a:ext>
                </a:extLst>
              </p:cNvPr>
              <p:cNvSpPr txBox="1"/>
              <p:nvPr/>
            </p:nvSpPr>
            <p:spPr>
              <a:xfrm>
                <a:off x="5795862" y="4206117"/>
                <a:ext cx="1152579" cy="332399"/>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QL Datawarehouse</a:t>
                </a:r>
              </a:p>
            </p:txBody>
          </p:sp>
        </p:grpSp>
      </p:grpSp>
      <p:cxnSp>
        <p:nvCxnSpPr>
          <p:cNvPr id="84" name="Straight Arrow Connector 83">
            <a:extLst>
              <a:ext uri="{FF2B5EF4-FFF2-40B4-BE49-F238E27FC236}">
                <a16:creationId xmlns:a16="http://schemas.microsoft.com/office/drawing/2014/main" id="{8420B9F6-867E-4A2C-8F59-7D0BEAF51070}"/>
              </a:ext>
            </a:extLst>
          </p:cNvPr>
          <p:cNvCxnSpPr>
            <a:cxnSpLocks/>
          </p:cNvCxnSpPr>
          <p:nvPr/>
        </p:nvCxnSpPr>
        <p:spPr>
          <a:xfrm>
            <a:off x="5831570" y="2753500"/>
            <a:ext cx="0" cy="1281029"/>
          </a:xfrm>
          <a:prstGeom prst="straightConnector1">
            <a:avLst/>
          </a:prstGeom>
          <a:noFill/>
          <a:ln w="19050" cap="flat" cmpd="sng" algn="ctr">
            <a:solidFill>
              <a:srgbClr val="000000"/>
            </a:solidFill>
            <a:prstDash val="solid"/>
            <a:headEnd type="none" w="lg" len="med"/>
            <a:tailEnd type="triangle" w="med" len="med"/>
          </a:ln>
          <a:effectLst/>
        </p:spPr>
      </p:cxnSp>
      <p:cxnSp>
        <p:nvCxnSpPr>
          <p:cNvPr id="85" name="Straight Arrow Connector 84">
            <a:extLst>
              <a:ext uri="{FF2B5EF4-FFF2-40B4-BE49-F238E27FC236}">
                <a16:creationId xmlns:a16="http://schemas.microsoft.com/office/drawing/2014/main" id="{F5102098-353B-4C88-86B7-9FAA84A7E80A}"/>
              </a:ext>
            </a:extLst>
          </p:cNvPr>
          <p:cNvCxnSpPr>
            <a:cxnSpLocks/>
          </p:cNvCxnSpPr>
          <p:nvPr/>
        </p:nvCxnSpPr>
        <p:spPr>
          <a:xfrm>
            <a:off x="7048963" y="5398798"/>
            <a:ext cx="0" cy="483922"/>
          </a:xfrm>
          <a:prstGeom prst="straightConnector1">
            <a:avLst/>
          </a:prstGeom>
          <a:noFill/>
          <a:ln w="19050" cap="flat" cmpd="sng" algn="ctr">
            <a:solidFill>
              <a:srgbClr val="000000"/>
            </a:solidFill>
            <a:prstDash val="solid"/>
            <a:headEnd type="none" w="lg" len="med"/>
            <a:tailEnd type="triangle" w="med" len="med"/>
          </a:ln>
          <a:effectLst/>
        </p:spPr>
      </p:cxnSp>
      <p:grpSp>
        <p:nvGrpSpPr>
          <p:cNvPr id="92" name="Group 91">
            <a:extLst>
              <a:ext uri="{FF2B5EF4-FFF2-40B4-BE49-F238E27FC236}">
                <a16:creationId xmlns:a16="http://schemas.microsoft.com/office/drawing/2014/main" id="{F96AB8BA-5C0C-4FB2-99F7-6EF5F43C2647}"/>
              </a:ext>
            </a:extLst>
          </p:cNvPr>
          <p:cNvGrpSpPr/>
          <p:nvPr/>
        </p:nvGrpSpPr>
        <p:grpSpPr>
          <a:xfrm>
            <a:off x="4356624" y="4091404"/>
            <a:ext cx="906891" cy="1272327"/>
            <a:chOff x="4346472" y="4427642"/>
            <a:chExt cx="906891" cy="1272327"/>
          </a:xfrm>
        </p:grpSpPr>
        <p:sp>
          <p:nvSpPr>
            <p:cNvPr id="87" name="Rectangle 86">
              <a:extLst>
                <a:ext uri="{FF2B5EF4-FFF2-40B4-BE49-F238E27FC236}">
                  <a16:creationId xmlns:a16="http://schemas.microsoft.com/office/drawing/2014/main" id="{C93BDA40-2B2A-42B7-8798-4CC7E1FA647A}"/>
                </a:ext>
              </a:extLst>
            </p:cNvPr>
            <p:cNvSpPr/>
            <p:nvPr/>
          </p:nvSpPr>
          <p:spPr bwMode="auto">
            <a:xfrm>
              <a:off x="4346472" y="4427642"/>
              <a:ext cx="906891"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13" name="Graphic 12">
              <a:extLst>
                <a:ext uri="{FF2B5EF4-FFF2-40B4-BE49-F238E27FC236}">
                  <a16:creationId xmlns:a16="http://schemas.microsoft.com/office/drawing/2014/main" id="{B6EE4014-0BC6-4208-8F16-730663E254A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04869" y="4792328"/>
              <a:ext cx="360000" cy="360000"/>
            </a:xfrm>
            <a:prstGeom prst="rect">
              <a:avLst/>
            </a:prstGeom>
          </p:spPr>
        </p:pic>
        <p:sp>
          <p:nvSpPr>
            <p:cNvPr id="89" name="TextBox 88">
              <a:extLst>
                <a:ext uri="{FF2B5EF4-FFF2-40B4-BE49-F238E27FC236}">
                  <a16:creationId xmlns:a16="http://schemas.microsoft.com/office/drawing/2014/main" id="{D1E29D12-C807-437F-AC78-383EEE5CA250}"/>
                </a:ext>
              </a:extLst>
            </p:cNvPr>
            <p:cNvSpPr txBox="1"/>
            <p:nvPr/>
          </p:nvSpPr>
          <p:spPr>
            <a:xfrm>
              <a:off x="4522733" y="5251656"/>
              <a:ext cx="524271" cy="332399"/>
            </a:xfrm>
            <a:prstGeom prst="rect">
              <a:avLst/>
            </a:prstGeom>
            <a:noFill/>
          </p:spPr>
          <p:txBody>
            <a:bodyPr wrap="square" lIns="0" tIns="0" rIns="0" bIns="0" rtlCol="0">
              <a:spAutoFit/>
            </a:bodyPr>
            <a:lstStyle/>
            <a:p>
              <a:pPr algn="ct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QL</a:t>
              </a:r>
            </a:p>
          </p:txBody>
        </p:sp>
      </p:grpSp>
      <p:cxnSp>
        <p:nvCxnSpPr>
          <p:cNvPr id="91" name="Straight Arrow Connector 90">
            <a:extLst>
              <a:ext uri="{FF2B5EF4-FFF2-40B4-BE49-F238E27FC236}">
                <a16:creationId xmlns:a16="http://schemas.microsoft.com/office/drawing/2014/main" id="{2E7AE7E5-DEA3-4EF8-9075-5F49F793A41D}"/>
              </a:ext>
            </a:extLst>
          </p:cNvPr>
          <p:cNvCxnSpPr>
            <a:cxnSpLocks/>
          </p:cNvCxnSpPr>
          <p:nvPr/>
        </p:nvCxnSpPr>
        <p:spPr>
          <a:xfrm>
            <a:off x="4696106" y="2753500"/>
            <a:ext cx="0" cy="1335113"/>
          </a:xfrm>
          <a:prstGeom prst="straightConnector1">
            <a:avLst/>
          </a:prstGeom>
          <a:noFill/>
          <a:ln w="19050" cap="flat" cmpd="sng" algn="ctr">
            <a:solidFill>
              <a:srgbClr val="000000"/>
            </a:solidFill>
            <a:prstDash val="solid"/>
            <a:headEnd type="none" w="lg" len="med"/>
            <a:tailEnd type="triangle" w="med" len="med"/>
          </a:ln>
          <a:effectLst/>
        </p:spPr>
      </p:cxnSp>
      <p:sp>
        <p:nvSpPr>
          <p:cNvPr id="57" name="Rectangle 56">
            <a:extLst>
              <a:ext uri="{FF2B5EF4-FFF2-40B4-BE49-F238E27FC236}">
                <a16:creationId xmlns:a16="http://schemas.microsoft.com/office/drawing/2014/main" id="{4E948A42-7075-4281-AB6C-9F32A4F37310}"/>
              </a:ext>
            </a:extLst>
          </p:cNvPr>
          <p:cNvSpPr/>
          <p:nvPr/>
        </p:nvSpPr>
        <p:spPr bwMode="auto">
          <a:xfrm>
            <a:off x="9519366" y="2994612"/>
            <a:ext cx="1841930" cy="149641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51" name="Group 50">
            <a:extLst>
              <a:ext uri="{FF2B5EF4-FFF2-40B4-BE49-F238E27FC236}">
                <a16:creationId xmlns:a16="http://schemas.microsoft.com/office/drawing/2014/main" id="{A4AC3279-830A-4628-931B-931C9B9DD62E}"/>
              </a:ext>
            </a:extLst>
          </p:cNvPr>
          <p:cNvGrpSpPr/>
          <p:nvPr/>
        </p:nvGrpSpPr>
        <p:grpSpPr>
          <a:xfrm>
            <a:off x="9818146" y="3610963"/>
            <a:ext cx="1252935" cy="358250"/>
            <a:chOff x="9730105" y="3501775"/>
            <a:chExt cx="1252935" cy="358250"/>
          </a:xfrm>
        </p:grpSpPr>
        <p:sp>
          <p:nvSpPr>
            <p:cNvPr id="58" name="TextBox 57">
              <a:extLst>
                <a:ext uri="{FF2B5EF4-FFF2-40B4-BE49-F238E27FC236}">
                  <a16:creationId xmlns:a16="http://schemas.microsoft.com/office/drawing/2014/main" id="{CDBA0939-8AA3-4E72-B317-BBE45D1DC071}"/>
                </a:ext>
              </a:extLst>
            </p:cNvPr>
            <p:cNvSpPr txBox="1"/>
            <p:nvPr/>
          </p:nvSpPr>
          <p:spPr>
            <a:xfrm>
              <a:off x="10374997" y="3640359"/>
              <a:ext cx="608043" cy="166156"/>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Power BI</a:t>
              </a:r>
            </a:p>
          </p:txBody>
        </p:sp>
        <p:grpSp>
          <p:nvGrpSpPr>
            <p:cNvPr id="59" name="Group 58">
              <a:extLst>
                <a:ext uri="{FF2B5EF4-FFF2-40B4-BE49-F238E27FC236}">
                  <a16:creationId xmlns:a16="http://schemas.microsoft.com/office/drawing/2014/main" id="{CF0CA3EF-E4AF-48CE-A471-4C831E54EF3F}"/>
                </a:ext>
              </a:extLst>
            </p:cNvPr>
            <p:cNvGrpSpPr/>
            <p:nvPr/>
          </p:nvGrpSpPr>
          <p:grpSpPr>
            <a:xfrm>
              <a:off x="9730105" y="3501775"/>
              <a:ext cx="474506" cy="358250"/>
              <a:chOff x="2851176" y="840527"/>
              <a:chExt cx="3024388" cy="2283410"/>
            </a:xfrm>
          </p:grpSpPr>
          <p:sp>
            <p:nvSpPr>
              <p:cNvPr id="60" name="Freeform: Shape 338">
                <a:extLst>
                  <a:ext uri="{FF2B5EF4-FFF2-40B4-BE49-F238E27FC236}">
                    <a16:creationId xmlns:a16="http://schemas.microsoft.com/office/drawing/2014/main" id="{755D314E-9F9D-47B0-8CC8-7815A6387FB6}"/>
                  </a:ext>
                </a:extLst>
              </p:cNvPr>
              <p:cNvSpPr/>
              <p:nvPr/>
            </p:nvSpPr>
            <p:spPr>
              <a:xfrm>
                <a:off x="2851176" y="840527"/>
                <a:ext cx="3024388" cy="1958289"/>
              </a:xfrm>
              <a:custGeom>
                <a:avLst/>
                <a:gdLst>
                  <a:gd name="connsiteX0" fmla="*/ 61230 w 493108"/>
                  <a:gd name="connsiteY0" fmla="*/ 0 h 319287"/>
                  <a:gd name="connsiteX1" fmla="*/ 431878 w 493108"/>
                  <a:gd name="connsiteY1" fmla="*/ 0 h 319287"/>
                  <a:gd name="connsiteX2" fmla="*/ 493108 w 493108"/>
                  <a:gd name="connsiteY2" fmla="*/ 61230 h 319287"/>
                  <a:gd name="connsiteX3" fmla="*/ 493108 w 493108"/>
                  <a:gd name="connsiteY3" fmla="*/ 258057 h 319287"/>
                  <a:gd name="connsiteX4" fmla="*/ 431878 w 493108"/>
                  <a:gd name="connsiteY4" fmla="*/ 319287 h 319287"/>
                  <a:gd name="connsiteX5" fmla="*/ 425306 w 493108"/>
                  <a:gd name="connsiteY5" fmla="*/ 319287 h 319287"/>
                  <a:gd name="connsiteX6" fmla="*/ 425306 w 493108"/>
                  <a:gd name="connsiteY6" fmla="*/ 298563 h 319287"/>
                  <a:gd name="connsiteX7" fmla="*/ 434307 w 493108"/>
                  <a:gd name="connsiteY7" fmla="*/ 298563 h 319287"/>
                  <a:gd name="connsiteX8" fmla="*/ 474000 w 493108"/>
                  <a:gd name="connsiteY8" fmla="*/ 258870 h 319287"/>
                  <a:gd name="connsiteX9" fmla="*/ 474000 w 493108"/>
                  <a:gd name="connsiteY9" fmla="*/ 59417 h 319287"/>
                  <a:gd name="connsiteX10" fmla="*/ 434307 w 493108"/>
                  <a:gd name="connsiteY10" fmla="*/ 19724 h 319287"/>
                  <a:gd name="connsiteX11" fmla="*/ 60650 w 493108"/>
                  <a:gd name="connsiteY11" fmla="*/ 19724 h 319287"/>
                  <a:gd name="connsiteX12" fmla="*/ 20957 w 493108"/>
                  <a:gd name="connsiteY12" fmla="*/ 59417 h 319287"/>
                  <a:gd name="connsiteX13" fmla="*/ 20957 w 493108"/>
                  <a:gd name="connsiteY13" fmla="*/ 258870 h 319287"/>
                  <a:gd name="connsiteX14" fmla="*/ 60650 w 493108"/>
                  <a:gd name="connsiteY14" fmla="*/ 298563 h 319287"/>
                  <a:gd name="connsiteX15" fmla="*/ 69652 w 493108"/>
                  <a:gd name="connsiteY15" fmla="*/ 298563 h 319287"/>
                  <a:gd name="connsiteX16" fmla="*/ 69652 w 493108"/>
                  <a:gd name="connsiteY16" fmla="*/ 319287 h 319287"/>
                  <a:gd name="connsiteX17" fmla="*/ 61230 w 493108"/>
                  <a:gd name="connsiteY17" fmla="*/ 319287 h 319287"/>
                  <a:gd name="connsiteX18" fmla="*/ 0 w 493108"/>
                  <a:gd name="connsiteY18" fmla="*/ 258057 h 319287"/>
                  <a:gd name="connsiteX19" fmla="*/ 0 w 493108"/>
                  <a:gd name="connsiteY19" fmla="*/ 61230 h 319287"/>
                  <a:gd name="connsiteX20" fmla="*/ 61230 w 493108"/>
                  <a:gd name="connsiteY20" fmla="*/ 0 h 31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3108" h="319287">
                    <a:moveTo>
                      <a:pt x="61230" y="0"/>
                    </a:moveTo>
                    <a:lnTo>
                      <a:pt x="431878" y="0"/>
                    </a:lnTo>
                    <a:cubicBezTo>
                      <a:pt x="465695" y="0"/>
                      <a:pt x="493108" y="27414"/>
                      <a:pt x="493108" y="61230"/>
                    </a:cubicBezTo>
                    <a:lnTo>
                      <a:pt x="493108" y="258057"/>
                    </a:lnTo>
                    <a:cubicBezTo>
                      <a:pt x="493108" y="291874"/>
                      <a:pt x="465695" y="319287"/>
                      <a:pt x="431878" y="319287"/>
                    </a:cubicBezTo>
                    <a:lnTo>
                      <a:pt x="425306" y="319287"/>
                    </a:lnTo>
                    <a:lnTo>
                      <a:pt x="425306" y="298563"/>
                    </a:lnTo>
                    <a:lnTo>
                      <a:pt x="434307" y="298563"/>
                    </a:lnTo>
                    <a:cubicBezTo>
                      <a:pt x="456229" y="298563"/>
                      <a:pt x="474000" y="280792"/>
                      <a:pt x="474000" y="258870"/>
                    </a:cubicBezTo>
                    <a:lnTo>
                      <a:pt x="474000" y="59417"/>
                    </a:lnTo>
                    <a:cubicBezTo>
                      <a:pt x="474000" y="37495"/>
                      <a:pt x="456229" y="19724"/>
                      <a:pt x="434307" y="19724"/>
                    </a:cubicBezTo>
                    <a:lnTo>
                      <a:pt x="60650" y="19724"/>
                    </a:lnTo>
                    <a:cubicBezTo>
                      <a:pt x="38728" y="19724"/>
                      <a:pt x="20957" y="37495"/>
                      <a:pt x="20957" y="59417"/>
                    </a:cubicBezTo>
                    <a:lnTo>
                      <a:pt x="20957" y="258870"/>
                    </a:lnTo>
                    <a:cubicBezTo>
                      <a:pt x="20957" y="280792"/>
                      <a:pt x="38728" y="298563"/>
                      <a:pt x="60650" y="298563"/>
                    </a:cubicBezTo>
                    <a:lnTo>
                      <a:pt x="69652" y="298563"/>
                    </a:lnTo>
                    <a:lnTo>
                      <a:pt x="69652" y="319287"/>
                    </a:lnTo>
                    <a:lnTo>
                      <a:pt x="61230" y="319287"/>
                    </a:lnTo>
                    <a:cubicBezTo>
                      <a:pt x="27414" y="319287"/>
                      <a:pt x="0" y="291874"/>
                      <a:pt x="0" y="258057"/>
                    </a:cubicBezTo>
                    <a:lnTo>
                      <a:pt x="0" y="61230"/>
                    </a:lnTo>
                    <a:cubicBezTo>
                      <a:pt x="0" y="27414"/>
                      <a:pt x="27414" y="0"/>
                      <a:pt x="61230" y="0"/>
                    </a:cubicBezTo>
                    <a:close/>
                  </a:path>
                </a:pathLst>
              </a:custGeom>
              <a:solidFill>
                <a:srgbClr val="0078D7"/>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sp>
            <p:nvSpPr>
              <p:cNvPr id="61" name="Freeform: Shape 339">
                <a:extLst>
                  <a:ext uri="{FF2B5EF4-FFF2-40B4-BE49-F238E27FC236}">
                    <a16:creationId xmlns:a16="http://schemas.microsoft.com/office/drawing/2014/main" id="{37EC31AF-BED1-444B-9403-A3721206BF92}"/>
                  </a:ext>
                </a:extLst>
              </p:cNvPr>
              <p:cNvSpPr/>
              <p:nvPr/>
            </p:nvSpPr>
            <p:spPr>
              <a:xfrm>
                <a:off x="3382432" y="1335590"/>
                <a:ext cx="1959012" cy="1788347"/>
              </a:xfrm>
              <a:custGeom>
                <a:avLst/>
                <a:gdLst>
                  <a:gd name="connsiteX0" fmla="*/ 169583 w 1959012"/>
                  <a:gd name="connsiteY0" fmla="*/ 1054931 h 1788347"/>
                  <a:gd name="connsiteX1" fmla="*/ 339166 w 1959012"/>
                  <a:gd name="connsiteY1" fmla="*/ 1224514 h 1788347"/>
                  <a:gd name="connsiteX2" fmla="*/ 339166 w 1959012"/>
                  <a:gd name="connsiteY2" fmla="*/ 1618758 h 1788347"/>
                  <a:gd name="connsiteX3" fmla="*/ 169583 w 1959012"/>
                  <a:gd name="connsiteY3" fmla="*/ 1788341 h 1788347"/>
                  <a:gd name="connsiteX4" fmla="*/ 0 w 1959012"/>
                  <a:gd name="connsiteY4" fmla="*/ 1618758 h 1788347"/>
                  <a:gd name="connsiteX5" fmla="*/ 0 w 1959012"/>
                  <a:gd name="connsiteY5" fmla="*/ 1224514 h 1788347"/>
                  <a:gd name="connsiteX6" fmla="*/ 169583 w 1959012"/>
                  <a:gd name="connsiteY6" fmla="*/ 1054931 h 1788347"/>
                  <a:gd name="connsiteX7" fmla="*/ 1255480 w 1959012"/>
                  <a:gd name="connsiteY7" fmla="*/ 692010 h 1788347"/>
                  <a:gd name="connsiteX8" fmla="*/ 1425063 w 1959012"/>
                  <a:gd name="connsiteY8" fmla="*/ 861593 h 1788347"/>
                  <a:gd name="connsiteX9" fmla="*/ 1425063 w 1959012"/>
                  <a:gd name="connsiteY9" fmla="*/ 1618764 h 1788347"/>
                  <a:gd name="connsiteX10" fmla="*/ 1255480 w 1959012"/>
                  <a:gd name="connsiteY10" fmla="*/ 1788347 h 1788347"/>
                  <a:gd name="connsiteX11" fmla="*/ 1085897 w 1959012"/>
                  <a:gd name="connsiteY11" fmla="*/ 1618764 h 1788347"/>
                  <a:gd name="connsiteX12" fmla="*/ 1085897 w 1959012"/>
                  <a:gd name="connsiteY12" fmla="*/ 861593 h 1788347"/>
                  <a:gd name="connsiteX13" fmla="*/ 1255480 w 1959012"/>
                  <a:gd name="connsiteY13" fmla="*/ 692010 h 1788347"/>
                  <a:gd name="connsiteX14" fmla="*/ 712526 w 1959012"/>
                  <a:gd name="connsiteY14" fmla="*/ 438716 h 1788347"/>
                  <a:gd name="connsiteX15" fmla="*/ 882106 w 1959012"/>
                  <a:gd name="connsiteY15" fmla="*/ 608296 h 1788347"/>
                  <a:gd name="connsiteX16" fmla="*/ 882106 w 1959012"/>
                  <a:gd name="connsiteY16" fmla="*/ 1618767 h 1788347"/>
                  <a:gd name="connsiteX17" fmla="*/ 712526 w 1959012"/>
                  <a:gd name="connsiteY17" fmla="*/ 1788347 h 1788347"/>
                  <a:gd name="connsiteX18" fmla="*/ 542946 w 1959012"/>
                  <a:gd name="connsiteY18" fmla="*/ 1618767 h 1788347"/>
                  <a:gd name="connsiteX19" fmla="*/ 542946 w 1959012"/>
                  <a:gd name="connsiteY19" fmla="*/ 608296 h 1788347"/>
                  <a:gd name="connsiteX20" fmla="*/ 712526 w 1959012"/>
                  <a:gd name="connsiteY20" fmla="*/ 438716 h 1788347"/>
                  <a:gd name="connsiteX21" fmla="*/ 1789429 w 1959012"/>
                  <a:gd name="connsiteY21" fmla="*/ 0 h 1788347"/>
                  <a:gd name="connsiteX22" fmla="*/ 1959012 w 1959012"/>
                  <a:gd name="connsiteY22" fmla="*/ 169583 h 1788347"/>
                  <a:gd name="connsiteX23" fmla="*/ 1959012 w 1959012"/>
                  <a:gd name="connsiteY23" fmla="*/ 1618764 h 1788347"/>
                  <a:gd name="connsiteX24" fmla="*/ 1789429 w 1959012"/>
                  <a:gd name="connsiteY24" fmla="*/ 1788347 h 1788347"/>
                  <a:gd name="connsiteX25" fmla="*/ 1619846 w 1959012"/>
                  <a:gd name="connsiteY25" fmla="*/ 1618764 h 1788347"/>
                  <a:gd name="connsiteX26" fmla="*/ 1619846 w 1959012"/>
                  <a:gd name="connsiteY26" fmla="*/ 169583 h 1788347"/>
                  <a:gd name="connsiteX27" fmla="*/ 1789429 w 1959012"/>
                  <a:gd name="connsiteY27" fmla="*/ 0 h 178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9012" h="1788347">
                    <a:moveTo>
                      <a:pt x="169583" y="1054931"/>
                    </a:moveTo>
                    <a:cubicBezTo>
                      <a:pt x="263241" y="1054931"/>
                      <a:pt x="339166" y="1130856"/>
                      <a:pt x="339166" y="1224514"/>
                    </a:cubicBezTo>
                    <a:lnTo>
                      <a:pt x="339166" y="1618758"/>
                    </a:lnTo>
                    <a:cubicBezTo>
                      <a:pt x="339166" y="1712416"/>
                      <a:pt x="263241" y="1788341"/>
                      <a:pt x="169583" y="1788341"/>
                    </a:cubicBezTo>
                    <a:cubicBezTo>
                      <a:pt x="75925" y="1788341"/>
                      <a:pt x="0" y="1712416"/>
                      <a:pt x="0" y="1618758"/>
                    </a:cubicBezTo>
                    <a:lnTo>
                      <a:pt x="0" y="1224514"/>
                    </a:lnTo>
                    <a:cubicBezTo>
                      <a:pt x="0" y="1130856"/>
                      <a:pt x="75925" y="1054931"/>
                      <a:pt x="169583" y="1054931"/>
                    </a:cubicBezTo>
                    <a:close/>
                    <a:moveTo>
                      <a:pt x="1255480" y="692010"/>
                    </a:moveTo>
                    <a:cubicBezTo>
                      <a:pt x="1349138" y="692010"/>
                      <a:pt x="1425063" y="767935"/>
                      <a:pt x="1425063" y="861593"/>
                    </a:cubicBezTo>
                    <a:lnTo>
                      <a:pt x="1425063" y="1618764"/>
                    </a:lnTo>
                    <a:cubicBezTo>
                      <a:pt x="1425063" y="1712422"/>
                      <a:pt x="1349138" y="1788347"/>
                      <a:pt x="1255480" y="1788347"/>
                    </a:cubicBezTo>
                    <a:cubicBezTo>
                      <a:pt x="1161822" y="1788347"/>
                      <a:pt x="1085897" y="1712422"/>
                      <a:pt x="1085897" y="1618764"/>
                    </a:cubicBezTo>
                    <a:lnTo>
                      <a:pt x="1085897" y="861593"/>
                    </a:lnTo>
                    <a:cubicBezTo>
                      <a:pt x="1085897" y="767935"/>
                      <a:pt x="1161822" y="692010"/>
                      <a:pt x="1255480" y="692010"/>
                    </a:cubicBezTo>
                    <a:close/>
                    <a:moveTo>
                      <a:pt x="712526" y="438716"/>
                    </a:moveTo>
                    <a:cubicBezTo>
                      <a:pt x="806182" y="438716"/>
                      <a:pt x="882106" y="514640"/>
                      <a:pt x="882106" y="608296"/>
                    </a:cubicBezTo>
                    <a:lnTo>
                      <a:pt x="882106" y="1618767"/>
                    </a:lnTo>
                    <a:cubicBezTo>
                      <a:pt x="882106" y="1712423"/>
                      <a:pt x="806182" y="1788347"/>
                      <a:pt x="712526" y="1788347"/>
                    </a:cubicBezTo>
                    <a:cubicBezTo>
                      <a:pt x="618870" y="1788347"/>
                      <a:pt x="542946" y="1712423"/>
                      <a:pt x="542946" y="1618767"/>
                    </a:cubicBezTo>
                    <a:lnTo>
                      <a:pt x="542946" y="608296"/>
                    </a:lnTo>
                    <a:cubicBezTo>
                      <a:pt x="542946" y="514640"/>
                      <a:pt x="618870" y="438716"/>
                      <a:pt x="712526" y="438716"/>
                    </a:cubicBezTo>
                    <a:close/>
                    <a:moveTo>
                      <a:pt x="1789429" y="0"/>
                    </a:moveTo>
                    <a:cubicBezTo>
                      <a:pt x="1883087" y="0"/>
                      <a:pt x="1959012" y="75925"/>
                      <a:pt x="1959012" y="169583"/>
                    </a:cubicBezTo>
                    <a:lnTo>
                      <a:pt x="1959012" y="1618764"/>
                    </a:lnTo>
                    <a:cubicBezTo>
                      <a:pt x="1959012" y="1712422"/>
                      <a:pt x="1883087" y="1788347"/>
                      <a:pt x="1789429" y="1788347"/>
                    </a:cubicBezTo>
                    <a:cubicBezTo>
                      <a:pt x="1695771" y="1788347"/>
                      <a:pt x="1619846" y="1712422"/>
                      <a:pt x="1619846" y="1618764"/>
                    </a:cubicBezTo>
                    <a:lnTo>
                      <a:pt x="1619846" y="169583"/>
                    </a:lnTo>
                    <a:cubicBezTo>
                      <a:pt x="1619846" y="75925"/>
                      <a:pt x="1695771" y="0"/>
                      <a:pt x="1789429" y="0"/>
                    </a:cubicBezTo>
                    <a:close/>
                  </a:path>
                </a:pathLst>
              </a:custGeom>
              <a:solidFill>
                <a:srgbClr val="50E6FF"/>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grpSp>
      </p:grpSp>
      <p:sp>
        <p:nvSpPr>
          <p:cNvPr id="99" name="Content Placeholder 5">
            <a:extLst>
              <a:ext uri="{FF2B5EF4-FFF2-40B4-BE49-F238E27FC236}">
                <a16:creationId xmlns:a16="http://schemas.microsoft.com/office/drawing/2014/main" id="{BECDD38B-2E73-434D-B62D-52DB88814D19}"/>
              </a:ext>
            </a:extLst>
          </p:cNvPr>
          <p:cNvSpPr txBox="1">
            <a:spLocks/>
          </p:cNvSpPr>
          <p:nvPr/>
        </p:nvSpPr>
        <p:spPr>
          <a:xfrm flipH="1">
            <a:off x="688093" y="5599308"/>
            <a:ext cx="2684379" cy="284074"/>
          </a:xfrm>
          <a:prstGeom prst="rect">
            <a:avLst/>
          </a:prstGeom>
          <a:solidFill>
            <a:schemeClr val="tx1">
              <a:lumMod val="20000"/>
              <a:lumOff val="80000"/>
            </a:schemeClr>
          </a:solidFill>
          <a:ln w="19050">
            <a:noFill/>
          </a:ln>
        </p:spPr>
        <p:txBody>
          <a:bodyPr vert="horz" lIns="182832" tIns="182832" rIns="182832" bIns="182832" rtlCol="0" anchor="ctr">
            <a:noAutofit/>
          </a:bodyPr>
          <a:lstStyle>
            <a:lvl1pPr marL="0" indent="0" algn="l" defTabSz="586003" rtl="0" eaLnBrk="1" latinLnBrk="0" hangingPunct="1">
              <a:lnSpc>
                <a:spcPct val="100000"/>
              </a:lnSpc>
              <a:spcBef>
                <a:spcPts val="1800"/>
              </a:spcBef>
              <a:buClrTx/>
              <a:buSzPct val="75000"/>
              <a:buFont typeface="Myriad Pro" panose="020B0503030403020204" pitchFamily="34" charset="0"/>
              <a:buNone/>
              <a:defRPr sz="2400" b="0" i="0" kern="1200" baseline="0">
                <a:solidFill>
                  <a:schemeClr val="bg1"/>
                </a:solidFill>
                <a:latin typeface="Roboto Mono" pitchFamily="2" charset="0"/>
                <a:ea typeface="Roboto Mono" pitchFamily="2" charset="0"/>
                <a:cs typeface="Consolas" panose="020B0609020204030204" pitchFamily="49" charset="0"/>
              </a:defRPr>
            </a:lvl1pPr>
            <a:lvl2pPr marL="297073" indent="0" algn="l" defTabSz="586003" rtl="0" eaLnBrk="1" latinLnBrk="0" hangingPunct="1">
              <a:lnSpc>
                <a:spcPct val="100000"/>
              </a:lnSpc>
              <a:spcBef>
                <a:spcPts val="600"/>
              </a:spcBef>
              <a:buClrTx/>
              <a:buSzPct val="75000"/>
              <a:buFont typeface="Lucida Grande"/>
              <a:buNone/>
              <a:defRPr sz="2400" b="0" i="0" kern="1200">
                <a:solidFill>
                  <a:schemeClr val="bg1"/>
                </a:solidFill>
                <a:latin typeface="Consolas" panose="020B0609020204030204" pitchFamily="49" charset="0"/>
                <a:ea typeface="Gotham Book" panose="02000604040000020004" pitchFamily="50" charset="0"/>
                <a:cs typeface="Consolas" panose="020B0609020204030204" pitchFamily="49" charset="0"/>
              </a:defRPr>
            </a:lvl2pPr>
            <a:lvl3pPr marL="596174" indent="0" algn="l" defTabSz="586003" rtl="0" eaLnBrk="1" latinLnBrk="0" hangingPunct="1">
              <a:lnSpc>
                <a:spcPct val="100000"/>
              </a:lnSpc>
              <a:spcBef>
                <a:spcPts val="600"/>
              </a:spcBef>
              <a:buClrTx/>
              <a:buSzPct val="75000"/>
              <a:buFont typeface="Lucida Grande"/>
              <a:buNone/>
              <a:defRPr sz="2400" b="0" i="0" kern="1200">
                <a:solidFill>
                  <a:schemeClr val="bg1"/>
                </a:solidFill>
                <a:latin typeface="Consolas" panose="020B0609020204030204" pitchFamily="49" charset="0"/>
                <a:ea typeface="Gotham Book" panose="02000604040000020004" pitchFamily="50" charset="0"/>
                <a:cs typeface="Consolas" panose="020B0609020204030204" pitchFamily="49" charset="0"/>
              </a:defRPr>
            </a:lvl3pPr>
            <a:lvl4pPr marL="883075" indent="0" algn="l" defTabSz="586003" rtl="0" eaLnBrk="1" latinLnBrk="0" hangingPunct="1">
              <a:lnSpc>
                <a:spcPct val="100000"/>
              </a:lnSpc>
              <a:spcBef>
                <a:spcPts val="600"/>
              </a:spcBef>
              <a:buClrTx/>
              <a:buSzPct val="75000"/>
              <a:buFont typeface="Wingdings" panose="05000000000000000000" pitchFamily="2" charset="2"/>
              <a:buNone/>
              <a:defRPr sz="2400" b="0" i="0" kern="1200" baseline="0">
                <a:solidFill>
                  <a:schemeClr val="bg1"/>
                </a:solidFill>
                <a:latin typeface="Consolas" panose="020B0609020204030204" pitchFamily="49" charset="0"/>
                <a:ea typeface="Gotham Book" panose="02000604040000020004" pitchFamily="50" charset="0"/>
                <a:cs typeface="Consolas" panose="020B0609020204030204" pitchFamily="49" charset="0"/>
              </a:defRPr>
            </a:lvl4pPr>
            <a:lvl5pPr marL="1096720" indent="0" algn="l" defTabSz="586003" rtl="0" eaLnBrk="1" latinLnBrk="0" hangingPunct="1">
              <a:lnSpc>
                <a:spcPct val="100000"/>
              </a:lnSpc>
              <a:spcBef>
                <a:spcPts val="600"/>
              </a:spcBef>
              <a:buClrTx/>
              <a:buSzPct val="75000"/>
              <a:buFont typeface="Myriad Pro Light" panose="020B0403030403020204" pitchFamily="34" charset="0"/>
              <a:buNone/>
              <a:tabLst/>
              <a:defRPr sz="2400" b="0" i="0" kern="1200" baseline="0">
                <a:solidFill>
                  <a:schemeClr val="bg1"/>
                </a:solidFill>
                <a:latin typeface="Consolas" panose="020B0609020204030204" pitchFamily="49" charset="0"/>
                <a:ea typeface="Gotham Book" panose="02000604040000020004" pitchFamily="50" charset="0"/>
                <a:cs typeface="Consolas" panose="020B0609020204030204" pitchFamily="49" charset="0"/>
              </a:defRPr>
            </a:lvl5pPr>
            <a:lvl6pPr marL="1719263" indent="-292100" algn="l" defTabSz="586003" rtl="0" eaLnBrk="1" latinLnBrk="0" hangingPunct="1">
              <a:spcBef>
                <a:spcPts val="448"/>
              </a:spcBef>
              <a:buClr>
                <a:schemeClr val="tx1"/>
              </a:buClr>
              <a:buSzPct val="70000"/>
              <a:buFont typeface="Montserrat"/>
              <a:buChar char=" "/>
              <a:defRPr lang="en-US" sz="2400" b="0" i="0" kern="1200" baseline="0" dirty="0" smtClean="0">
                <a:solidFill>
                  <a:srgbClr val="404040"/>
                </a:solidFill>
                <a:effectLst/>
                <a:latin typeface="Gotham Book" panose="02000604040000020004" pitchFamily="50" charset="0"/>
                <a:ea typeface="+mn-ea"/>
                <a:cs typeface="Arial"/>
              </a:defRPr>
            </a:lvl6pPr>
            <a:lvl7pPr marL="2003425" indent="-288925" algn="l" defTabSz="586003" rtl="0" eaLnBrk="1" latinLnBrk="0" hangingPunct="1">
              <a:spcBef>
                <a:spcPct val="20000"/>
              </a:spcBef>
              <a:buSzPct val="70000"/>
              <a:buFont typeface="Montserrat"/>
              <a:buChar char=" "/>
              <a:defRPr lang="en-US" sz="2400" kern="1200" dirty="0" smtClean="0">
                <a:solidFill>
                  <a:srgbClr val="404040"/>
                </a:solidFill>
                <a:effectLst/>
                <a:latin typeface="Gotham Book" panose="02000604040000020004" pitchFamily="50" charset="0"/>
                <a:ea typeface="+mn-ea"/>
                <a:cs typeface="+mn-cs"/>
              </a:defRPr>
            </a:lvl7pPr>
            <a:lvl8pPr marL="2286000" indent="-282575" algn="l" defTabSz="586003" rtl="0" eaLnBrk="1" latinLnBrk="0" hangingPunct="1">
              <a:spcBef>
                <a:spcPct val="20000"/>
              </a:spcBef>
              <a:buSzPct val="70000"/>
              <a:buFont typeface="Montserrat"/>
              <a:buChar char=" "/>
              <a:defRPr lang="en-US" sz="2400" kern="1200" dirty="0" smtClean="0">
                <a:solidFill>
                  <a:srgbClr val="404040"/>
                </a:solidFill>
                <a:effectLst/>
                <a:latin typeface="Gotham Book" panose="02000604040000020004" pitchFamily="50" charset="0"/>
                <a:ea typeface="+mn-ea"/>
                <a:cs typeface="+mn-cs"/>
              </a:defRPr>
            </a:lvl8pPr>
            <a:lvl9pPr marL="2571750" indent="-285750" algn="l" defTabSz="586003" rtl="0" eaLnBrk="1" latinLnBrk="0" hangingPunct="1">
              <a:spcBef>
                <a:spcPct val="20000"/>
              </a:spcBef>
              <a:buSzPct val="70000"/>
              <a:buFont typeface="Montserrat"/>
              <a:buChar char=" "/>
              <a:defRPr lang="en-US" sz="2400" kern="1200" baseline="0" dirty="0" smtClean="0">
                <a:solidFill>
                  <a:srgbClr val="404040"/>
                </a:solidFill>
                <a:effectLst/>
                <a:latin typeface="Gotham Book" panose="02000604040000020004" pitchFamily="50" charset="0"/>
                <a:ea typeface="+mn-ea"/>
                <a:cs typeface="+mn-cs"/>
              </a:defRPr>
            </a:lvl9pPr>
          </a:lstStyle>
          <a:p>
            <a:pPr>
              <a:spcBef>
                <a:spcPts val="600"/>
              </a:spcBef>
              <a:defRPr/>
            </a:pPr>
            <a:r>
              <a:rPr lang="en-US" sz="1600" b="1" dirty="0">
                <a:solidFill>
                  <a:srgbClr val="50E6FF">
                    <a:lumMod val="50000"/>
                  </a:srgbClr>
                </a:solidFill>
                <a:latin typeface="Segoe UI Semibold" panose="020B0502040204020203" pitchFamily="34" charset="0"/>
                <a:cs typeface="Segoe UI Semibold" panose="020B0502040204020203" pitchFamily="34" charset="0"/>
                <a:sym typeface="Segoe UI Semibold"/>
              </a:rPr>
              <a:t>Store raw data</a:t>
            </a:r>
          </a:p>
        </p:txBody>
      </p:sp>
    </p:spTree>
    <p:extLst>
      <p:ext uri="{BB962C8B-B14F-4D97-AF65-F5344CB8AC3E}">
        <p14:creationId xmlns:p14="http://schemas.microsoft.com/office/powerpoint/2010/main" val="81636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78"/>
                                        </p:tgtEl>
                                        <p:attrNameLst>
                                          <p:attrName>style.visibility</p:attrName>
                                        </p:attrNameLst>
                                      </p:cBhvr>
                                      <p:to>
                                        <p:strVal val="visible"/>
                                      </p:to>
                                    </p:set>
                                    <p:animEffect transition="in" filter="fade">
                                      <p:cBhvr>
                                        <p:cTn id="7" dur="500"/>
                                        <p:tgtEl>
                                          <p:spTgt spid="2078"/>
                                        </p:tgtEl>
                                      </p:cBhvr>
                                    </p:animEffect>
                                  </p:childTnLst>
                                </p:cTn>
                              </p:par>
                              <p:par>
                                <p:cTn id="8" presetID="10" presetClass="entr" presetSubtype="0" fill="hold" nodeType="withEffect">
                                  <p:stCondLst>
                                    <p:cond delay="0"/>
                                  </p:stCondLst>
                                  <p:childTnLst>
                                    <p:set>
                                      <p:cBhvr>
                                        <p:cTn id="9" dur="1" fill="hold">
                                          <p:stCondLst>
                                            <p:cond delay="0"/>
                                          </p:stCondLst>
                                        </p:cTn>
                                        <p:tgtEl>
                                          <p:spTgt spid="2048"/>
                                        </p:tgtEl>
                                        <p:attrNameLst>
                                          <p:attrName>style.visibility</p:attrName>
                                        </p:attrNameLst>
                                      </p:cBhvr>
                                      <p:to>
                                        <p:strVal val="visible"/>
                                      </p:to>
                                    </p:set>
                                    <p:animEffect transition="in" filter="fade">
                                      <p:cBhvr>
                                        <p:cTn id="10" dur="500"/>
                                        <p:tgtEl>
                                          <p:spTgt spid="2048"/>
                                        </p:tgtEl>
                                      </p:cBhvr>
                                    </p:animEffect>
                                  </p:childTnLst>
                                </p:cTn>
                              </p:par>
                              <p:par>
                                <p:cTn id="11" presetID="42" presetClass="entr" presetSubtype="0" fill="hold" grpId="0" nodeType="withEffect">
                                  <p:stCondLst>
                                    <p:cond delay="0"/>
                                  </p:stCondLst>
                                  <p:childTnLst>
                                    <p:set>
                                      <p:cBhvr>
                                        <p:cTn id="12" dur="1" fill="hold">
                                          <p:stCondLst>
                                            <p:cond delay="0"/>
                                          </p:stCondLst>
                                        </p:cTn>
                                        <p:tgtEl>
                                          <p:spTgt spid="98"/>
                                        </p:tgtEl>
                                        <p:attrNameLst>
                                          <p:attrName>style.visibility</p:attrName>
                                        </p:attrNameLst>
                                      </p:cBhvr>
                                      <p:to>
                                        <p:strVal val="visible"/>
                                      </p:to>
                                    </p:set>
                                    <p:animEffect transition="in" filter="fade">
                                      <p:cBhvr>
                                        <p:cTn id="13" dur="500"/>
                                        <p:tgtEl>
                                          <p:spTgt spid="98"/>
                                        </p:tgtEl>
                                      </p:cBhvr>
                                    </p:animEffect>
                                    <p:anim calcmode="lin" valueType="num">
                                      <p:cBhvr>
                                        <p:cTn id="14" dur="500" fill="hold"/>
                                        <p:tgtEl>
                                          <p:spTgt spid="98"/>
                                        </p:tgtEl>
                                        <p:attrNameLst>
                                          <p:attrName>ppt_x</p:attrName>
                                        </p:attrNameLst>
                                      </p:cBhvr>
                                      <p:tavLst>
                                        <p:tav tm="0">
                                          <p:val>
                                            <p:strVal val="#ppt_x"/>
                                          </p:val>
                                        </p:tav>
                                        <p:tav tm="100000">
                                          <p:val>
                                            <p:strVal val="#ppt_x"/>
                                          </p:val>
                                        </p:tav>
                                      </p:tavLst>
                                    </p:anim>
                                    <p:anim calcmode="lin" valueType="num">
                                      <p:cBhvr>
                                        <p:cTn id="15" dur="500" fill="hold"/>
                                        <p:tgtEl>
                                          <p:spTgt spid="98"/>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3"/>
                                        </p:tgtEl>
                                        <p:attrNameLst>
                                          <p:attrName>style.visibility</p:attrName>
                                        </p:attrNameLst>
                                      </p:cBhvr>
                                      <p:to>
                                        <p:strVal val="visible"/>
                                      </p:to>
                                    </p:set>
                                    <p:animEffect transition="in" filter="fade">
                                      <p:cBhvr>
                                        <p:cTn id="20" dur="500"/>
                                        <p:tgtEl>
                                          <p:spTgt spid="93"/>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99"/>
                                        </p:tgtEl>
                                        <p:attrNameLst>
                                          <p:attrName>style.visibility</p:attrName>
                                        </p:attrNameLst>
                                      </p:cBhvr>
                                      <p:to>
                                        <p:strVal val="visible"/>
                                      </p:to>
                                    </p:set>
                                    <p:animEffect transition="in" filter="fade">
                                      <p:cBhvr>
                                        <p:cTn id="24" dur="500"/>
                                        <p:tgtEl>
                                          <p:spTgt spid="99"/>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100"/>
                                        </p:tgtEl>
                                        <p:attrNameLst>
                                          <p:attrName>style.visibility</p:attrName>
                                        </p:attrNameLst>
                                      </p:cBhvr>
                                      <p:to>
                                        <p:strVal val="visible"/>
                                      </p:to>
                                    </p:set>
                                    <p:animEffect transition="in" filter="fade">
                                      <p:cBhvr>
                                        <p:cTn id="29" dur="500"/>
                                        <p:tgtEl>
                                          <p:spTgt spid="100"/>
                                        </p:tgtEl>
                                      </p:cBhvr>
                                    </p:animEffect>
                                    <p:anim calcmode="lin" valueType="num">
                                      <p:cBhvr>
                                        <p:cTn id="30" dur="500" fill="hold"/>
                                        <p:tgtEl>
                                          <p:spTgt spid="100"/>
                                        </p:tgtEl>
                                        <p:attrNameLst>
                                          <p:attrName>ppt_x</p:attrName>
                                        </p:attrNameLst>
                                      </p:cBhvr>
                                      <p:tavLst>
                                        <p:tav tm="0">
                                          <p:val>
                                            <p:strVal val="#ppt_x"/>
                                          </p:val>
                                        </p:tav>
                                        <p:tav tm="100000">
                                          <p:val>
                                            <p:strVal val="#ppt_x"/>
                                          </p:val>
                                        </p:tav>
                                      </p:tavLst>
                                    </p:anim>
                                    <p:anim calcmode="lin" valueType="num">
                                      <p:cBhvr>
                                        <p:cTn id="31" dur="500" fill="hold"/>
                                        <p:tgtEl>
                                          <p:spTgt spid="100"/>
                                        </p:tgtEl>
                                        <p:attrNameLst>
                                          <p:attrName>ppt_y</p:attrName>
                                        </p:attrNameLst>
                                      </p:cBhvr>
                                      <p:tavLst>
                                        <p:tav tm="0">
                                          <p:val>
                                            <p:strVal val="#ppt_y+.1"/>
                                          </p:val>
                                        </p:tav>
                                        <p:tav tm="100000">
                                          <p:val>
                                            <p:strVal val="#ppt_y"/>
                                          </p:val>
                                        </p:tav>
                                      </p:tavLst>
                                    </p:anim>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101"/>
                                        </p:tgtEl>
                                        <p:attrNameLst>
                                          <p:attrName>style.visibility</p:attrName>
                                        </p:attrNameLst>
                                      </p:cBhvr>
                                      <p:to>
                                        <p:strVal val="visible"/>
                                      </p:to>
                                    </p:set>
                                    <p:animEffect transition="in" filter="fade">
                                      <p:cBhvr>
                                        <p:cTn id="35" dur="500"/>
                                        <p:tgtEl>
                                          <p:spTgt spid="10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91"/>
                                        </p:tgtEl>
                                        <p:attrNameLst>
                                          <p:attrName>style.visibility</p:attrName>
                                        </p:attrNameLst>
                                      </p:cBhvr>
                                      <p:to>
                                        <p:strVal val="visible"/>
                                      </p:to>
                                    </p:set>
                                    <p:animEffect transition="in" filter="fade">
                                      <p:cBhvr>
                                        <p:cTn id="40" dur="500"/>
                                        <p:tgtEl>
                                          <p:spTgt spid="91"/>
                                        </p:tgtEl>
                                      </p:cBhvr>
                                    </p:animEffect>
                                  </p:childTnLst>
                                </p:cTn>
                              </p:par>
                              <p:par>
                                <p:cTn id="41" presetID="10" presetClass="entr" presetSubtype="0" fill="hold" nodeType="withEffect">
                                  <p:stCondLst>
                                    <p:cond delay="0"/>
                                  </p:stCondLst>
                                  <p:childTnLst>
                                    <p:set>
                                      <p:cBhvr>
                                        <p:cTn id="42" dur="1" fill="hold">
                                          <p:stCondLst>
                                            <p:cond delay="0"/>
                                          </p:stCondLst>
                                        </p:cTn>
                                        <p:tgtEl>
                                          <p:spTgt spid="84"/>
                                        </p:tgtEl>
                                        <p:attrNameLst>
                                          <p:attrName>style.visibility</p:attrName>
                                        </p:attrNameLst>
                                      </p:cBhvr>
                                      <p:to>
                                        <p:strVal val="visible"/>
                                      </p:to>
                                    </p:set>
                                    <p:animEffect transition="in" filter="fade">
                                      <p:cBhvr>
                                        <p:cTn id="43" dur="500"/>
                                        <p:tgtEl>
                                          <p:spTgt spid="84"/>
                                        </p:tgtEl>
                                      </p:cBhvr>
                                    </p:animEffect>
                                  </p:childTnLst>
                                </p:cTn>
                              </p:par>
                              <p:par>
                                <p:cTn id="44" presetID="10" presetClass="entr" presetSubtype="0" fill="hold" nodeType="withEffect">
                                  <p:stCondLst>
                                    <p:cond delay="0"/>
                                  </p:stCondLst>
                                  <p:childTnLst>
                                    <p:set>
                                      <p:cBhvr>
                                        <p:cTn id="45" dur="1" fill="hold">
                                          <p:stCondLst>
                                            <p:cond delay="0"/>
                                          </p:stCondLst>
                                        </p:cTn>
                                        <p:tgtEl>
                                          <p:spTgt spid="2059"/>
                                        </p:tgtEl>
                                        <p:attrNameLst>
                                          <p:attrName>style.visibility</p:attrName>
                                        </p:attrNameLst>
                                      </p:cBhvr>
                                      <p:to>
                                        <p:strVal val="visible"/>
                                      </p:to>
                                    </p:set>
                                    <p:animEffect transition="in" filter="fade">
                                      <p:cBhvr>
                                        <p:cTn id="46" dur="500"/>
                                        <p:tgtEl>
                                          <p:spTgt spid="205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5"/>
                                        </p:tgtEl>
                                        <p:attrNameLst>
                                          <p:attrName>style.visibility</p:attrName>
                                        </p:attrNameLst>
                                      </p:cBhvr>
                                      <p:to>
                                        <p:strVal val="visible"/>
                                      </p:to>
                                    </p:set>
                                    <p:animEffect transition="in" filter="fade">
                                      <p:cBhvr>
                                        <p:cTn id="49" dur="500"/>
                                        <p:tgtEl>
                                          <p:spTgt spid="65"/>
                                        </p:tgtEl>
                                      </p:cBhvr>
                                    </p:animEffect>
                                  </p:childTnLst>
                                </p:cTn>
                              </p:par>
                              <p:par>
                                <p:cTn id="50" presetID="10" presetClass="entr" presetSubtype="0" fill="hold" nodeType="withEffect">
                                  <p:stCondLst>
                                    <p:cond delay="0"/>
                                  </p:stCondLst>
                                  <p:childTnLst>
                                    <p:set>
                                      <p:cBhvr>
                                        <p:cTn id="51" dur="1" fill="hold">
                                          <p:stCondLst>
                                            <p:cond delay="0"/>
                                          </p:stCondLst>
                                        </p:cTn>
                                        <p:tgtEl>
                                          <p:spTgt spid="28"/>
                                        </p:tgtEl>
                                        <p:attrNameLst>
                                          <p:attrName>style.visibility</p:attrName>
                                        </p:attrNameLst>
                                      </p:cBhvr>
                                      <p:to>
                                        <p:strVal val="visible"/>
                                      </p:to>
                                    </p:set>
                                    <p:animEffect transition="in" filter="fade">
                                      <p:cBhvr>
                                        <p:cTn id="52" dur="500"/>
                                        <p:tgtEl>
                                          <p:spTgt spid="2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062"/>
                                        </p:tgtEl>
                                        <p:attrNameLst>
                                          <p:attrName>style.visibility</p:attrName>
                                        </p:attrNameLst>
                                      </p:cBhvr>
                                      <p:to>
                                        <p:strVal val="visible"/>
                                      </p:to>
                                    </p:set>
                                    <p:animEffect transition="in" filter="fade">
                                      <p:cBhvr>
                                        <p:cTn id="55" dur="500"/>
                                        <p:tgtEl>
                                          <p:spTgt spid="2062"/>
                                        </p:tgtEl>
                                      </p:cBhvr>
                                    </p:animEffect>
                                  </p:childTnLst>
                                </p:cTn>
                              </p:par>
                              <p:par>
                                <p:cTn id="56" presetID="10" presetClass="entr" presetSubtype="0" fill="hold" nodeType="withEffect">
                                  <p:stCondLst>
                                    <p:cond delay="0"/>
                                  </p:stCondLst>
                                  <p:childTnLst>
                                    <p:set>
                                      <p:cBhvr>
                                        <p:cTn id="57" dur="1" fill="hold">
                                          <p:stCondLst>
                                            <p:cond delay="0"/>
                                          </p:stCondLst>
                                        </p:cTn>
                                        <p:tgtEl>
                                          <p:spTgt spid="85"/>
                                        </p:tgtEl>
                                        <p:attrNameLst>
                                          <p:attrName>style.visibility</p:attrName>
                                        </p:attrNameLst>
                                      </p:cBhvr>
                                      <p:to>
                                        <p:strVal val="visible"/>
                                      </p:to>
                                    </p:set>
                                    <p:animEffect transition="in" filter="fade">
                                      <p:cBhvr>
                                        <p:cTn id="58" dur="500"/>
                                        <p:tgtEl>
                                          <p:spTgt spid="85"/>
                                        </p:tgtEl>
                                      </p:cBhvr>
                                    </p:animEffect>
                                  </p:childTnLst>
                                </p:cTn>
                              </p:par>
                            </p:childTnLst>
                          </p:cTn>
                        </p:par>
                        <p:par>
                          <p:cTn id="59" fill="hold">
                            <p:stCondLst>
                              <p:cond delay="500"/>
                            </p:stCondLst>
                            <p:childTnLst>
                              <p:par>
                                <p:cTn id="60" presetID="10" presetClass="entr" presetSubtype="0" fill="hold" nodeType="afterEffect">
                                  <p:stCondLst>
                                    <p:cond delay="50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P spid="101" grpId="0" animBg="1"/>
      <p:bldP spid="98" grpId="0" animBg="1"/>
      <p:bldP spid="65" grpId="0" animBg="1"/>
      <p:bldP spid="2062" grpId="0"/>
      <p:bldP spid="9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CF9FFFD-D3E3-4994-884A-CE0391A5ECE6}"/>
              </a:ext>
            </a:extLst>
          </p:cNvPr>
          <p:cNvGrpSpPr/>
          <p:nvPr/>
        </p:nvGrpSpPr>
        <p:grpSpPr>
          <a:xfrm>
            <a:off x="865" y="-57086"/>
            <a:ext cx="12188078" cy="6855705"/>
            <a:chOff x="156" y="0"/>
            <a:chExt cx="12436002" cy="6995160"/>
          </a:xfrm>
        </p:grpSpPr>
        <p:sp>
          <p:nvSpPr>
            <p:cNvPr id="78" name="Rectangle 77">
              <a:extLst>
                <a:ext uri="{FF2B5EF4-FFF2-40B4-BE49-F238E27FC236}">
                  <a16:creationId xmlns:a16="http://schemas.microsoft.com/office/drawing/2014/main" id="{9CFFEF48-583F-4E3C-A631-E4DE84D7B8BB}"/>
                </a:ext>
              </a:extLst>
            </p:cNvPr>
            <p:cNvSpPr/>
            <p:nvPr/>
          </p:nvSpPr>
          <p:spPr bwMode="auto">
            <a:xfrm>
              <a:off x="156" y="0"/>
              <a:ext cx="2487168" cy="699516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970D9C75-1D2C-4698-B325-4D483680553C}"/>
                </a:ext>
              </a:extLst>
            </p:cNvPr>
            <p:cNvSpPr/>
            <p:nvPr/>
          </p:nvSpPr>
          <p:spPr bwMode="auto">
            <a:xfrm>
              <a:off x="2487485" y="0"/>
              <a:ext cx="2487168" cy="699516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5895808B-D807-42B9-AA05-5F184FEB3CF9}"/>
                </a:ext>
              </a:extLst>
            </p:cNvPr>
            <p:cNvSpPr/>
            <p:nvPr/>
          </p:nvSpPr>
          <p:spPr bwMode="auto">
            <a:xfrm>
              <a:off x="4974653" y="0"/>
              <a:ext cx="2487168" cy="6995160"/>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26DDA9AE-59CE-4808-A975-24D6BBF18F15}"/>
                </a:ext>
              </a:extLst>
            </p:cNvPr>
            <p:cNvSpPr/>
            <p:nvPr/>
          </p:nvSpPr>
          <p:spPr bwMode="auto">
            <a:xfrm>
              <a:off x="7461821" y="0"/>
              <a:ext cx="2487168" cy="699516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9747E750-35B5-4C11-9AF0-ED6FF148E39E}"/>
                </a:ext>
              </a:extLst>
            </p:cNvPr>
            <p:cNvSpPr/>
            <p:nvPr/>
          </p:nvSpPr>
          <p:spPr bwMode="auto">
            <a:xfrm>
              <a:off x="9948990" y="0"/>
              <a:ext cx="2487168" cy="699516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3" name="Group 72">
            <a:extLst>
              <a:ext uri="{FF2B5EF4-FFF2-40B4-BE49-F238E27FC236}">
                <a16:creationId xmlns:a16="http://schemas.microsoft.com/office/drawing/2014/main" id="{1F2B92FE-E899-4A66-91EC-5E50226AE47B}"/>
              </a:ext>
            </a:extLst>
          </p:cNvPr>
          <p:cNvGrpSpPr/>
          <p:nvPr/>
        </p:nvGrpSpPr>
        <p:grpSpPr>
          <a:xfrm>
            <a:off x="2438847" y="2980779"/>
            <a:ext cx="7312751" cy="3875628"/>
            <a:chOff x="2487485" y="3040063"/>
            <a:chExt cx="7461504" cy="3954462"/>
          </a:xfrm>
        </p:grpSpPr>
        <p:cxnSp>
          <p:nvCxnSpPr>
            <p:cNvPr id="74" name="Straight Connector 73">
              <a:extLst>
                <a:ext uri="{FF2B5EF4-FFF2-40B4-BE49-F238E27FC236}">
                  <a16:creationId xmlns:a16="http://schemas.microsoft.com/office/drawing/2014/main" id="{E3965082-581E-4DC9-9732-61FCE4BC35A1}"/>
                </a:ext>
              </a:extLst>
            </p:cNvPr>
            <p:cNvCxnSpPr/>
            <p:nvPr/>
          </p:nvCxnSpPr>
          <p:spPr>
            <a:xfrm>
              <a:off x="2487485" y="3040063"/>
              <a:ext cx="0" cy="3954462"/>
            </a:xfrm>
            <a:prstGeom prst="line">
              <a:avLst/>
            </a:prstGeom>
            <a:ln w="508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28EFEFF-D16D-46C1-BC96-F1020C639EEE}"/>
                </a:ext>
              </a:extLst>
            </p:cNvPr>
            <p:cNvCxnSpPr/>
            <p:nvPr/>
          </p:nvCxnSpPr>
          <p:spPr>
            <a:xfrm>
              <a:off x="4974653" y="3040063"/>
              <a:ext cx="0" cy="3954462"/>
            </a:xfrm>
            <a:prstGeom prst="line">
              <a:avLst/>
            </a:prstGeom>
            <a:ln w="508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5F9BA06-9DAF-47C0-BBD5-5D5CEC733EC8}"/>
                </a:ext>
              </a:extLst>
            </p:cNvPr>
            <p:cNvCxnSpPr/>
            <p:nvPr/>
          </p:nvCxnSpPr>
          <p:spPr>
            <a:xfrm>
              <a:off x="7461821" y="3040063"/>
              <a:ext cx="0" cy="3954462"/>
            </a:xfrm>
            <a:prstGeom prst="line">
              <a:avLst/>
            </a:prstGeom>
            <a:ln w="508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4EBFF8-65B4-41FB-A962-3360898D0D05}"/>
                </a:ext>
              </a:extLst>
            </p:cNvPr>
            <p:cNvCxnSpPr/>
            <p:nvPr/>
          </p:nvCxnSpPr>
          <p:spPr>
            <a:xfrm>
              <a:off x="9948989" y="3040063"/>
              <a:ext cx="0" cy="3954462"/>
            </a:xfrm>
            <a:prstGeom prst="line">
              <a:avLst/>
            </a:prstGeom>
            <a:ln w="508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B33ED1E1-4723-4DE1-87A8-24B61B86524D}"/>
              </a:ext>
            </a:extLst>
          </p:cNvPr>
          <p:cNvGrpSpPr/>
          <p:nvPr/>
        </p:nvGrpSpPr>
        <p:grpSpPr>
          <a:xfrm>
            <a:off x="1729" y="-58158"/>
            <a:ext cx="12188543" cy="2461442"/>
            <a:chOff x="-1" y="0"/>
            <a:chExt cx="12436476" cy="3497263"/>
          </a:xfrm>
          <a:solidFill>
            <a:schemeClr val="bg1"/>
          </a:solidFill>
        </p:grpSpPr>
        <p:sp>
          <p:nvSpPr>
            <p:cNvPr id="87" name="Freeform: Shape 86">
              <a:extLst>
                <a:ext uri="{FF2B5EF4-FFF2-40B4-BE49-F238E27FC236}">
                  <a16:creationId xmlns:a16="http://schemas.microsoft.com/office/drawing/2014/main" id="{6B7024A4-6E33-4AB9-B4CC-D4FE20669FAC}"/>
                </a:ext>
              </a:extLst>
            </p:cNvPr>
            <p:cNvSpPr/>
            <p:nvPr/>
          </p:nvSpPr>
          <p:spPr bwMode="auto">
            <a:xfrm>
              <a:off x="1" y="1371602"/>
              <a:ext cx="12436474" cy="2125661"/>
            </a:xfrm>
            <a:custGeom>
              <a:avLst/>
              <a:gdLst>
                <a:gd name="connsiteX0" fmla="*/ 6218553 w 12436474"/>
                <a:gd name="connsiteY0" fmla="*/ 2125661 h 2125661"/>
                <a:gd name="connsiteX1" fmla="*/ 12200174 w 12436474"/>
                <a:gd name="connsiteY1" fmla="*/ 1227711 h 2125661"/>
                <a:gd name="connsiteX2" fmla="*/ 12436156 w 12436474"/>
                <a:gd name="connsiteY2" fmla="*/ 1145241 h 2125661"/>
                <a:gd name="connsiteX3" fmla="*/ 12436156 w 12436474"/>
                <a:gd name="connsiteY3" fmla="*/ 1389876 h 2125661"/>
                <a:gd name="connsiteX4" fmla="*/ 12436474 w 12436474"/>
                <a:gd name="connsiteY4" fmla="*/ 1389818 h 2125661"/>
                <a:gd name="connsiteX5" fmla="*/ 12436474 w 12436474"/>
                <a:gd name="connsiteY5" fmla="*/ 0 h 2125661"/>
                <a:gd name="connsiteX6" fmla="*/ 0 w 12436474"/>
                <a:gd name="connsiteY6" fmla="*/ 0 h 2125661"/>
                <a:gd name="connsiteX7" fmla="*/ 0 w 12436474"/>
                <a:gd name="connsiteY7" fmla="*/ 1390102 h 2125661"/>
                <a:gd name="connsiteX8" fmla="*/ 316 w 12436474"/>
                <a:gd name="connsiteY8" fmla="*/ 1390166 h 2125661"/>
                <a:gd name="connsiteX9" fmla="*/ 316 w 12436474"/>
                <a:gd name="connsiteY9" fmla="*/ 1145019 h 2125661"/>
                <a:gd name="connsiteX10" fmla="*/ 236932 w 12436474"/>
                <a:gd name="connsiteY10" fmla="*/ 1227711 h 2125661"/>
                <a:gd name="connsiteX11" fmla="*/ 6218553 w 12436474"/>
                <a:gd name="connsiteY11" fmla="*/ 2125661 h 212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36474" h="2125661">
                  <a:moveTo>
                    <a:pt x="6218553" y="2125661"/>
                  </a:moveTo>
                  <a:cubicBezTo>
                    <a:pt x="8434281" y="2125661"/>
                    <a:pt x="10492686" y="1794630"/>
                    <a:pt x="12200174" y="1227711"/>
                  </a:cubicBezTo>
                  <a:lnTo>
                    <a:pt x="12436156" y="1145241"/>
                  </a:lnTo>
                  <a:lnTo>
                    <a:pt x="12436156" y="1389876"/>
                  </a:lnTo>
                  <a:lnTo>
                    <a:pt x="12436474" y="1389818"/>
                  </a:lnTo>
                  <a:lnTo>
                    <a:pt x="12436474" y="0"/>
                  </a:lnTo>
                  <a:lnTo>
                    <a:pt x="0" y="0"/>
                  </a:lnTo>
                  <a:lnTo>
                    <a:pt x="0" y="1390102"/>
                  </a:lnTo>
                  <a:lnTo>
                    <a:pt x="316" y="1390166"/>
                  </a:lnTo>
                  <a:lnTo>
                    <a:pt x="316" y="1145019"/>
                  </a:lnTo>
                  <a:lnTo>
                    <a:pt x="236932" y="1227711"/>
                  </a:lnTo>
                  <a:cubicBezTo>
                    <a:pt x="1944420" y="1794630"/>
                    <a:pt x="4002826" y="2125661"/>
                    <a:pt x="6218553" y="212566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7E225D57-0DD3-4395-89F2-715ABC695B8D}"/>
                </a:ext>
              </a:extLst>
            </p:cNvPr>
            <p:cNvSpPr/>
            <p:nvPr/>
          </p:nvSpPr>
          <p:spPr bwMode="auto">
            <a:xfrm>
              <a:off x="-1" y="0"/>
              <a:ext cx="12435840" cy="19202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cs typeface="Segoe UI" pitchFamily="34" charset="0"/>
              </a:endParaRPr>
            </a:p>
          </p:txBody>
        </p:sp>
      </p:grpSp>
      <p:sp>
        <p:nvSpPr>
          <p:cNvPr id="88" name="TextBox 87">
            <a:extLst>
              <a:ext uri="{FF2B5EF4-FFF2-40B4-BE49-F238E27FC236}">
                <a16:creationId xmlns:a16="http://schemas.microsoft.com/office/drawing/2014/main" id="{18E3F954-B625-4B7F-A30D-A8EA94C3C0C4}"/>
              </a:ext>
            </a:extLst>
          </p:cNvPr>
          <p:cNvSpPr txBox="1"/>
          <p:nvPr/>
        </p:nvSpPr>
        <p:spPr>
          <a:xfrm>
            <a:off x="92763" y="3174165"/>
            <a:ext cx="2240426" cy="732453"/>
          </a:xfrm>
          <a:prstGeom prst="rect">
            <a:avLst/>
          </a:prstGeom>
          <a:noFill/>
          <a:ln>
            <a:noFill/>
          </a:ln>
        </p:spPr>
        <p:txBody>
          <a:bodyPr wrap="square" lIns="179234" tIns="143387" rIns="179234" bIns="143387" rtlCol="0" anchor="t" anchorCtr="0">
            <a:spAutoFit/>
          </a:bodyPr>
          <a:lstStyle/>
          <a:p>
            <a:pPr algn="ctr" defTabSz="597193">
              <a:lnSpc>
                <a:spcPct val="90000"/>
              </a:lnSpc>
              <a:defRPr/>
            </a:pPr>
            <a:r>
              <a:rPr lang="da-DK" sz="1567" b="1" kern="0">
                <a:gradFill>
                  <a:gsLst>
                    <a:gs pos="5310">
                      <a:srgbClr val="FFFFFF"/>
                    </a:gs>
                    <a:gs pos="13000">
                      <a:srgbClr val="FFFFFF"/>
                    </a:gs>
                  </a:gsLst>
                  <a:lin ang="5400000" scaled="0"/>
                </a:gradFill>
                <a:latin typeface="Segoe UI"/>
                <a:cs typeface="Segoe UI Semilight" panose="020B0402040204020203" pitchFamily="34" charset="0"/>
              </a:rPr>
              <a:t>Programmer productivity</a:t>
            </a:r>
          </a:p>
        </p:txBody>
      </p:sp>
      <p:sp>
        <p:nvSpPr>
          <p:cNvPr id="91" name="TextBox 90">
            <a:extLst>
              <a:ext uri="{FF2B5EF4-FFF2-40B4-BE49-F238E27FC236}">
                <a16:creationId xmlns:a16="http://schemas.microsoft.com/office/drawing/2014/main" id="{F8607F24-19CD-4FF3-A850-278E62F7DEB5}"/>
              </a:ext>
            </a:extLst>
          </p:cNvPr>
          <p:cNvSpPr txBox="1"/>
          <p:nvPr/>
        </p:nvSpPr>
        <p:spPr>
          <a:xfrm>
            <a:off x="2594571" y="3169869"/>
            <a:ext cx="2240426" cy="781690"/>
          </a:xfrm>
          <a:prstGeom prst="rect">
            <a:avLst/>
          </a:prstGeom>
          <a:noFill/>
          <a:ln>
            <a:noFill/>
          </a:ln>
        </p:spPr>
        <p:txBody>
          <a:bodyPr wrap="square" lIns="143387" tIns="143387" rIns="143387" bIns="143387" rtlCol="0" anchor="t" anchorCtr="0">
            <a:spAutoFit/>
          </a:bodyPr>
          <a:lstStyle/>
          <a:p>
            <a:pPr algn="ctr" defTabSz="914192">
              <a:defRPr/>
            </a:pPr>
            <a:r>
              <a:rPr lang="da-DK" sz="1567" b="1">
                <a:gradFill>
                  <a:gsLst>
                    <a:gs pos="5310">
                      <a:srgbClr val="FFFFFF"/>
                    </a:gs>
                    <a:gs pos="13000">
                      <a:srgbClr val="FFFFFF"/>
                    </a:gs>
                  </a:gsLst>
                  <a:lin ang="5400000" scaled="0"/>
                </a:gradFill>
                <a:latin typeface="Segoe UI"/>
                <a:cs typeface="Segoe UI Semilight" panose="020B0402040204020203" pitchFamily="34" charset="0"/>
              </a:rPr>
              <a:t>Intelligent Edge, and Cloud</a:t>
            </a:r>
          </a:p>
        </p:txBody>
      </p:sp>
      <p:sp>
        <p:nvSpPr>
          <p:cNvPr id="92" name="Money_3">
            <a:extLst>
              <a:ext uri="{FF2B5EF4-FFF2-40B4-BE49-F238E27FC236}">
                <a16:creationId xmlns:a16="http://schemas.microsoft.com/office/drawing/2014/main" id="{A1251962-A0E9-4BB7-ACC9-E5F0B50CB23E}"/>
              </a:ext>
            </a:extLst>
          </p:cNvPr>
          <p:cNvSpPr>
            <a:spLocks noChangeAspect="1" noEditPoints="1"/>
          </p:cNvSpPr>
          <p:nvPr/>
        </p:nvSpPr>
        <p:spPr bwMode="auto">
          <a:xfrm>
            <a:off x="5945976" y="2589835"/>
            <a:ext cx="346543" cy="627319"/>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92"/>
            <a:endParaRPr lang="en-US" sz="882">
              <a:gradFill>
                <a:gsLst>
                  <a:gs pos="0">
                    <a:srgbClr val="505050"/>
                  </a:gs>
                  <a:gs pos="100000">
                    <a:srgbClr val="505050"/>
                  </a:gs>
                </a:gsLst>
                <a:lin ang="5400000" scaled="1"/>
              </a:gradFill>
              <a:latin typeface="Segoe UI"/>
            </a:endParaRPr>
          </a:p>
        </p:txBody>
      </p:sp>
      <p:sp>
        <p:nvSpPr>
          <p:cNvPr id="94" name="TextBox 93">
            <a:extLst>
              <a:ext uri="{FF2B5EF4-FFF2-40B4-BE49-F238E27FC236}">
                <a16:creationId xmlns:a16="http://schemas.microsoft.com/office/drawing/2014/main" id="{43F04297-7FAA-4430-8C82-5E571A36E4B4}"/>
              </a:ext>
            </a:extLst>
          </p:cNvPr>
          <p:cNvSpPr txBox="1"/>
          <p:nvPr/>
        </p:nvSpPr>
        <p:spPr>
          <a:xfrm>
            <a:off x="4917863" y="3270921"/>
            <a:ext cx="2240426" cy="732453"/>
          </a:xfrm>
          <a:prstGeom prst="rect">
            <a:avLst/>
          </a:prstGeom>
          <a:noFill/>
          <a:ln>
            <a:noFill/>
          </a:ln>
        </p:spPr>
        <p:txBody>
          <a:bodyPr wrap="square" lIns="143387" tIns="143387" rIns="143387" bIns="143387" rtlCol="0" anchor="t" anchorCtr="0">
            <a:spAutoFit/>
          </a:bodyPr>
          <a:lstStyle/>
          <a:p>
            <a:pPr algn="ctr" defTabSz="597193">
              <a:lnSpc>
                <a:spcPct val="90000"/>
              </a:lnSpc>
              <a:defRPr/>
            </a:pPr>
            <a:r>
              <a:rPr lang="da-DK" sz="1567" b="1" kern="0">
                <a:gradFill>
                  <a:gsLst>
                    <a:gs pos="5310">
                      <a:srgbClr val="FFFFFF"/>
                    </a:gs>
                    <a:gs pos="13000">
                      <a:srgbClr val="FFFFFF"/>
                    </a:gs>
                  </a:gsLst>
                  <a:lin ang="5400000" scaled="0"/>
                </a:gradFill>
                <a:latin typeface="Segoe UI"/>
                <a:cs typeface="Segoe UI Semilight" panose="020B0402040204020203" pitchFamily="34" charset="0"/>
              </a:rPr>
              <a:t>Serverless and low TCO</a:t>
            </a:r>
          </a:p>
        </p:txBody>
      </p:sp>
      <p:sp>
        <p:nvSpPr>
          <p:cNvPr id="95" name="Commitments_EC4D">
            <a:extLst>
              <a:ext uri="{FF2B5EF4-FFF2-40B4-BE49-F238E27FC236}">
                <a16:creationId xmlns:a16="http://schemas.microsoft.com/office/drawing/2014/main" id="{2B5449BF-946A-46BB-AB02-1ABC6BAF50FA}"/>
              </a:ext>
            </a:extLst>
          </p:cNvPr>
          <p:cNvSpPr>
            <a:spLocks noChangeAspect="1" noEditPoints="1"/>
          </p:cNvSpPr>
          <p:nvPr/>
        </p:nvSpPr>
        <p:spPr bwMode="auto">
          <a:xfrm>
            <a:off x="8176126" y="2472636"/>
            <a:ext cx="711807" cy="66740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92"/>
            <a:endParaRPr lang="en-US" sz="882">
              <a:gradFill>
                <a:gsLst>
                  <a:gs pos="0">
                    <a:srgbClr val="505050"/>
                  </a:gs>
                  <a:gs pos="100000">
                    <a:srgbClr val="505050"/>
                  </a:gs>
                </a:gsLst>
                <a:lin ang="5400000" scaled="1"/>
              </a:gradFill>
              <a:latin typeface="Segoe UI"/>
            </a:endParaRPr>
          </a:p>
        </p:txBody>
      </p:sp>
      <p:sp>
        <p:nvSpPr>
          <p:cNvPr id="97" name="TextBox 96">
            <a:extLst>
              <a:ext uri="{FF2B5EF4-FFF2-40B4-BE49-F238E27FC236}">
                <a16:creationId xmlns:a16="http://schemas.microsoft.com/office/drawing/2014/main" id="{CAD08E39-9AA0-44BE-8DA2-5CB14F59535D}"/>
              </a:ext>
            </a:extLst>
          </p:cNvPr>
          <p:cNvSpPr txBox="1"/>
          <p:nvPr/>
        </p:nvSpPr>
        <p:spPr>
          <a:xfrm>
            <a:off x="7462361" y="3302609"/>
            <a:ext cx="2240426" cy="506786"/>
          </a:xfrm>
          <a:prstGeom prst="rect">
            <a:avLst/>
          </a:prstGeom>
          <a:noFill/>
          <a:ln>
            <a:noFill/>
          </a:ln>
        </p:spPr>
        <p:txBody>
          <a:bodyPr wrap="square" lIns="143387" tIns="143387" rIns="143387" bIns="143387" rtlCol="0" anchor="t" anchorCtr="0">
            <a:spAutoFit/>
          </a:bodyPr>
          <a:lstStyle>
            <a:defPPr>
              <a:defRPr lang="en-US"/>
            </a:defPPr>
            <a:lvl1pPr lvl="0" defTabSz="609428">
              <a:lnSpc>
                <a:spcPct val="90000"/>
              </a:lnSpc>
              <a:defRPr sz="1600" kern="0" cap="all">
                <a:gradFill>
                  <a:gsLst>
                    <a:gs pos="83668">
                      <a:srgbClr val="FFFFFF">
                        <a:alpha val="70000"/>
                      </a:srgbClr>
                    </a:gs>
                    <a:gs pos="37000">
                      <a:srgbClr val="FFFFFF">
                        <a:alpha val="70000"/>
                      </a:srgbClr>
                    </a:gs>
                  </a:gsLst>
                  <a:lin ang="5400000" scaled="0"/>
                </a:gradFill>
                <a:latin typeface="Segoe UI Semibold" panose="020B0702040204020203" pitchFamily="34" charset="0"/>
                <a:cs typeface="Segoe UI Semibold" panose="020B0702040204020203" pitchFamily="34" charset="0"/>
              </a:defRPr>
            </a:lvl1pPr>
          </a:lstStyle>
          <a:p>
            <a:pPr algn="ctr" defTabSz="597308">
              <a:defRPr/>
            </a:pPr>
            <a:r>
              <a:rPr lang="da-DK" sz="1567" b="1" cap="none">
                <a:gradFill>
                  <a:gsLst>
                    <a:gs pos="5310">
                      <a:srgbClr val="FFFFFF"/>
                    </a:gs>
                    <a:gs pos="13000">
                      <a:srgbClr val="FFFFFF"/>
                    </a:gs>
                  </a:gsLst>
                  <a:lin ang="5400000" scaled="0"/>
                </a:gradFill>
                <a:latin typeface="Segoe UI"/>
                <a:cs typeface="Segoe UI Semilight" panose="020B0402040204020203" pitchFamily="34" charset="0"/>
              </a:rPr>
              <a:t>Easy to get started</a:t>
            </a:r>
          </a:p>
        </p:txBody>
      </p:sp>
      <p:sp>
        <p:nvSpPr>
          <p:cNvPr id="102" name="cloud">
            <a:extLst>
              <a:ext uri="{FF2B5EF4-FFF2-40B4-BE49-F238E27FC236}">
                <a16:creationId xmlns:a16="http://schemas.microsoft.com/office/drawing/2014/main" id="{436E3120-3F05-4A48-AF51-43C860B74512}"/>
              </a:ext>
            </a:extLst>
          </p:cNvPr>
          <p:cNvSpPr>
            <a:spLocks noChangeAspect="1"/>
          </p:cNvSpPr>
          <p:nvPr/>
        </p:nvSpPr>
        <p:spPr bwMode="auto">
          <a:xfrm>
            <a:off x="10529178" y="2582584"/>
            <a:ext cx="884478" cy="56349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92"/>
            <a:endParaRPr lang="en-US" sz="882">
              <a:gradFill>
                <a:gsLst>
                  <a:gs pos="0">
                    <a:srgbClr val="505050"/>
                  </a:gs>
                  <a:gs pos="100000">
                    <a:srgbClr val="505050"/>
                  </a:gs>
                </a:gsLst>
                <a:lin ang="5400000" scaled="1"/>
              </a:gradFill>
              <a:latin typeface="Segoe UI"/>
            </a:endParaRPr>
          </a:p>
        </p:txBody>
      </p:sp>
      <p:sp>
        <p:nvSpPr>
          <p:cNvPr id="104" name="TextBox 103">
            <a:extLst>
              <a:ext uri="{FF2B5EF4-FFF2-40B4-BE49-F238E27FC236}">
                <a16:creationId xmlns:a16="http://schemas.microsoft.com/office/drawing/2014/main" id="{B84A3E5A-D150-4831-8B7E-BF90771DA023}"/>
              </a:ext>
            </a:extLst>
          </p:cNvPr>
          <p:cNvSpPr txBox="1"/>
          <p:nvPr/>
        </p:nvSpPr>
        <p:spPr>
          <a:xfrm>
            <a:off x="9809043" y="3329333"/>
            <a:ext cx="2240426" cy="506786"/>
          </a:xfrm>
          <a:prstGeom prst="rect">
            <a:avLst/>
          </a:prstGeom>
          <a:noFill/>
          <a:ln>
            <a:noFill/>
          </a:ln>
        </p:spPr>
        <p:txBody>
          <a:bodyPr wrap="square" lIns="143387" tIns="143387" rIns="143387" bIns="143387" rtlCol="0" anchor="t" anchorCtr="0">
            <a:spAutoFit/>
          </a:bodyPr>
          <a:lstStyle>
            <a:defPPr>
              <a:defRPr lang="en-US"/>
            </a:defPPr>
            <a:lvl1pPr lvl="0" defTabSz="609428">
              <a:lnSpc>
                <a:spcPct val="90000"/>
              </a:lnSpc>
              <a:defRPr sz="1400" kern="0" cap="all">
                <a:gradFill>
                  <a:gsLst>
                    <a:gs pos="83668">
                      <a:srgbClr val="FFFFFF">
                        <a:alpha val="70000"/>
                      </a:srgbClr>
                    </a:gs>
                    <a:gs pos="37000">
                      <a:srgbClr val="FFFFFF">
                        <a:alpha val="70000"/>
                      </a:srgbClr>
                    </a:gs>
                  </a:gsLst>
                  <a:lin ang="5400000" scaled="0"/>
                </a:gradFill>
                <a:latin typeface="Segoe UI Semibold" panose="020B0702040204020203" pitchFamily="34" charset="0"/>
                <a:cs typeface="Segoe UI Semibold" panose="020B0702040204020203" pitchFamily="34" charset="0"/>
              </a:defRPr>
            </a:lvl1pPr>
          </a:lstStyle>
          <a:p>
            <a:pPr algn="ctr" defTabSz="597308">
              <a:defRPr/>
            </a:pPr>
            <a:r>
              <a:rPr lang="da-DK" sz="1567" b="1" cap="none">
                <a:gradFill>
                  <a:gsLst>
                    <a:gs pos="5310">
                      <a:srgbClr val="FFFFFF"/>
                    </a:gs>
                    <a:gs pos="13000">
                      <a:srgbClr val="FFFFFF"/>
                    </a:gs>
                  </a:gsLst>
                  <a:lin ang="5400000" scaled="0"/>
                </a:gradFill>
                <a:latin typeface="Segoe UI"/>
                <a:cs typeface="Segoe UI Semilight" panose="020B0402040204020203" pitchFamily="34" charset="0"/>
              </a:rPr>
              <a:t>Enterprise grade</a:t>
            </a:r>
          </a:p>
        </p:txBody>
      </p:sp>
      <p:sp>
        <p:nvSpPr>
          <p:cNvPr id="33" name="DevUpdate_ECC5" title="Icon of a clock with an arrow around it pointing clockwise">
            <a:extLst>
              <a:ext uri="{FF2B5EF4-FFF2-40B4-BE49-F238E27FC236}">
                <a16:creationId xmlns:a16="http://schemas.microsoft.com/office/drawing/2014/main" id="{448D4C33-16DA-4005-98EB-BFC4F099AC8A}"/>
              </a:ext>
            </a:extLst>
          </p:cNvPr>
          <p:cNvSpPr>
            <a:spLocks noChangeAspect="1" noEditPoints="1"/>
          </p:cNvSpPr>
          <p:nvPr/>
        </p:nvSpPr>
        <p:spPr bwMode="auto">
          <a:xfrm>
            <a:off x="956422" y="2582422"/>
            <a:ext cx="544218" cy="54486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latin typeface="Segoe UI"/>
            </a:endParaRPr>
          </a:p>
        </p:txBody>
      </p:sp>
      <p:sp>
        <p:nvSpPr>
          <p:cNvPr id="35" name="IoT" title="Icon of five circles that all connect to a center circle">
            <a:extLst>
              <a:ext uri="{FF2B5EF4-FFF2-40B4-BE49-F238E27FC236}">
                <a16:creationId xmlns:a16="http://schemas.microsoft.com/office/drawing/2014/main" id="{012B559E-8801-4757-8B56-7EE6D109159A}"/>
              </a:ext>
            </a:extLst>
          </p:cNvPr>
          <p:cNvSpPr>
            <a:spLocks noChangeAspect="1" noEditPoints="1"/>
          </p:cNvSpPr>
          <p:nvPr/>
        </p:nvSpPr>
        <p:spPr bwMode="auto">
          <a:xfrm>
            <a:off x="3093600" y="2688684"/>
            <a:ext cx="529733" cy="530581"/>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92"/>
            <a:endParaRPr lang="en-US">
              <a:gradFill>
                <a:gsLst>
                  <a:gs pos="0">
                    <a:srgbClr val="505050"/>
                  </a:gs>
                  <a:gs pos="100000">
                    <a:srgbClr val="505050"/>
                  </a:gs>
                </a:gsLst>
              </a:gradFill>
              <a:latin typeface="Segoe UI"/>
            </a:endParaRPr>
          </a:p>
        </p:txBody>
      </p:sp>
      <p:sp>
        <p:nvSpPr>
          <p:cNvPr id="36" name="cloud">
            <a:extLst>
              <a:ext uri="{FF2B5EF4-FFF2-40B4-BE49-F238E27FC236}">
                <a16:creationId xmlns:a16="http://schemas.microsoft.com/office/drawing/2014/main" id="{94291389-9EDE-4BF8-A24E-4E6516393819}"/>
              </a:ext>
            </a:extLst>
          </p:cNvPr>
          <p:cNvSpPr>
            <a:spLocks noChangeAspect="1"/>
          </p:cNvSpPr>
          <p:nvPr/>
        </p:nvSpPr>
        <p:spPr bwMode="auto">
          <a:xfrm>
            <a:off x="3699536" y="2569222"/>
            <a:ext cx="884478" cy="56349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92"/>
            <a:endParaRPr lang="en-US" sz="882">
              <a:gradFill>
                <a:gsLst>
                  <a:gs pos="0">
                    <a:srgbClr val="505050"/>
                  </a:gs>
                  <a:gs pos="100000">
                    <a:srgbClr val="505050"/>
                  </a:gs>
                </a:gsLst>
                <a:lin ang="5400000" scaled="1"/>
              </a:gradFill>
              <a:latin typeface="Segoe UI"/>
            </a:endParaRPr>
          </a:p>
        </p:txBody>
      </p:sp>
      <p:sp>
        <p:nvSpPr>
          <p:cNvPr id="28" name="TextBox 27">
            <a:extLst>
              <a:ext uri="{FF2B5EF4-FFF2-40B4-BE49-F238E27FC236}">
                <a16:creationId xmlns:a16="http://schemas.microsoft.com/office/drawing/2014/main" id="{D1033657-A23C-411C-B993-85607D76C337}"/>
              </a:ext>
            </a:extLst>
          </p:cNvPr>
          <p:cNvSpPr txBox="1"/>
          <p:nvPr/>
        </p:nvSpPr>
        <p:spPr>
          <a:xfrm>
            <a:off x="-89781" y="4067835"/>
            <a:ext cx="2623762" cy="2664503"/>
          </a:xfrm>
          <a:prstGeom prst="rect">
            <a:avLst/>
          </a:prstGeom>
          <a:noFill/>
          <a:ln>
            <a:noFill/>
          </a:ln>
        </p:spPr>
        <p:txBody>
          <a:bodyPr wrap="square" lIns="179234" tIns="143387" rIns="179234" bIns="143387" rtlCol="0" anchor="t" anchorCtr="0">
            <a:spAutoFit/>
          </a:bodyPr>
          <a:lstStyle/>
          <a:p>
            <a:pPr defTabSz="914192">
              <a:lnSpc>
                <a:spcPct val="90000"/>
              </a:lnSpc>
              <a:spcAft>
                <a:spcPts val="600"/>
              </a:spcAft>
            </a:pPr>
            <a:r>
              <a:rPr lang="en-US" sz="1350" dirty="0">
                <a:solidFill>
                  <a:srgbClr val="FFFFFF"/>
                </a:solidFill>
                <a:latin typeface="Segoe UI"/>
              </a:rPr>
              <a:t>Simple SQL language extensible with JavaScript and C# </a:t>
            </a:r>
            <a:endParaRPr lang="en-US" sz="1371" dirty="0">
              <a:solidFill>
                <a:srgbClr val="FFFFFF"/>
              </a:solidFill>
              <a:latin typeface="Segoe UI"/>
            </a:endParaRPr>
          </a:p>
          <a:p>
            <a:pPr defTabSz="914192">
              <a:lnSpc>
                <a:spcPct val="90000"/>
              </a:lnSpc>
              <a:spcAft>
                <a:spcPts val="600"/>
              </a:spcAft>
            </a:pPr>
            <a:endParaRPr lang="en-US" sz="1371" dirty="0">
              <a:solidFill>
                <a:srgbClr val="FFFFFF"/>
              </a:solidFill>
              <a:latin typeface="Segoe UI"/>
            </a:endParaRPr>
          </a:p>
          <a:p>
            <a:pPr defTabSz="914192">
              <a:lnSpc>
                <a:spcPct val="90000"/>
              </a:lnSpc>
              <a:spcAft>
                <a:spcPts val="600"/>
              </a:spcAft>
            </a:pPr>
            <a:r>
              <a:rPr lang="en-US" sz="1350" dirty="0">
                <a:solidFill>
                  <a:srgbClr val="FFFFFF"/>
                </a:solidFill>
                <a:latin typeface="Segoe UI"/>
              </a:rPr>
              <a:t>Built-in Analytic functions</a:t>
            </a:r>
            <a:endParaRPr lang="en-US" sz="1350" dirty="0">
              <a:solidFill>
                <a:srgbClr val="FFFFFF"/>
              </a:solidFill>
              <a:latin typeface="Segoe UI"/>
              <a:cs typeface="Segoe UI"/>
            </a:endParaRPr>
          </a:p>
          <a:p>
            <a:pPr defTabSz="914192">
              <a:lnSpc>
                <a:spcPct val="90000"/>
              </a:lnSpc>
              <a:spcAft>
                <a:spcPts val="600"/>
              </a:spcAft>
            </a:pPr>
            <a:endParaRPr lang="en-US" sz="1371" i="1" dirty="0">
              <a:solidFill>
                <a:srgbClr val="FFFFFF"/>
              </a:solidFill>
              <a:latin typeface="Segoe UI"/>
            </a:endParaRPr>
          </a:p>
          <a:p>
            <a:pPr defTabSz="914192">
              <a:lnSpc>
                <a:spcPct val="90000"/>
              </a:lnSpc>
              <a:spcAft>
                <a:spcPts val="600"/>
              </a:spcAft>
            </a:pPr>
            <a:r>
              <a:rPr lang="en-US" sz="1350" i="1" dirty="0">
                <a:solidFill>
                  <a:srgbClr val="FFFFFF"/>
                </a:solidFill>
                <a:latin typeface="Segoe UI"/>
              </a:rPr>
              <a:t>Azure Portal, VS Code, Visual Studio, PowerShell, REST APIs</a:t>
            </a:r>
          </a:p>
          <a:p>
            <a:pPr defTabSz="914192">
              <a:lnSpc>
                <a:spcPct val="90000"/>
              </a:lnSpc>
              <a:spcAft>
                <a:spcPts val="600"/>
              </a:spcAft>
            </a:pPr>
            <a:endParaRPr lang="en-US" sz="1350" i="1" dirty="0">
              <a:solidFill>
                <a:srgbClr val="FFFFFF"/>
              </a:solidFill>
              <a:latin typeface="Segoe UI"/>
              <a:cs typeface="Segoe UI"/>
            </a:endParaRPr>
          </a:p>
          <a:p>
            <a:pPr defTabSz="914192">
              <a:lnSpc>
                <a:spcPct val="90000"/>
              </a:lnSpc>
              <a:spcAft>
                <a:spcPts val="600"/>
              </a:spcAft>
            </a:pPr>
            <a:r>
              <a:rPr lang="en-US" sz="1350" i="1" dirty="0">
                <a:solidFill>
                  <a:srgbClr val="FFFFFF"/>
                </a:solidFill>
                <a:latin typeface="Segoe UI"/>
                <a:cs typeface="Segoe UI"/>
              </a:rPr>
              <a:t>Best in class debugging tools</a:t>
            </a:r>
          </a:p>
        </p:txBody>
      </p:sp>
      <p:sp>
        <p:nvSpPr>
          <p:cNvPr id="29" name="TextBox 28">
            <a:extLst>
              <a:ext uri="{FF2B5EF4-FFF2-40B4-BE49-F238E27FC236}">
                <a16:creationId xmlns:a16="http://schemas.microsoft.com/office/drawing/2014/main" id="{BE6C64B4-C363-4D2E-8866-54A799F5079A}"/>
              </a:ext>
            </a:extLst>
          </p:cNvPr>
          <p:cNvSpPr txBox="1"/>
          <p:nvPr/>
        </p:nvSpPr>
        <p:spPr>
          <a:xfrm>
            <a:off x="2442928" y="4084405"/>
            <a:ext cx="2429186" cy="1605901"/>
          </a:xfrm>
          <a:prstGeom prst="rect">
            <a:avLst/>
          </a:prstGeom>
          <a:noFill/>
          <a:ln>
            <a:noFill/>
          </a:ln>
        </p:spPr>
        <p:txBody>
          <a:bodyPr wrap="square" lIns="179234" tIns="143387" rIns="179234" bIns="143387" rtlCol="0" anchor="t" anchorCtr="0">
            <a:spAutoFit/>
          </a:bodyPr>
          <a:lstStyle/>
          <a:p>
            <a:pPr defTabSz="914192">
              <a:lnSpc>
                <a:spcPct val="90000"/>
              </a:lnSpc>
              <a:spcAft>
                <a:spcPts val="600"/>
              </a:spcAft>
            </a:pPr>
            <a:r>
              <a:rPr lang="en-US" sz="1371">
                <a:solidFill>
                  <a:srgbClr val="FFFFFF"/>
                </a:solidFill>
                <a:latin typeface="Segoe UI"/>
              </a:rPr>
              <a:t>Same queries running either on Edge, Cloud or Azure Stack </a:t>
            </a:r>
          </a:p>
          <a:p>
            <a:pPr defTabSz="914192">
              <a:lnSpc>
                <a:spcPct val="90000"/>
              </a:lnSpc>
              <a:spcAft>
                <a:spcPts val="600"/>
              </a:spcAft>
            </a:pPr>
            <a:endParaRPr lang="en-US" sz="1371">
              <a:solidFill>
                <a:srgbClr val="FFFFFF"/>
              </a:solidFill>
              <a:latin typeface="Segoe UI"/>
              <a:cs typeface="Segoe UI Semilight"/>
            </a:endParaRPr>
          </a:p>
          <a:p>
            <a:pPr defTabSz="914192">
              <a:lnSpc>
                <a:spcPct val="90000"/>
              </a:lnSpc>
              <a:spcAft>
                <a:spcPts val="600"/>
              </a:spcAft>
            </a:pPr>
            <a:r>
              <a:rPr lang="en-US" sz="1371">
                <a:solidFill>
                  <a:srgbClr val="FFFFFF"/>
                </a:solidFill>
                <a:latin typeface="Segoe UI"/>
              </a:rPr>
              <a:t>Leveraging IoT Edge for security and deployment</a:t>
            </a:r>
          </a:p>
        </p:txBody>
      </p:sp>
      <p:sp>
        <p:nvSpPr>
          <p:cNvPr id="30" name="TextBox 29">
            <a:extLst>
              <a:ext uri="{FF2B5EF4-FFF2-40B4-BE49-F238E27FC236}">
                <a16:creationId xmlns:a16="http://schemas.microsoft.com/office/drawing/2014/main" id="{B76E8D87-2D1E-47AD-AFBF-8C7EE28CE44E}"/>
              </a:ext>
            </a:extLst>
          </p:cNvPr>
          <p:cNvSpPr txBox="1"/>
          <p:nvPr/>
        </p:nvSpPr>
        <p:spPr>
          <a:xfrm>
            <a:off x="4806966" y="4088725"/>
            <a:ext cx="2524311" cy="2340998"/>
          </a:xfrm>
          <a:prstGeom prst="rect">
            <a:avLst/>
          </a:prstGeom>
          <a:noFill/>
          <a:ln>
            <a:noFill/>
          </a:ln>
        </p:spPr>
        <p:txBody>
          <a:bodyPr wrap="square" lIns="179234" tIns="143387" rIns="179234" bIns="143387" rtlCol="0" anchor="t" anchorCtr="0">
            <a:spAutoFit/>
          </a:bodyPr>
          <a:lstStyle/>
          <a:p>
            <a:pPr defTabSz="914192">
              <a:lnSpc>
                <a:spcPct val="90000"/>
              </a:lnSpc>
              <a:spcAft>
                <a:spcPts val="600"/>
              </a:spcAft>
            </a:pPr>
            <a:r>
              <a:rPr lang="en-US" sz="1371">
                <a:solidFill>
                  <a:srgbClr val="FFFFFF"/>
                </a:solidFill>
                <a:latin typeface="Segoe UI"/>
              </a:rPr>
              <a:t>Fully managed Job service: no clusters to manage or VMs to provision</a:t>
            </a:r>
          </a:p>
          <a:p>
            <a:pPr defTabSz="914192">
              <a:lnSpc>
                <a:spcPct val="90000"/>
              </a:lnSpc>
              <a:spcAft>
                <a:spcPts val="600"/>
              </a:spcAft>
            </a:pPr>
            <a:endParaRPr lang="en-US" sz="1371">
              <a:solidFill>
                <a:srgbClr val="FFFFFF"/>
              </a:solidFill>
              <a:latin typeface="Segoe UI"/>
            </a:endParaRPr>
          </a:p>
          <a:p>
            <a:pPr defTabSz="914192">
              <a:lnSpc>
                <a:spcPct val="90000"/>
              </a:lnSpc>
              <a:spcAft>
                <a:spcPts val="600"/>
              </a:spcAft>
            </a:pPr>
            <a:r>
              <a:rPr lang="en-US" sz="1371">
                <a:solidFill>
                  <a:srgbClr val="FFFFFF"/>
                </a:solidFill>
                <a:latin typeface="Segoe UI"/>
              </a:rPr>
              <a:t>Pay as you go: pay by minute, start, stop on-demand</a:t>
            </a:r>
          </a:p>
          <a:p>
            <a:pPr defTabSz="914192">
              <a:lnSpc>
                <a:spcPct val="90000"/>
              </a:lnSpc>
              <a:spcAft>
                <a:spcPts val="600"/>
              </a:spcAft>
            </a:pPr>
            <a:endParaRPr lang="en-US" sz="1371">
              <a:solidFill>
                <a:srgbClr val="FFFFFF"/>
              </a:solidFill>
              <a:latin typeface="Segoe UI"/>
            </a:endParaRPr>
          </a:p>
          <a:p>
            <a:pPr defTabSz="914192">
              <a:lnSpc>
                <a:spcPct val="90000"/>
              </a:lnSpc>
              <a:spcAft>
                <a:spcPts val="600"/>
              </a:spcAft>
            </a:pPr>
            <a:r>
              <a:rPr lang="en-US" sz="1371">
                <a:solidFill>
                  <a:srgbClr val="FFFFFF"/>
                </a:solidFill>
                <a:latin typeface="Segoe UI"/>
              </a:rPr>
              <a:t>Scale-up and scale-out</a:t>
            </a:r>
          </a:p>
        </p:txBody>
      </p:sp>
      <p:sp>
        <p:nvSpPr>
          <p:cNvPr id="3" name="Rectangle 2">
            <a:extLst>
              <a:ext uri="{FF2B5EF4-FFF2-40B4-BE49-F238E27FC236}">
                <a16:creationId xmlns:a16="http://schemas.microsoft.com/office/drawing/2014/main" id="{98D12CEA-328E-40A0-8850-80CC8F3BFFA7}"/>
              </a:ext>
            </a:extLst>
          </p:cNvPr>
          <p:cNvSpPr/>
          <p:nvPr/>
        </p:nvSpPr>
        <p:spPr>
          <a:xfrm>
            <a:off x="7362826" y="4193640"/>
            <a:ext cx="2205369" cy="1574824"/>
          </a:xfrm>
          <a:prstGeom prst="rect">
            <a:avLst/>
          </a:prstGeom>
        </p:spPr>
        <p:txBody>
          <a:bodyPr wrap="square">
            <a:spAutoFit/>
          </a:bodyPr>
          <a:lstStyle/>
          <a:p>
            <a:pPr defTabSz="914192">
              <a:lnSpc>
                <a:spcPct val="90000"/>
              </a:lnSpc>
              <a:spcAft>
                <a:spcPts val="600"/>
              </a:spcAft>
            </a:pPr>
            <a:r>
              <a:rPr lang="en-US" sz="1567">
                <a:solidFill>
                  <a:srgbClr val="FFFFFF"/>
                </a:solidFill>
                <a:latin typeface="Segoe UI"/>
              </a:rPr>
              <a:t>Native, Zero code integration with 15+ Azure services</a:t>
            </a:r>
          </a:p>
          <a:p>
            <a:pPr defTabSz="914192">
              <a:lnSpc>
                <a:spcPct val="90000"/>
              </a:lnSpc>
              <a:spcAft>
                <a:spcPts val="600"/>
              </a:spcAft>
            </a:pPr>
            <a:endParaRPr lang="en-US" sz="1567">
              <a:solidFill>
                <a:srgbClr val="FFFFFF"/>
              </a:solidFill>
              <a:latin typeface="Segoe UI"/>
            </a:endParaRPr>
          </a:p>
          <a:p>
            <a:pPr defTabSz="914192">
              <a:lnSpc>
                <a:spcPct val="90000"/>
              </a:lnSpc>
              <a:spcAft>
                <a:spcPts val="600"/>
              </a:spcAft>
            </a:pPr>
            <a:r>
              <a:rPr lang="en-US" sz="1567">
                <a:solidFill>
                  <a:srgbClr val="FFFFFF"/>
                </a:solidFill>
                <a:latin typeface="Segoe UI"/>
              </a:rPr>
              <a:t>“&lt;5 minutes to solution”</a:t>
            </a:r>
          </a:p>
        </p:txBody>
      </p:sp>
      <p:sp>
        <p:nvSpPr>
          <p:cNvPr id="4" name="Rectangle 3">
            <a:extLst>
              <a:ext uri="{FF2B5EF4-FFF2-40B4-BE49-F238E27FC236}">
                <a16:creationId xmlns:a16="http://schemas.microsoft.com/office/drawing/2014/main" id="{77953CF4-0F3D-48C3-B2C0-4FB8DFFB233F}"/>
              </a:ext>
            </a:extLst>
          </p:cNvPr>
          <p:cNvSpPr/>
          <p:nvPr/>
        </p:nvSpPr>
        <p:spPr>
          <a:xfrm>
            <a:off x="9795251" y="4193640"/>
            <a:ext cx="2500374" cy="2310433"/>
          </a:xfrm>
          <a:prstGeom prst="rect">
            <a:avLst/>
          </a:prstGeom>
        </p:spPr>
        <p:txBody>
          <a:bodyPr wrap="square" anchor="t">
            <a:spAutoFit/>
          </a:bodyPr>
          <a:lstStyle/>
          <a:p>
            <a:pPr defTabSz="914192">
              <a:lnSpc>
                <a:spcPct val="90000"/>
              </a:lnSpc>
              <a:spcAft>
                <a:spcPts val="600"/>
              </a:spcAft>
            </a:pPr>
            <a:r>
              <a:rPr lang="en-US" sz="1550">
                <a:solidFill>
                  <a:srgbClr val="FFFFFF"/>
                </a:solidFill>
                <a:latin typeface="Segoe UI"/>
              </a:rPr>
              <a:t>99.9% job level SLA </a:t>
            </a:r>
            <a:endParaRPr lang="en-US" sz="1567">
              <a:solidFill>
                <a:srgbClr val="FFFFFF"/>
              </a:solidFill>
              <a:latin typeface="Segoe UI"/>
            </a:endParaRPr>
          </a:p>
          <a:p>
            <a:pPr defTabSz="914192">
              <a:lnSpc>
                <a:spcPct val="90000"/>
              </a:lnSpc>
              <a:spcAft>
                <a:spcPts val="600"/>
              </a:spcAft>
            </a:pPr>
            <a:endParaRPr lang="en-US" sz="1567">
              <a:solidFill>
                <a:srgbClr val="FFFFFF"/>
              </a:solidFill>
              <a:latin typeface="Segoe UI"/>
            </a:endParaRPr>
          </a:p>
          <a:p>
            <a:pPr defTabSz="914192">
              <a:lnSpc>
                <a:spcPct val="90000"/>
              </a:lnSpc>
              <a:spcAft>
                <a:spcPts val="600"/>
              </a:spcAft>
            </a:pPr>
            <a:r>
              <a:rPr lang="en-US" sz="1550">
                <a:solidFill>
                  <a:srgbClr val="FFFFFF"/>
                </a:solidFill>
                <a:latin typeface="Segoe UI"/>
              </a:rPr>
              <a:t>Highly certified and compliant</a:t>
            </a:r>
            <a:endParaRPr lang="en-US" sz="1550">
              <a:solidFill>
                <a:srgbClr val="FFFFFF"/>
              </a:solidFill>
              <a:latin typeface="Segoe UI"/>
              <a:cs typeface="Segoe UI"/>
            </a:endParaRPr>
          </a:p>
          <a:p>
            <a:pPr defTabSz="914192">
              <a:lnSpc>
                <a:spcPct val="90000"/>
              </a:lnSpc>
              <a:spcAft>
                <a:spcPts val="600"/>
              </a:spcAft>
            </a:pPr>
            <a:endParaRPr lang="en-US" sz="1567">
              <a:solidFill>
                <a:srgbClr val="FFFFFF"/>
              </a:solidFill>
              <a:latin typeface="Segoe UI"/>
            </a:endParaRPr>
          </a:p>
          <a:p>
            <a:pPr defTabSz="914192">
              <a:lnSpc>
                <a:spcPct val="90000"/>
              </a:lnSpc>
              <a:spcAft>
                <a:spcPts val="600"/>
              </a:spcAft>
            </a:pPr>
            <a:r>
              <a:rPr lang="en-US" sz="1550">
                <a:solidFill>
                  <a:srgbClr val="FFFFFF"/>
                </a:solidFill>
                <a:latin typeface="Segoe UI"/>
              </a:rPr>
              <a:t>26 regions worldwide</a:t>
            </a:r>
          </a:p>
          <a:p>
            <a:pPr defTabSz="914192">
              <a:lnSpc>
                <a:spcPct val="90000"/>
              </a:lnSpc>
              <a:spcAft>
                <a:spcPts val="600"/>
              </a:spcAft>
            </a:pPr>
            <a:endParaRPr lang="en-US" sz="1550">
              <a:solidFill>
                <a:srgbClr val="FFFFFF"/>
              </a:solidFill>
              <a:latin typeface="Segoe UI"/>
            </a:endParaRPr>
          </a:p>
          <a:p>
            <a:pPr defTabSz="914192">
              <a:lnSpc>
                <a:spcPct val="90000"/>
              </a:lnSpc>
              <a:spcAft>
                <a:spcPts val="600"/>
              </a:spcAft>
            </a:pPr>
            <a:r>
              <a:rPr lang="en-US" sz="1550">
                <a:solidFill>
                  <a:srgbClr val="FFFFFF"/>
                </a:solidFill>
                <a:latin typeface="Segoe UI"/>
              </a:rPr>
              <a:t>Millisecond latencies</a:t>
            </a:r>
          </a:p>
        </p:txBody>
      </p:sp>
      <p:sp>
        <p:nvSpPr>
          <p:cNvPr id="8" name="Title 7">
            <a:extLst>
              <a:ext uri="{FF2B5EF4-FFF2-40B4-BE49-F238E27FC236}">
                <a16:creationId xmlns:a16="http://schemas.microsoft.com/office/drawing/2014/main" id="{BF329DAF-45E6-4E91-9F7F-F089D9821343}"/>
              </a:ext>
            </a:extLst>
          </p:cNvPr>
          <p:cNvSpPr>
            <a:spLocks noGrp="1"/>
          </p:cNvSpPr>
          <p:nvPr>
            <p:ph type="title"/>
          </p:nvPr>
        </p:nvSpPr>
        <p:spPr>
          <a:xfrm>
            <a:off x="588263" y="457200"/>
            <a:ext cx="11018520" cy="1661993"/>
          </a:xfrm>
        </p:spPr>
        <p:txBody>
          <a:bodyPr/>
          <a:lstStyle/>
          <a:p>
            <a:r>
              <a:rPr lang="en-US" dirty="0"/>
              <a:t>Azure Stream Analytics: Fully Managed PaaS offering for real-time analytics</a:t>
            </a:r>
            <a:br>
              <a:rPr lang="en-US" dirty="0"/>
            </a:br>
            <a:endParaRPr lang="en-US" dirty="0"/>
          </a:p>
        </p:txBody>
      </p:sp>
    </p:spTree>
    <p:extLst>
      <p:ext uri="{BB962C8B-B14F-4D97-AF65-F5344CB8AC3E}">
        <p14:creationId xmlns:p14="http://schemas.microsoft.com/office/powerpoint/2010/main" val="181251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3154507"/>
            <a:ext cx="9339516" cy="548985"/>
          </a:xfrm>
        </p:spPr>
        <p:txBody>
          <a:bodyPr/>
          <a:lstStyle/>
          <a:p>
            <a:r>
              <a:rPr lang="en-US" sz="4400" dirty="0">
                <a:gradFill>
                  <a:gsLst>
                    <a:gs pos="0">
                      <a:schemeClr val="accent5"/>
                    </a:gs>
                    <a:gs pos="100000">
                      <a:schemeClr val="accent4"/>
                    </a:gs>
                  </a:gsLst>
                  <a:lin ang="2700000" scaled="1"/>
                </a:gradFill>
              </a:rPr>
              <a:t>Insights and Actions from IoT data</a:t>
            </a:r>
          </a:p>
        </p:txBody>
      </p:sp>
    </p:spTree>
    <p:extLst>
      <p:ext uri="{BB962C8B-B14F-4D97-AF65-F5344CB8AC3E}">
        <p14:creationId xmlns:p14="http://schemas.microsoft.com/office/powerpoint/2010/main" val="4016445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2.5E-6 0 L -2.5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21F7-19CD-6B4A-8900-FB4BCB77EC8A}"/>
              </a:ext>
            </a:extLst>
          </p:cNvPr>
          <p:cNvSpPr>
            <a:spLocks noGrp="1"/>
          </p:cNvSpPr>
          <p:nvPr>
            <p:ph type="title"/>
          </p:nvPr>
        </p:nvSpPr>
        <p:spPr/>
        <p:txBody>
          <a:bodyPr/>
          <a:lstStyle/>
          <a:p>
            <a:r>
              <a:rPr lang="en-US"/>
              <a:t>Augment your existing reports with IoT Data</a:t>
            </a:r>
          </a:p>
        </p:txBody>
      </p:sp>
      <p:pic>
        <p:nvPicPr>
          <p:cNvPr id="6" name="Picture 5">
            <a:extLst>
              <a:ext uri="{FF2B5EF4-FFF2-40B4-BE49-F238E27FC236}">
                <a16:creationId xmlns:a16="http://schemas.microsoft.com/office/drawing/2014/main" id="{A7B5217D-8394-4C85-86D7-1514D6807B7B}"/>
              </a:ext>
            </a:extLst>
          </p:cNvPr>
          <p:cNvPicPr>
            <a:picLocks noChangeAspect="1"/>
          </p:cNvPicPr>
          <p:nvPr/>
        </p:nvPicPr>
        <p:blipFill>
          <a:blip r:embed="rId3"/>
          <a:stretch>
            <a:fillRect/>
          </a:stretch>
        </p:blipFill>
        <p:spPr>
          <a:xfrm>
            <a:off x="1680918" y="1204732"/>
            <a:ext cx="8830162" cy="4983276"/>
          </a:xfrm>
          <a:prstGeom prst="rect">
            <a:avLst/>
          </a:prstGeom>
        </p:spPr>
      </p:pic>
    </p:spTree>
    <p:extLst>
      <p:ext uri="{BB962C8B-B14F-4D97-AF65-F5344CB8AC3E}">
        <p14:creationId xmlns:p14="http://schemas.microsoft.com/office/powerpoint/2010/main" val="200495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21F7-19CD-6B4A-8900-FB4BCB77EC8A}"/>
              </a:ext>
            </a:extLst>
          </p:cNvPr>
          <p:cNvSpPr>
            <a:spLocks noGrp="1"/>
          </p:cNvSpPr>
          <p:nvPr>
            <p:ph type="title"/>
          </p:nvPr>
        </p:nvSpPr>
        <p:spPr/>
        <p:txBody>
          <a:bodyPr/>
          <a:lstStyle/>
          <a:p>
            <a:r>
              <a:rPr lang="en-US"/>
              <a:t>Augment your existing reports with IoT Data</a:t>
            </a:r>
          </a:p>
        </p:txBody>
      </p:sp>
      <p:pic>
        <p:nvPicPr>
          <p:cNvPr id="6" name="Picture 5">
            <a:extLst>
              <a:ext uri="{FF2B5EF4-FFF2-40B4-BE49-F238E27FC236}">
                <a16:creationId xmlns:a16="http://schemas.microsoft.com/office/drawing/2014/main" id="{A7B5217D-8394-4C85-86D7-1514D6807B7B}"/>
              </a:ext>
            </a:extLst>
          </p:cNvPr>
          <p:cNvPicPr>
            <a:picLocks noChangeAspect="1"/>
          </p:cNvPicPr>
          <p:nvPr/>
        </p:nvPicPr>
        <p:blipFill>
          <a:blip r:embed="rId3"/>
          <a:stretch>
            <a:fillRect/>
          </a:stretch>
        </p:blipFill>
        <p:spPr>
          <a:xfrm>
            <a:off x="1680918" y="1266278"/>
            <a:ext cx="8830162" cy="4983276"/>
          </a:xfrm>
          <a:prstGeom prst="rect">
            <a:avLst/>
          </a:prstGeom>
        </p:spPr>
      </p:pic>
      <p:sp>
        <p:nvSpPr>
          <p:cNvPr id="4" name="Rectangle 3">
            <a:extLst>
              <a:ext uri="{FF2B5EF4-FFF2-40B4-BE49-F238E27FC236}">
                <a16:creationId xmlns:a16="http://schemas.microsoft.com/office/drawing/2014/main" id="{DA821043-3655-4B01-B118-523B324135AA}"/>
              </a:ext>
            </a:extLst>
          </p:cNvPr>
          <p:cNvSpPr/>
          <p:nvPr/>
        </p:nvSpPr>
        <p:spPr>
          <a:xfrm>
            <a:off x="5293168" y="4864546"/>
            <a:ext cx="2876474" cy="492443"/>
          </a:xfrm>
          <a:prstGeom prst="rect">
            <a:avLst/>
          </a:prstGeom>
          <a:solidFill>
            <a:schemeClr val="tx1">
              <a:lumMod val="85000"/>
              <a:alpha val="89804"/>
            </a:schemeClr>
          </a:solidFill>
          <a:ln w="127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825500" hangingPunct="0"/>
            <a:endParaRPr lang="en-GB" sz="3200" kern="0">
              <a:solidFill>
                <a:srgbClr val="FFFFFF"/>
              </a:solidFill>
              <a:latin typeface="Helvetica Neue Medium"/>
              <a:sym typeface="Helvetica Neue Medium"/>
            </a:endParaRPr>
          </a:p>
        </p:txBody>
      </p:sp>
      <p:sp>
        <p:nvSpPr>
          <p:cNvPr id="5" name="TextBox 4">
            <a:extLst>
              <a:ext uri="{FF2B5EF4-FFF2-40B4-BE49-F238E27FC236}">
                <a16:creationId xmlns:a16="http://schemas.microsoft.com/office/drawing/2014/main" id="{7A246643-B354-428C-8A2A-8066F67C3850}"/>
              </a:ext>
            </a:extLst>
          </p:cNvPr>
          <p:cNvSpPr txBox="1"/>
          <p:nvPr/>
        </p:nvSpPr>
        <p:spPr>
          <a:xfrm>
            <a:off x="6119058" y="5245336"/>
            <a:ext cx="1224694"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algn="ctr" defTabSz="825500" hangingPunct="0">
              <a:lnSpc>
                <a:spcPct val="70000"/>
              </a:lnSpc>
            </a:pPr>
            <a:r>
              <a:rPr lang="fr-FR" sz="2000" kern="0" spc="-100">
                <a:solidFill>
                  <a:srgbClr val="008575">
                    <a:lumMod val="50000"/>
                  </a:srgbClr>
                </a:solidFill>
                <a:latin typeface="Segoe UI" panose="020B0502040204020203" pitchFamily="34" charset="0"/>
                <a:cs typeface="Segoe UI" panose="020B0502040204020203" pitchFamily="34" charset="0"/>
                <a:sym typeface="Segoe UI Semibold"/>
              </a:rPr>
              <a:t>Time </a:t>
            </a:r>
            <a:r>
              <a:rPr lang="fr-FR" sz="2000" kern="0" spc="-100" err="1">
                <a:solidFill>
                  <a:srgbClr val="008575">
                    <a:lumMod val="50000"/>
                  </a:srgbClr>
                </a:solidFill>
                <a:latin typeface="Segoe UI" panose="020B0502040204020203" pitchFamily="34" charset="0"/>
                <a:cs typeface="Segoe UI" panose="020B0502040204020203" pitchFamily="34" charset="0"/>
                <a:sym typeface="Segoe UI Semibold"/>
              </a:rPr>
              <a:t>series</a:t>
            </a:r>
            <a:endParaRPr lang="fr-FR" sz="2000" kern="0" spc="-100">
              <a:solidFill>
                <a:srgbClr val="008575">
                  <a:lumMod val="50000"/>
                </a:srgbClr>
              </a:solidFill>
              <a:latin typeface="Segoe UI" panose="020B0502040204020203" pitchFamily="34" charset="0"/>
              <a:cs typeface="Segoe UI" panose="020B0502040204020203" pitchFamily="34" charset="0"/>
              <a:sym typeface="Segoe UI Semibold"/>
            </a:endParaRPr>
          </a:p>
          <a:p>
            <a:pPr algn="ctr" defTabSz="825500" hangingPunct="0">
              <a:lnSpc>
                <a:spcPct val="70000"/>
              </a:lnSpc>
            </a:pPr>
            <a:r>
              <a:rPr lang="fr-FR" sz="2000" kern="0" spc="-100">
                <a:solidFill>
                  <a:srgbClr val="008575">
                    <a:lumMod val="50000"/>
                  </a:srgbClr>
                </a:solidFill>
                <a:latin typeface="Segoe UI" panose="020B0502040204020203" pitchFamily="34" charset="0"/>
                <a:cs typeface="Segoe UI" panose="020B0502040204020203" pitchFamily="34" charset="0"/>
                <a:sym typeface="Segoe UI Semibold"/>
              </a:rPr>
              <a:t> insights</a:t>
            </a:r>
            <a:endParaRPr lang="en-GB" sz="2000" kern="0" spc="-100">
              <a:solidFill>
                <a:srgbClr val="008575">
                  <a:lumMod val="50000"/>
                </a:srgbClr>
              </a:solidFill>
              <a:latin typeface="Segoe UI" panose="020B0502040204020203" pitchFamily="34" charset="0"/>
              <a:cs typeface="Segoe UI" panose="020B0502040204020203" pitchFamily="34" charset="0"/>
              <a:sym typeface="Segoe UI Semibold"/>
            </a:endParaRPr>
          </a:p>
        </p:txBody>
      </p:sp>
      <p:sp>
        <p:nvSpPr>
          <p:cNvPr id="7" name="Rectangle 6">
            <a:extLst>
              <a:ext uri="{FF2B5EF4-FFF2-40B4-BE49-F238E27FC236}">
                <a16:creationId xmlns:a16="http://schemas.microsoft.com/office/drawing/2014/main" id="{3E3ABCDE-2383-4EC2-9FBE-FD575E26E3B3}"/>
              </a:ext>
            </a:extLst>
          </p:cNvPr>
          <p:cNvSpPr/>
          <p:nvPr/>
        </p:nvSpPr>
        <p:spPr>
          <a:xfrm>
            <a:off x="1804012" y="4888488"/>
            <a:ext cx="3366062" cy="492443"/>
          </a:xfrm>
          <a:prstGeom prst="rect">
            <a:avLst/>
          </a:prstGeom>
          <a:solidFill>
            <a:schemeClr val="tx1">
              <a:lumMod val="85000"/>
              <a:alpha val="89804"/>
            </a:schemeClr>
          </a:solidFill>
          <a:ln w="127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825500" hangingPunct="0"/>
            <a:endParaRPr lang="en-GB" sz="3200" kern="0">
              <a:solidFill>
                <a:srgbClr val="FFFFFF"/>
              </a:solidFill>
              <a:latin typeface="Helvetica Neue Medium"/>
              <a:ea typeface="Helvetica Neue Medium"/>
              <a:cs typeface="Helvetica Neue Medium"/>
              <a:sym typeface="Helvetica Neue Medium"/>
            </a:endParaRPr>
          </a:p>
        </p:txBody>
      </p:sp>
      <p:grpSp>
        <p:nvGrpSpPr>
          <p:cNvPr id="9" name="Group 8">
            <a:extLst>
              <a:ext uri="{FF2B5EF4-FFF2-40B4-BE49-F238E27FC236}">
                <a16:creationId xmlns:a16="http://schemas.microsoft.com/office/drawing/2014/main" id="{0659F347-73E8-4A3C-B6E8-BF4E4A52ABC7}"/>
              </a:ext>
            </a:extLst>
          </p:cNvPr>
          <p:cNvGrpSpPr/>
          <p:nvPr/>
        </p:nvGrpSpPr>
        <p:grpSpPr>
          <a:xfrm>
            <a:off x="2149170" y="4512784"/>
            <a:ext cx="990656" cy="1266030"/>
            <a:chOff x="8236382" y="5111403"/>
            <a:chExt cx="1448936" cy="1668289"/>
          </a:xfrm>
        </p:grpSpPr>
        <p:sp>
          <p:nvSpPr>
            <p:cNvPr id="10" name="TextBox 9">
              <a:extLst>
                <a:ext uri="{FF2B5EF4-FFF2-40B4-BE49-F238E27FC236}">
                  <a16:creationId xmlns:a16="http://schemas.microsoft.com/office/drawing/2014/main" id="{4B2679F8-D323-49D4-A950-4433253CA819}"/>
                </a:ext>
              </a:extLst>
            </p:cNvPr>
            <p:cNvSpPr txBox="1"/>
            <p:nvPr/>
          </p:nvSpPr>
          <p:spPr>
            <a:xfrm>
              <a:off x="8236382" y="6076709"/>
              <a:ext cx="1448936" cy="7029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algn="ctr" defTabSz="825500" hangingPunct="0">
                <a:lnSpc>
                  <a:spcPct val="70000"/>
                </a:lnSpc>
              </a:pPr>
              <a:r>
                <a:rPr lang="en-US" sz="2000" kern="0" spc="-100">
                  <a:solidFill>
                    <a:srgbClr val="008575">
                      <a:lumMod val="50000"/>
                    </a:srgbClr>
                  </a:solidFill>
                  <a:latin typeface="Segoe UI" panose="020B0502040204020203" pitchFamily="34" charset="0"/>
                  <a:cs typeface="Segoe UI" panose="020B0502040204020203" pitchFamily="34" charset="0"/>
                  <a:sym typeface="Segoe UI Semibold"/>
                </a:rPr>
                <a:t>Stream </a:t>
              </a:r>
            </a:p>
            <a:p>
              <a:pPr algn="ctr" defTabSz="825500" hangingPunct="0">
                <a:lnSpc>
                  <a:spcPct val="70000"/>
                </a:lnSpc>
              </a:pPr>
              <a:r>
                <a:rPr lang="en-US" sz="2000" kern="0" spc="-100">
                  <a:solidFill>
                    <a:srgbClr val="008575">
                      <a:lumMod val="50000"/>
                    </a:srgbClr>
                  </a:solidFill>
                  <a:latin typeface="Segoe UI" panose="020B0502040204020203" pitchFamily="34" charset="0"/>
                  <a:cs typeface="Segoe UI" panose="020B0502040204020203" pitchFamily="34" charset="0"/>
                  <a:sym typeface="Segoe UI Semibold"/>
                </a:rPr>
                <a:t>Analytics</a:t>
              </a:r>
            </a:p>
          </p:txBody>
        </p:sp>
        <p:pic>
          <p:nvPicPr>
            <p:cNvPr id="11" name="Graphic 10">
              <a:extLst>
                <a:ext uri="{FF2B5EF4-FFF2-40B4-BE49-F238E27FC236}">
                  <a16:creationId xmlns:a16="http://schemas.microsoft.com/office/drawing/2014/main" id="{39E2CD64-D19A-4079-81FF-D45F1A15B0D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25911" y="5111403"/>
              <a:ext cx="869878" cy="869879"/>
            </a:xfrm>
            <a:prstGeom prst="rect">
              <a:avLst/>
            </a:prstGeom>
          </p:spPr>
        </p:pic>
      </p:grpSp>
      <p:pic>
        <p:nvPicPr>
          <p:cNvPr id="13" name="Graphic 12">
            <a:extLst>
              <a:ext uri="{FF2B5EF4-FFF2-40B4-BE49-F238E27FC236}">
                <a16:creationId xmlns:a16="http://schemas.microsoft.com/office/drawing/2014/main" id="{F4424A41-B671-4162-91CE-0CC5E82B87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00188" y="4679774"/>
            <a:ext cx="573400" cy="573400"/>
          </a:xfrm>
          <a:prstGeom prst="rect">
            <a:avLst/>
          </a:prstGeom>
        </p:spPr>
      </p:pic>
      <p:pic>
        <p:nvPicPr>
          <p:cNvPr id="3" name="Graphic 40">
            <a:extLst>
              <a:ext uri="{FF2B5EF4-FFF2-40B4-BE49-F238E27FC236}">
                <a16:creationId xmlns:a16="http://schemas.microsoft.com/office/drawing/2014/main" id="{995AA909-DEE7-4171-9207-0ED52933B65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39367" y="4594581"/>
            <a:ext cx="584075" cy="584075"/>
          </a:xfrm>
          <a:prstGeom prst="rect">
            <a:avLst/>
          </a:prstGeom>
        </p:spPr>
      </p:pic>
      <p:sp>
        <p:nvSpPr>
          <p:cNvPr id="8" name="TextBox 7">
            <a:extLst>
              <a:ext uri="{FF2B5EF4-FFF2-40B4-BE49-F238E27FC236}">
                <a16:creationId xmlns:a16="http://schemas.microsoft.com/office/drawing/2014/main" id="{CC8B33F1-9D90-4FCA-8407-5782887305E1}"/>
              </a:ext>
            </a:extLst>
          </p:cNvPr>
          <p:cNvSpPr txBox="1"/>
          <p:nvPr/>
        </p:nvSpPr>
        <p:spPr>
          <a:xfrm>
            <a:off x="3759532" y="5357413"/>
            <a:ext cx="1158972" cy="3180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algn="ctr" defTabSz="825500" hangingPunct="0">
              <a:lnSpc>
                <a:spcPct val="70000"/>
              </a:lnSpc>
            </a:pPr>
            <a:r>
              <a:rPr lang="en-US" sz="2000" kern="0" spc="-100">
                <a:solidFill>
                  <a:srgbClr val="008575">
                    <a:lumMod val="50000"/>
                  </a:srgbClr>
                </a:solidFill>
                <a:latin typeface="Segoe UI" panose="020B0502040204020203" pitchFamily="34" charset="0"/>
                <a:cs typeface="Segoe UI" panose="020B0502040204020203" pitchFamily="34" charset="0"/>
                <a:sym typeface="Segoe UI Semibold"/>
              </a:rPr>
              <a:t>Azure SQL</a:t>
            </a:r>
          </a:p>
        </p:txBody>
      </p:sp>
      <p:cxnSp>
        <p:nvCxnSpPr>
          <p:cNvPr id="18" name="Straight Arrow Connector 17">
            <a:extLst>
              <a:ext uri="{FF2B5EF4-FFF2-40B4-BE49-F238E27FC236}">
                <a16:creationId xmlns:a16="http://schemas.microsoft.com/office/drawing/2014/main" id="{40293B6A-56D8-42B4-9CD8-A98558AA3AEA}"/>
              </a:ext>
            </a:extLst>
          </p:cNvPr>
          <p:cNvCxnSpPr>
            <a:cxnSpLocks/>
          </p:cNvCxnSpPr>
          <p:nvPr/>
        </p:nvCxnSpPr>
        <p:spPr>
          <a:xfrm>
            <a:off x="3047428" y="5110766"/>
            <a:ext cx="639938" cy="0"/>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1" name="Rectangle 20">
            <a:extLst>
              <a:ext uri="{FF2B5EF4-FFF2-40B4-BE49-F238E27FC236}">
                <a16:creationId xmlns:a16="http://schemas.microsoft.com/office/drawing/2014/main" id="{8D57427F-3A44-4FF0-A296-FC9970648A80}"/>
              </a:ext>
            </a:extLst>
          </p:cNvPr>
          <p:cNvSpPr/>
          <p:nvPr/>
        </p:nvSpPr>
        <p:spPr>
          <a:xfrm>
            <a:off x="1804013" y="2820806"/>
            <a:ext cx="2329961" cy="492443"/>
          </a:xfrm>
          <a:prstGeom prst="rect">
            <a:avLst/>
          </a:prstGeom>
          <a:solidFill>
            <a:schemeClr val="tx1">
              <a:lumMod val="85000"/>
              <a:alpha val="89804"/>
            </a:schemeClr>
          </a:solidFill>
          <a:ln w="127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825500" hangingPunct="0"/>
            <a:endParaRPr lang="en-GB" sz="3200" kern="0">
              <a:solidFill>
                <a:srgbClr val="FFFFFF"/>
              </a:solidFill>
              <a:latin typeface="Helvetica Neue Medium"/>
              <a:ea typeface="Helvetica Neue Medium"/>
              <a:cs typeface="Helvetica Neue Medium"/>
              <a:sym typeface="Helvetica Neue Medium"/>
            </a:endParaRPr>
          </a:p>
        </p:txBody>
      </p:sp>
      <p:sp>
        <p:nvSpPr>
          <p:cNvPr id="22" name="Rectangle 21">
            <a:extLst>
              <a:ext uri="{FF2B5EF4-FFF2-40B4-BE49-F238E27FC236}">
                <a16:creationId xmlns:a16="http://schemas.microsoft.com/office/drawing/2014/main" id="{AA494C3F-D456-496E-BC41-75E555D3DAE4}"/>
              </a:ext>
            </a:extLst>
          </p:cNvPr>
          <p:cNvSpPr/>
          <p:nvPr/>
        </p:nvSpPr>
        <p:spPr>
          <a:xfrm>
            <a:off x="4573588" y="2820806"/>
            <a:ext cx="3366062" cy="492443"/>
          </a:xfrm>
          <a:prstGeom prst="rect">
            <a:avLst/>
          </a:prstGeom>
          <a:solidFill>
            <a:schemeClr val="tx1">
              <a:lumMod val="85000"/>
              <a:alpha val="89804"/>
            </a:schemeClr>
          </a:solidFill>
          <a:ln w="127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825500" hangingPunct="0"/>
            <a:endParaRPr lang="en-GB" sz="3200" kern="0">
              <a:solidFill>
                <a:srgbClr val="FFFFFF"/>
              </a:solidFill>
              <a:latin typeface="Helvetica Neue Medium"/>
              <a:ea typeface="Helvetica Neue Medium"/>
              <a:cs typeface="Helvetica Neue Medium"/>
              <a:sym typeface="Helvetica Neue Medium"/>
            </a:endParaRPr>
          </a:p>
        </p:txBody>
      </p:sp>
      <p:sp>
        <p:nvSpPr>
          <p:cNvPr id="23" name="Rectangle 22">
            <a:extLst>
              <a:ext uri="{FF2B5EF4-FFF2-40B4-BE49-F238E27FC236}">
                <a16:creationId xmlns:a16="http://schemas.microsoft.com/office/drawing/2014/main" id="{83CFF130-42C3-4C81-9019-730E5319011E}"/>
              </a:ext>
            </a:extLst>
          </p:cNvPr>
          <p:cNvSpPr/>
          <p:nvPr/>
        </p:nvSpPr>
        <p:spPr>
          <a:xfrm>
            <a:off x="8240501" y="3507257"/>
            <a:ext cx="2147489" cy="492443"/>
          </a:xfrm>
          <a:prstGeom prst="rect">
            <a:avLst/>
          </a:prstGeom>
          <a:solidFill>
            <a:schemeClr val="tx1">
              <a:lumMod val="85000"/>
              <a:alpha val="89804"/>
            </a:schemeClr>
          </a:solidFill>
          <a:ln w="127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825500" hangingPunct="0"/>
            <a:endParaRPr lang="en-GB" sz="3200" kern="0">
              <a:solidFill>
                <a:srgbClr val="FFFFFF"/>
              </a:solidFill>
              <a:latin typeface="Helvetica Neue Medium"/>
              <a:ea typeface="Helvetica Neue Medium"/>
              <a:cs typeface="Helvetica Neue Medium"/>
              <a:sym typeface="Helvetica Neue Medium"/>
            </a:endParaRPr>
          </a:p>
        </p:txBody>
      </p:sp>
      <p:sp>
        <p:nvSpPr>
          <p:cNvPr id="25" name="TextBox 24">
            <a:extLst>
              <a:ext uri="{FF2B5EF4-FFF2-40B4-BE49-F238E27FC236}">
                <a16:creationId xmlns:a16="http://schemas.microsoft.com/office/drawing/2014/main" id="{621AB7E1-F9CC-4209-84CE-2D8AFE8373A3}"/>
              </a:ext>
            </a:extLst>
          </p:cNvPr>
          <p:cNvSpPr txBox="1"/>
          <p:nvPr/>
        </p:nvSpPr>
        <p:spPr>
          <a:xfrm>
            <a:off x="8713947" y="3131808"/>
            <a:ext cx="1267975" cy="7489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algn="ctr" defTabSz="825500" hangingPunct="0">
              <a:lnSpc>
                <a:spcPct val="70000"/>
              </a:lnSpc>
            </a:pPr>
            <a:r>
              <a:rPr lang="fr-FR" sz="2000" kern="0" spc="-100" err="1">
                <a:solidFill>
                  <a:srgbClr val="008575">
                    <a:lumMod val="50000"/>
                  </a:srgbClr>
                </a:solidFill>
                <a:latin typeface="Segoe UI" panose="020B0502040204020203" pitchFamily="34" charset="0"/>
                <a:cs typeface="Segoe UI" panose="020B0502040204020203" pitchFamily="34" charset="0"/>
                <a:sym typeface="Segoe UI Semibold"/>
              </a:rPr>
              <a:t>PowerApps</a:t>
            </a:r>
            <a:endParaRPr lang="fr-FR" sz="2000" kern="0" spc="-100">
              <a:solidFill>
                <a:srgbClr val="008575">
                  <a:lumMod val="50000"/>
                </a:srgbClr>
              </a:solidFill>
              <a:latin typeface="Segoe UI" panose="020B0502040204020203" pitchFamily="34" charset="0"/>
              <a:cs typeface="Segoe UI" panose="020B0502040204020203" pitchFamily="34" charset="0"/>
              <a:sym typeface="Segoe UI Semibold"/>
            </a:endParaRPr>
          </a:p>
          <a:p>
            <a:pPr algn="ctr" defTabSz="825500" hangingPunct="0">
              <a:lnSpc>
                <a:spcPct val="70000"/>
              </a:lnSpc>
            </a:pPr>
            <a:br>
              <a:rPr lang="fr-FR" sz="2000" kern="0" spc="-100">
                <a:solidFill>
                  <a:srgbClr val="008575">
                    <a:lumMod val="50000"/>
                  </a:srgbClr>
                </a:solidFill>
                <a:latin typeface="Segoe UI" panose="020B0502040204020203" pitchFamily="34" charset="0"/>
                <a:cs typeface="Segoe UI" panose="020B0502040204020203" pitchFamily="34" charset="0"/>
                <a:sym typeface="Segoe UI Semibold"/>
              </a:rPr>
            </a:br>
            <a:r>
              <a:rPr lang="fr-FR" sz="2000" kern="0" spc="-100">
                <a:solidFill>
                  <a:srgbClr val="008575">
                    <a:lumMod val="50000"/>
                  </a:srgbClr>
                </a:solidFill>
                <a:latin typeface="Segoe UI" panose="020B0502040204020203" pitchFamily="34" charset="0"/>
                <a:cs typeface="Segoe UI" panose="020B0502040204020203" pitchFamily="34" charset="0"/>
                <a:sym typeface="Segoe UI Semibold"/>
              </a:rPr>
              <a:t>application</a:t>
            </a:r>
            <a:endParaRPr lang="en-GB" sz="2000" kern="0" spc="-100">
              <a:solidFill>
                <a:srgbClr val="008575">
                  <a:lumMod val="50000"/>
                </a:srgbClr>
              </a:solidFill>
              <a:latin typeface="Segoe UI" panose="020B0502040204020203" pitchFamily="34" charset="0"/>
              <a:cs typeface="Segoe UI" panose="020B0502040204020203" pitchFamily="34" charset="0"/>
              <a:sym typeface="Segoe UI Semibold"/>
            </a:endParaRPr>
          </a:p>
        </p:txBody>
      </p:sp>
      <p:sp>
        <p:nvSpPr>
          <p:cNvPr id="26" name="TextBox 25">
            <a:extLst>
              <a:ext uri="{FF2B5EF4-FFF2-40B4-BE49-F238E27FC236}">
                <a16:creationId xmlns:a16="http://schemas.microsoft.com/office/drawing/2014/main" id="{4283EFEC-1A78-41CE-B6BD-FC8163495C1F}"/>
              </a:ext>
            </a:extLst>
          </p:cNvPr>
          <p:cNvSpPr txBox="1"/>
          <p:nvPr/>
        </p:nvSpPr>
        <p:spPr>
          <a:xfrm>
            <a:off x="4573588" y="3069928"/>
            <a:ext cx="3366062"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r>
              <a:rPr lang="fr-FR" sz="2000" kern="0" spc="-100" err="1">
                <a:solidFill>
                  <a:srgbClr val="008575">
                    <a:lumMod val="50000"/>
                  </a:srgbClr>
                </a:solidFill>
                <a:latin typeface="Segoe UI" panose="020B0502040204020203" pitchFamily="34" charset="0"/>
                <a:cs typeface="Segoe UI" panose="020B0502040204020203" pitchFamily="34" charset="0"/>
                <a:sym typeface="Segoe UI Semibold"/>
              </a:rPr>
              <a:t>Postgresql</a:t>
            </a:r>
            <a:br>
              <a:rPr lang="fr-FR" sz="2000" kern="0" spc="-100">
                <a:solidFill>
                  <a:srgbClr val="008575">
                    <a:lumMod val="50000"/>
                  </a:srgbClr>
                </a:solidFill>
                <a:latin typeface="Segoe UI" panose="020B0502040204020203" pitchFamily="34" charset="0"/>
                <a:cs typeface="Segoe UI" panose="020B0502040204020203" pitchFamily="34" charset="0"/>
                <a:sym typeface="Segoe UI Semibold"/>
              </a:rPr>
            </a:br>
            <a:r>
              <a:rPr lang="fr-FR" sz="2000" kern="0" spc="-100" err="1">
                <a:solidFill>
                  <a:srgbClr val="008575">
                    <a:lumMod val="50000"/>
                  </a:srgbClr>
                </a:solidFill>
                <a:latin typeface="Segoe UI" panose="020B0502040204020203" pitchFamily="34" charset="0"/>
                <a:cs typeface="Segoe UI" panose="020B0502040204020203" pitchFamily="34" charset="0"/>
                <a:sym typeface="Segoe UI Semibold"/>
              </a:rPr>
              <a:t>database</a:t>
            </a:r>
            <a:endParaRPr lang="en-GB" sz="2000" kern="0" spc="-100">
              <a:solidFill>
                <a:srgbClr val="008575">
                  <a:lumMod val="50000"/>
                </a:srgbClr>
              </a:solidFill>
              <a:latin typeface="Segoe UI" panose="020B0502040204020203" pitchFamily="34" charset="0"/>
              <a:cs typeface="Segoe UI" panose="020B0502040204020203" pitchFamily="34" charset="0"/>
              <a:sym typeface="Segoe UI Semibold"/>
            </a:endParaRPr>
          </a:p>
        </p:txBody>
      </p:sp>
      <p:sp>
        <p:nvSpPr>
          <p:cNvPr id="27" name="TextBox 26">
            <a:extLst>
              <a:ext uri="{FF2B5EF4-FFF2-40B4-BE49-F238E27FC236}">
                <a16:creationId xmlns:a16="http://schemas.microsoft.com/office/drawing/2014/main" id="{FBF81D7A-DD0A-4043-B529-EF8918171DAF}"/>
              </a:ext>
            </a:extLst>
          </p:cNvPr>
          <p:cNvSpPr txBox="1"/>
          <p:nvPr/>
        </p:nvSpPr>
        <p:spPr>
          <a:xfrm>
            <a:off x="2338931" y="3006657"/>
            <a:ext cx="1162177"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algn="ctr" defTabSz="825500" hangingPunct="0"/>
            <a:r>
              <a:rPr lang="fr-FR" sz="2000" kern="0" spc="-100" err="1">
                <a:solidFill>
                  <a:srgbClr val="008575">
                    <a:lumMod val="50000"/>
                  </a:srgbClr>
                </a:solidFill>
                <a:latin typeface="Segoe UI" panose="020B0502040204020203" pitchFamily="34" charset="0"/>
                <a:cs typeface="Segoe UI" panose="020B0502040204020203" pitchFamily="34" charset="0"/>
                <a:sym typeface="Segoe UI Semibold"/>
              </a:rPr>
              <a:t>Postgresql</a:t>
            </a:r>
            <a:br>
              <a:rPr lang="fr-FR" sz="2000" kern="0" spc="-100">
                <a:solidFill>
                  <a:srgbClr val="008575">
                    <a:lumMod val="50000"/>
                  </a:srgbClr>
                </a:solidFill>
                <a:latin typeface="Segoe UI" panose="020B0502040204020203" pitchFamily="34" charset="0"/>
                <a:cs typeface="Segoe UI" panose="020B0502040204020203" pitchFamily="34" charset="0"/>
                <a:sym typeface="Segoe UI Semibold"/>
              </a:rPr>
            </a:br>
            <a:r>
              <a:rPr lang="fr-FR" sz="2000" kern="0" spc="-100" err="1">
                <a:solidFill>
                  <a:srgbClr val="008575">
                    <a:lumMod val="50000"/>
                  </a:srgbClr>
                </a:solidFill>
                <a:latin typeface="Segoe UI" panose="020B0502040204020203" pitchFamily="34" charset="0"/>
                <a:cs typeface="Segoe UI" panose="020B0502040204020203" pitchFamily="34" charset="0"/>
                <a:sym typeface="Segoe UI Semibold"/>
              </a:rPr>
              <a:t>database</a:t>
            </a:r>
            <a:endParaRPr lang="en-GB" sz="2000" kern="0" spc="-100">
              <a:solidFill>
                <a:srgbClr val="008575">
                  <a:lumMod val="50000"/>
                </a:srgbClr>
              </a:solidFill>
              <a:latin typeface="Segoe UI" panose="020B0502040204020203" pitchFamily="34" charset="0"/>
              <a:cs typeface="Segoe UI" panose="020B0502040204020203" pitchFamily="34" charset="0"/>
              <a:sym typeface="Segoe UI Semibold"/>
            </a:endParaRPr>
          </a:p>
        </p:txBody>
      </p:sp>
      <p:pic>
        <p:nvPicPr>
          <p:cNvPr id="29" name="Graphic 28">
            <a:extLst>
              <a:ext uri="{FF2B5EF4-FFF2-40B4-BE49-F238E27FC236}">
                <a16:creationId xmlns:a16="http://schemas.microsoft.com/office/drawing/2014/main" id="{09DA5730-0D43-4815-B510-1FA5B1A1680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97022" y="2462403"/>
            <a:ext cx="543940" cy="543940"/>
          </a:xfrm>
          <a:prstGeom prst="rect">
            <a:avLst/>
          </a:prstGeom>
        </p:spPr>
      </p:pic>
      <p:pic>
        <p:nvPicPr>
          <p:cNvPr id="32" name="Graphic 31">
            <a:extLst>
              <a:ext uri="{FF2B5EF4-FFF2-40B4-BE49-F238E27FC236}">
                <a16:creationId xmlns:a16="http://schemas.microsoft.com/office/drawing/2014/main" id="{24FF25C9-B34E-4885-8866-21A12A077E7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87285" y="2523086"/>
            <a:ext cx="543940" cy="543940"/>
          </a:xfrm>
          <a:prstGeom prst="rect">
            <a:avLst/>
          </a:prstGeom>
        </p:spPr>
      </p:pic>
    </p:spTree>
    <p:extLst>
      <p:ext uri="{BB962C8B-B14F-4D97-AF65-F5344CB8AC3E}">
        <p14:creationId xmlns:p14="http://schemas.microsoft.com/office/powerpoint/2010/main" val="2324067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467DC113-9FFF-487B-B0F4-194F2C7DA26E}"/>
              </a:ext>
            </a:extLst>
          </p:cNvPr>
          <p:cNvSpPr>
            <a:spLocks noGrp="1"/>
          </p:cNvSpPr>
          <p:nvPr>
            <p:ph type="subTitle" idx="4294967295"/>
          </p:nvPr>
        </p:nvSpPr>
        <p:spPr>
          <a:xfrm>
            <a:off x="0" y="3259138"/>
            <a:ext cx="7131050" cy="339725"/>
          </a:xfrm>
        </p:spPr>
        <p:txBody>
          <a:bodyPr/>
          <a:lstStyle/>
          <a:p>
            <a:pPr algn="ctr"/>
            <a:r>
              <a:rPr lang="fr-FR">
                <a:solidFill>
                  <a:srgbClr val="FF0000"/>
                </a:solidFill>
              </a:rPr>
              <a:t>DEMO VIDEO PLACEHOLDER</a:t>
            </a:r>
            <a:endParaRPr lang="en-GB">
              <a:solidFill>
                <a:srgbClr val="FF0000"/>
              </a:solidFill>
            </a:endParaRPr>
          </a:p>
        </p:txBody>
      </p:sp>
      <p:pic>
        <p:nvPicPr>
          <p:cNvPr id="2" name="iot-lp-04-demo02">
            <a:hlinkClick r:id="" action="ppaction://media"/>
            <a:extLst>
              <a:ext uri="{FF2B5EF4-FFF2-40B4-BE49-F238E27FC236}">
                <a16:creationId xmlns:a16="http://schemas.microsoft.com/office/drawing/2014/main" id="{0C57CF49-BE3F-461D-A1F8-46209E834A5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20713" y="349855"/>
            <a:ext cx="10950576" cy="6159878"/>
          </a:xfrm>
          <a:prstGeom prst="rect">
            <a:avLst/>
          </a:prstGeom>
        </p:spPr>
      </p:pic>
    </p:spTree>
    <p:extLst>
      <p:ext uri="{BB962C8B-B14F-4D97-AF65-F5344CB8AC3E}">
        <p14:creationId xmlns:p14="http://schemas.microsoft.com/office/powerpoint/2010/main" val="18627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3078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21F7-19CD-6B4A-8900-FB4BCB77EC8A}"/>
              </a:ext>
            </a:extLst>
          </p:cNvPr>
          <p:cNvSpPr>
            <a:spLocks noGrp="1"/>
          </p:cNvSpPr>
          <p:nvPr>
            <p:ph type="title"/>
          </p:nvPr>
        </p:nvSpPr>
        <p:spPr/>
        <p:txBody>
          <a:bodyPr/>
          <a:lstStyle/>
          <a:p>
            <a:r>
              <a:rPr lang="en-US"/>
              <a:t>Using IoT as an operational Data Source</a:t>
            </a:r>
          </a:p>
        </p:txBody>
      </p:sp>
      <p:sp>
        <p:nvSpPr>
          <p:cNvPr id="50" name="Rectangle 49">
            <a:extLst>
              <a:ext uri="{FF2B5EF4-FFF2-40B4-BE49-F238E27FC236}">
                <a16:creationId xmlns:a16="http://schemas.microsoft.com/office/drawing/2014/main" id="{908E8CE3-58BA-479A-96E7-A5E5823D85DA}"/>
              </a:ext>
            </a:extLst>
          </p:cNvPr>
          <p:cNvSpPr/>
          <p:nvPr/>
        </p:nvSpPr>
        <p:spPr bwMode="auto">
          <a:xfrm>
            <a:off x="688094" y="1468438"/>
            <a:ext cx="1430084" cy="3529351"/>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12" name="Group 11">
            <a:extLst>
              <a:ext uri="{FF2B5EF4-FFF2-40B4-BE49-F238E27FC236}">
                <a16:creationId xmlns:a16="http://schemas.microsoft.com/office/drawing/2014/main" id="{591E005E-A937-42D5-BD02-53B35F544AFC}"/>
              </a:ext>
            </a:extLst>
          </p:cNvPr>
          <p:cNvGrpSpPr/>
          <p:nvPr/>
        </p:nvGrpSpPr>
        <p:grpSpPr>
          <a:xfrm>
            <a:off x="843491" y="2888789"/>
            <a:ext cx="1459797" cy="360000"/>
            <a:chOff x="4051094" y="3143895"/>
            <a:chExt cx="1459797" cy="360000"/>
          </a:xfrm>
        </p:grpSpPr>
        <p:sp>
          <p:nvSpPr>
            <p:cNvPr id="53" name="TextBox 52">
              <a:extLst>
                <a:ext uri="{FF2B5EF4-FFF2-40B4-BE49-F238E27FC236}">
                  <a16:creationId xmlns:a16="http://schemas.microsoft.com/office/drawing/2014/main" id="{0E30BD84-8BF0-4944-88C0-C34DAE64AD03}"/>
                </a:ext>
              </a:extLst>
            </p:cNvPr>
            <p:cNvSpPr txBox="1"/>
            <p:nvPr/>
          </p:nvSpPr>
          <p:spPr>
            <a:xfrm>
              <a:off x="4632938" y="3157739"/>
              <a:ext cx="877953" cy="332312"/>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IoT Hub</a:t>
              </a:r>
            </a:p>
          </p:txBody>
        </p:sp>
        <p:pic>
          <p:nvPicPr>
            <p:cNvPr id="54" name="Graphic 53">
              <a:extLst>
                <a:ext uri="{FF2B5EF4-FFF2-40B4-BE49-F238E27FC236}">
                  <a16:creationId xmlns:a16="http://schemas.microsoft.com/office/drawing/2014/main" id="{0B5D69B3-9DA5-42A7-A352-E348B834EA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1094" y="3143895"/>
              <a:ext cx="360000" cy="360000"/>
            </a:xfrm>
            <a:prstGeom prst="rect">
              <a:avLst/>
            </a:prstGeom>
          </p:spPr>
        </p:pic>
      </p:grpSp>
      <p:sp>
        <p:nvSpPr>
          <p:cNvPr id="65" name="Rectangle 64">
            <a:extLst>
              <a:ext uri="{FF2B5EF4-FFF2-40B4-BE49-F238E27FC236}">
                <a16:creationId xmlns:a16="http://schemas.microsoft.com/office/drawing/2014/main" id="{9DFC749E-EDE3-4735-8DB5-98C9D73CB2F5}"/>
              </a:ext>
            </a:extLst>
          </p:cNvPr>
          <p:cNvSpPr/>
          <p:nvPr/>
        </p:nvSpPr>
        <p:spPr bwMode="auto">
          <a:xfrm>
            <a:off x="2886838" y="1466811"/>
            <a:ext cx="3108256"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28" name="Graphic 27">
            <a:extLst>
              <a:ext uri="{FF2B5EF4-FFF2-40B4-BE49-F238E27FC236}">
                <a16:creationId xmlns:a16="http://schemas.microsoft.com/office/drawing/2014/main" id="{58D08A55-172F-4321-B76E-5FF84B9ECF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60212" y="1928871"/>
            <a:ext cx="360000" cy="360000"/>
          </a:xfrm>
          <a:prstGeom prst="rect">
            <a:avLst/>
          </a:prstGeom>
        </p:spPr>
      </p:pic>
      <p:cxnSp>
        <p:nvCxnSpPr>
          <p:cNvPr id="2048" name="Straight Arrow Connector 2047">
            <a:extLst>
              <a:ext uri="{FF2B5EF4-FFF2-40B4-BE49-F238E27FC236}">
                <a16:creationId xmlns:a16="http://schemas.microsoft.com/office/drawing/2014/main" id="{48FC0D36-3860-47C4-888F-562A99353B64}"/>
              </a:ext>
            </a:extLst>
          </p:cNvPr>
          <p:cNvCxnSpPr>
            <a:cxnSpLocks/>
          </p:cNvCxnSpPr>
          <p:nvPr/>
        </p:nvCxnSpPr>
        <p:spPr>
          <a:xfrm>
            <a:off x="1547052" y="4997788"/>
            <a:ext cx="0" cy="876068"/>
          </a:xfrm>
          <a:prstGeom prst="straightConnector1">
            <a:avLst/>
          </a:prstGeom>
          <a:noFill/>
          <a:ln w="19050" cap="flat" cmpd="sng" algn="ctr">
            <a:solidFill>
              <a:srgbClr val="000000"/>
            </a:solidFill>
            <a:prstDash val="solid"/>
            <a:headEnd type="none" w="lg" len="med"/>
            <a:tailEnd type="triangle" w="med" len="med"/>
          </a:ln>
          <a:effectLst/>
        </p:spPr>
      </p:cxnSp>
      <p:grpSp>
        <p:nvGrpSpPr>
          <p:cNvPr id="2078" name="Group 2077">
            <a:extLst>
              <a:ext uri="{FF2B5EF4-FFF2-40B4-BE49-F238E27FC236}">
                <a16:creationId xmlns:a16="http://schemas.microsoft.com/office/drawing/2014/main" id="{F2780D3B-3E3D-4C7B-BA1F-C0FF339D8A51}"/>
              </a:ext>
            </a:extLst>
          </p:cNvPr>
          <p:cNvGrpSpPr/>
          <p:nvPr/>
        </p:nvGrpSpPr>
        <p:grpSpPr>
          <a:xfrm>
            <a:off x="688095" y="5881927"/>
            <a:ext cx="8254704" cy="791308"/>
            <a:chOff x="686507" y="6142892"/>
            <a:chExt cx="8254704" cy="791308"/>
          </a:xfrm>
        </p:grpSpPr>
        <p:sp>
          <p:nvSpPr>
            <p:cNvPr id="55" name="Rectangle 54">
              <a:extLst>
                <a:ext uri="{FF2B5EF4-FFF2-40B4-BE49-F238E27FC236}">
                  <a16:creationId xmlns:a16="http://schemas.microsoft.com/office/drawing/2014/main" id="{C06EF729-EA3D-4610-99C8-C942AF45A401}"/>
                </a:ext>
              </a:extLst>
            </p:cNvPr>
            <p:cNvSpPr/>
            <p:nvPr/>
          </p:nvSpPr>
          <p:spPr bwMode="auto">
            <a:xfrm>
              <a:off x="686507" y="6142892"/>
              <a:ext cx="8254704" cy="791308"/>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55" name="Group 2054">
              <a:extLst>
                <a:ext uri="{FF2B5EF4-FFF2-40B4-BE49-F238E27FC236}">
                  <a16:creationId xmlns:a16="http://schemas.microsoft.com/office/drawing/2014/main" id="{7EA480AF-11E2-4F28-8D26-F88C28BFD7EE}"/>
                </a:ext>
              </a:extLst>
            </p:cNvPr>
            <p:cNvGrpSpPr/>
            <p:nvPr/>
          </p:nvGrpSpPr>
          <p:grpSpPr>
            <a:xfrm>
              <a:off x="3704638" y="6358546"/>
              <a:ext cx="2218443" cy="367641"/>
              <a:chOff x="3476723" y="5710846"/>
              <a:chExt cx="2218443" cy="367641"/>
            </a:xfrm>
          </p:grpSpPr>
          <p:pic>
            <p:nvPicPr>
              <p:cNvPr id="18" name="Graphic 17">
                <a:extLst>
                  <a:ext uri="{FF2B5EF4-FFF2-40B4-BE49-F238E27FC236}">
                    <a16:creationId xmlns:a16="http://schemas.microsoft.com/office/drawing/2014/main" id="{36942917-ADCB-4A69-9BE2-9DD4E7BAA8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76723" y="5710846"/>
                <a:ext cx="360000" cy="360000"/>
              </a:xfrm>
              <a:prstGeom prst="rect">
                <a:avLst/>
              </a:prstGeom>
            </p:spPr>
          </p:pic>
          <p:sp>
            <p:nvSpPr>
              <p:cNvPr id="2054" name="TextBox 2053">
                <a:extLst>
                  <a:ext uri="{FF2B5EF4-FFF2-40B4-BE49-F238E27FC236}">
                    <a16:creationId xmlns:a16="http://schemas.microsoft.com/office/drawing/2014/main" id="{7200BAAA-A6E8-473D-96F7-96017DDF7517}"/>
                  </a:ext>
                </a:extLst>
              </p:cNvPr>
              <p:cNvSpPr txBox="1"/>
              <p:nvPr/>
            </p:nvSpPr>
            <p:spPr>
              <a:xfrm>
                <a:off x="4107562" y="5746088"/>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Lake Gen 2</a:t>
                </a:r>
              </a:p>
            </p:txBody>
          </p:sp>
        </p:grpSp>
      </p:grpSp>
      <p:cxnSp>
        <p:nvCxnSpPr>
          <p:cNvPr id="2059" name="Straight Arrow Connector 2058">
            <a:extLst>
              <a:ext uri="{FF2B5EF4-FFF2-40B4-BE49-F238E27FC236}">
                <a16:creationId xmlns:a16="http://schemas.microsoft.com/office/drawing/2014/main" id="{83E466FE-227B-4755-A92C-80A50BCDB1C6}"/>
              </a:ext>
            </a:extLst>
          </p:cNvPr>
          <p:cNvCxnSpPr>
            <a:cxnSpLocks/>
          </p:cNvCxnSpPr>
          <p:nvPr/>
        </p:nvCxnSpPr>
        <p:spPr>
          <a:xfrm>
            <a:off x="2118178" y="2117360"/>
            <a:ext cx="768660" cy="0"/>
          </a:xfrm>
          <a:prstGeom prst="straightConnector1">
            <a:avLst/>
          </a:prstGeom>
          <a:noFill/>
          <a:ln w="19050" cap="flat" cmpd="sng" algn="ctr">
            <a:solidFill>
              <a:srgbClr val="000000"/>
            </a:solidFill>
            <a:prstDash val="solid"/>
            <a:headEnd type="none" w="lg" len="med"/>
            <a:tailEnd type="triangle" w="med" len="med"/>
          </a:ln>
          <a:effectLst/>
        </p:spPr>
      </p:cxnSp>
      <p:sp>
        <p:nvSpPr>
          <p:cNvPr id="2062" name="TextBox 2061">
            <a:extLst>
              <a:ext uri="{FF2B5EF4-FFF2-40B4-BE49-F238E27FC236}">
                <a16:creationId xmlns:a16="http://schemas.microsoft.com/office/drawing/2014/main" id="{8D493B05-F15E-4599-95EE-34A9445E1381}"/>
              </a:ext>
            </a:extLst>
          </p:cNvPr>
          <p:cNvSpPr txBox="1"/>
          <p:nvPr/>
        </p:nvSpPr>
        <p:spPr>
          <a:xfrm>
            <a:off x="3884862" y="1938919"/>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tream Analytics</a:t>
            </a:r>
          </a:p>
        </p:txBody>
      </p:sp>
      <p:cxnSp>
        <p:nvCxnSpPr>
          <p:cNvPr id="64" name="Straight Arrow Connector 63">
            <a:extLst>
              <a:ext uri="{FF2B5EF4-FFF2-40B4-BE49-F238E27FC236}">
                <a16:creationId xmlns:a16="http://schemas.microsoft.com/office/drawing/2014/main" id="{2AA32156-55C4-4B88-9000-217C358FC6A6}"/>
              </a:ext>
            </a:extLst>
          </p:cNvPr>
          <p:cNvCxnSpPr>
            <a:cxnSpLocks/>
          </p:cNvCxnSpPr>
          <p:nvPr/>
        </p:nvCxnSpPr>
        <p:spPr>
          <a:xfrm flipH="1">
            <a:off x="3011284" y="5352795"/>
            <a:ext cx="4130" cy="506539"/>
          </a:xfrm>
          <a:prstGeom prst="straightConnector1">
            <a:avLst/>
          </a:prstGeom>
          <a:noFill/>
          <a:ln w="19050" cap="flat" cmpd="sng" algn="ctr">
            <a:solidFill>
              <a:srgbClr val="000000"/>
            </a:solidFill>
            <a:prstDash val="solid"/>
            <a:headEnd type="none" w="lg" len="med"/>
            <a:tailEnd type="triangle" w="med" len="med"/>
          </a:ln>
          <a:effectLst/>
        </p:spPr>
      </p:cxnSp>
      <p:cxnSp>
        <p:nvCxnSpPr>
          <p:cNvPr id="66" name="Straight Arrow Connector 65">
            <a:extLst>
              <a:ext uri="{FF2B5EF4-FFF2-40B4-BE49-F238E27FC236}">
                <a16:creationId xmlns:a16="http://schemas.microsoft.com/office/drawing/2014/main" id="{FD919623-A86A-457C-AAC0-3B1E725F0C3F}"/>
              </a:ext>
            </a:extLst>
          </p:cNvPr>
          <p:cNvCxnSpPr>
            <a:cxnSpLocks/>
          </p:cNvCxnSpPr>
          <p:nvPr/>
        </p:nvCxnSpPr>
        <p:spPr>
          <a:xfrm>
            <a:off x="3772121" y="5361930"/>
            <a:ext cx="0" cy="485727"/>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3" name="Group 92">
            <a:extLst>
              <a:ext uri="{FF2B5EF4-FFF2-40B4-BE49-F238E27FC236}">
                <a16:creationId xmlns:a16="http://schemas.microsoft.com/office/drawing/2014/main" id="{49B82087-B0BC-4848-B112-E4935CA6B607}"/>
              </a:ext>
            </a:extLst>
          </p:cNvPr>
          <p:cNvGrpSpPr/>
          <p:nvPr/>
        </p:nvGrpSpPr>
        <p:grpSpPr>
          <a:xfrm>
            <a:off x="5505798" y="4088613"/>
            <a:ext cx="3445565" cy="1286689"/>
            <a:chOff x="5495646" y="4424851"/>
            <a:chExt cx="3445565" cy="1286689"/>
          </a:xfrm>
        </p:grpSpPr>
        <p:sp>
          <p:nvSpPr>
            <p:cNvPr id="67" name="Rectangle 66">
              <a:extLst>
                <a:ext uri="{FF2B5EF4-FFF2-40B4-BE49-F238E27FC236}">
                  <a16:creationId xmlns:a16="http://schemas.microsoft.com/office/drawing/2014/main" id="{82929D9A-DEFC-4BC0-9A8D-289C9895D81D}"/>
                </a:ext>
              </a:extLst>
            </p:cNvPr>
            <p:cNvSpPr/>
            <p:nvPr/>
          </p:nvSpPr>
          <p:spPr bwMode="auto">
            <a:xfrm>
              <a:off x="5495646" y="4424851"/>
              <a:ext cx="3445565"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68" name="Group 2067">
              <a:extLst>
                <a:ext uri="{FF2B5EF4-FFF2-40B4-BE49-F238E27FC236}">
                  <a16:creationId xmlns:a16="http://schemas.microsoft.com/office/drawing/2014/main" id="{E19B705F-9126-4E4C-AB43-6379A32256CE}"/>
                </a:ext>
              </a:extLst>
            </p:cNvPr>
            <p:cNvGrpSpPr/>
            <p:nvPr/>
          </p:nvGrpSpPr>
          <p:grpSpPr>
            <a:xfrm>
              <a:off x="7372981" y="4931855"/>
              <a:ext cx="1537924" cy="360000"/>
              <a:chOff x="7249867" y="4208717"/>
              <a:chExt cx="1537924" cy="360000"/>
            </a:xfrm>
          </p:grpSpPr>
          <p:sp>
            <p:nvSpPr>
              <p:cNvPr id="2063" name="TextBox 2062">
                <a:extLst>
                  <a:ext uri="{FF2B5EF4-FFF2-40B4-BE49-F238E27FC236}">
                    <a16:creationId xmlns:a16="http://schemas.microsoft.com/office/drawing/2014/main" id="{951F593A-492A-4445-8CF9-895D09A17915}"/>
                  </a:ext>
                </a:extLst>
              </p:cNvPr>
              <p:cNvSpPr txBox="1"/>
              <p:nvPr/>
            </p:nvSpPr>
            <p:spPr>
              <a:xfrm>
                <a:off x="7635212" y="4215984"/>
                <a:ext cx="1152579"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ynapse Analytics</a:t>
                </a:r>
              </a:p>
            </p:txBody>
          </p:sp>
          <p:pic>
            <p:nvPicPr>
              <p:cNvPr id="2064" name="Graphic 2063">
                <a:extLst>
                  <a:ext uri="{FF2B5EF4-FFF2-40B4-BE49-F238E27FC236}">
                    <a16:creationId xmlns:a16="http://schemas.microsoft.com/office/drawing/2014/main" id="{DE92E9C4-4494-4B98-9DD4-A14CF475FCC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49867" y="4208717"/>
                <a:ext cx="313125" cy="360000"/>
              </a:xfrm>
              <a:prstGeom prst="rect">
                <a:avLst/>
              </a:prstGeom>
            </p:spPr>
          </p:pic>
        </p:grpSp>
        <p:grpSp>
          <p:nvGrpSpPr>
            <p:cNvPr id="2069" name="Group 2068">
              <a:extLst>
                <a:ext uri="{FF2B5EF4-FFF2-40B4-BE49-F238E27FC236}">
                  <a16:creationId xmlns:a16="http://schemas.microsoft.com/office/drawing/2014/main" id="{62D1B794-9A5A-4BD5-BF98-D4F751817994}"/>
                </a:ext>
              </a:extLst>
            </p:cNvPr>
            <p:cNvGrpSpPr/>
            <p:nvPr/>
          </p:nvGrpSpPr>
          <p:grpSpPr>
            <a:xfrm>
              <a:off x="5575782" y="4916599"/>
              <a:ext cx="1570303" cy="360000"/>
              <a:chOff x="5378138" y="4179766"/>
              <a:chExt cx="1570303" cy="360000"/>
            </a:xfrm>
          </p:grpSpPr>
          <p:pic>
            <p:nvPicPr>
              <p:cNvPr id="29" name="Graphic 28">
                <a:extLst>
                  <a:ext uri="{FF2B5EF4-FFF2-40B4-BE49-F238E27FC236}">
                    <a16:creationId xmlns:a16="http://schemas.microsoft.com/office/drawing/2014/main" id="{7A78BD5A-0E7A-4CE8-B21C-B7D8CAEC1E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78138" y="4179766"/>
                <a:ext cx="360000" cy="360000"/>
              </a:xfrm>
              <a:prstGeom prst="rect">
                <a:avLst/>
              </a:prstGeom>
            </p:spPr>
          </p:pic>
          <p:sp>
            <p:nvSpPr>
              <p:cNvPr id="68" name="TextBox 67">
                <a:extLst>
                  <a:ext uri="{FF2B5EF4-FFF2-40B4-BE49-F238E27FC236}">
                    <a16:creationId xmlns:a16="http://schemas.microsoft.com/office/drawing/2014/main" id="{D83A5F90-DABC-45C6-A5BD-DD16332B37EC}"/>
                  </a:ext>
                </a:extLst>
              </p:cNvPr>
              <p:cNvSpPr txBox="1"/>
              <p:nvPr/>
            </p:nvSpPr>
            <p:spPr>
              <a:xfrm>
                <a:off x="5795862" y="4206117"/>
                <a:ext cx="1152579" cy="332399"/>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QL Datawarehouse</a:t>
                </a:r>
              </a:p>
            </p:txBody>
          </p:sp>
        </p:grpSp>
      </p:grpSp>
      <p:cxnSp>
        <p:nvCxnSpPr>
          <p:cNvPr id="84" name="Straight Arrow Connector 83">
            <a:extLst>
              <a:ext uri="{FF2B5EF4-FFF2-40B4-BE49-F238E27FC236}">
                <a16:creationId xmlns:a16="http://schemas.microsoft.com/office/drawing/2014/main" id="{8420B9F6-867E-4A2C-8F59-7D0BEAF51070}"/>
              </a:ext>
            </a:extLst>
          </p:cNvPr>
          <p:cNvCxnSpPr>
            <a:cxnSpLocks/>
          </p:cNvCxnSpPr>
          <p:nvPr/>
        </p:nvCxnSpPr>
        <p:spPr>
          <a:xfrm>
            <a:off x="5831570" y="2753500"/>
            <a:ext cx="0" cy="1281029"/>
          </a:xfrm>
          <a:prstGeom prst="straightConnector1">
            <a:avLst/>
          </a:prstGeom>
          <a:noFill/>
          <a:ln w="19050" cap="flat" cmpd="sng" algn="ctr">
            <a:solidFill>
              <a:srgbClr val="000000"/>
            </a:solidFill>
            <a:prstDash val="solid"/>
            <a:headEnd type="none" w="lg" len="med"/>
            <a:tailEnd type="triangle" w="med" len="med"/>
          </a:ln>
          <a:effectLst/>
        </p:spPr>
      </p:cxnSp>
      <p:grpSp>
        <p:nvGrpSpPr>
          <p:cNvPr id="92" name="Group 91">
            <a:extLst>
              <a:ext uri="{FF2B5EF4-FFF2-40B4-BE49-F238E27FC236}">
                <a16:creationId xmlns:a16="http://schemas.microsoft.com/office/drawing/2014/main" id="{F96AB8BA-5C0C-4FB2-99F7-6EF5F43C2647}"/>
              </a:ext>
            </a:extLst>
          </p:cNvPr>
          <p:cNvGrpSpPr/>
          <p:nvPr/>
        </p:nvGrpSpPr>
        <p:grpSpPr>
          <a:xfrm>
            <a:off x="4356624" y="4091404"/>
            <a:ext cx="906891" cy="1272327"/>
            <a:chOff x="4346472" y="4427642"/>
            <a:chExt cx="906891" cy="1272327"/>
          </a:xfrm>
        </p:grpSpPr>
        <p:sp>
          <p:nvSpPr>
            <p:cNvPr id="87" name="Rectangle 86">
              <a:extLst>
                <a:ext uri="{FF2B5EF4-FFF2-40B4-BE49-F238E27FC236}">
                  <a16:creationId xmlns:a16="http://schemas.microsoft.com/office/drawing/2014/main" id="{C93BDA40-2B2A-42B7-8798-4CC7E1FA647A}"/>
                </a:ext>
              </a:extLst>
            </p:cNvPr>
            <p:cNvSpPr/>
            <p:nvPr/>
          </p:nvSpPr>
          <p:spPr bwMode="auto">
            <a:xfrm>
              <a:off x="4346472" y="4427642"/>
              <a:ext cx="906891"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13" name="Graphic 12">
              <a:extLst>
                <a:ext uri="{FF2B5EF4-FFF2-40B4-BE49-F238E27FC236}">
                  <a16:creationId xmlns:a16="http://schemas.microsoft.com/office/drawing/2014/main" id="{B6EE4014-0BC6-4208-8F16-730663E254A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04869" y="4792328"/>
              <a:ext cx="360000" cy="360000"/>
            </a:xfrm>
            <a:prstGeom prst="rect">
              <a:avLst/>
            </a:prstGeom>
          </p:spPr>
        </p:pic>
        <p:sp>
          <p:nvSpPr>
            <p:cNvPr id="89" name="TextBox 88">
              <a:extLst>
                <a:ext uri="{FF2B5EF4-FFF2-40B4-BE49-F238E27FC236}">
                  <a16:creationId xmlns:a16="http://schemas.microsoft.com/office/drawing/2014/main" id="{D1E29D12-C807-437F-AC78-383EEE5CA250}"/>
                </a:ext>
              </a:extLst>
            </p:cNvPr>
            <p:cNvSpPr txBox="1"/>
            <p:nvPr/>
          </p:nvSpPr>
          <p:spPr>
            <a:xfrm>
              <a:off x="4522733" y="5251656"/>
              <a:ext cx="524271" cy="332399"/>
            </a:xfrm>
            <a:prstGeom prst="rect">
              <a:avLst/>
            </a:prstGeom>
            <a:noFill/>
          </p:spPr>
          <p:txBody>
            <a:bodyPr wrap="square" lIns="0" tIns="0" rIns="0" bIns="0" rtlCol="0">
              <a:spAutoFit/>
            </a:bodyPr>
            <a:lstStyle/>
            <a:p>
              <a:pPr algn="ct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QL</a:t>
              </a:r>
            </a:p>
          </p:txBody>
        </p:sp>
      </p:grpSp>
      <p:cxnSp>
        <p:nvCxnSpPr>
          <p:cNvPr id="91" name="Straight Arrow Connector 90">
            <a:extLst>
              <a:ext uri="{FF2B5EF4-FFF2-40B4-BE49-F238E27FC236}">
                <a16:creationId xmlns:a16="http://schemas.microsoft.com/office/drawing/2014/main" id="{2E7AE7E5-DEA3-4EF8-9075-5F49F793A41D}"/>
              </a:ext>
            </a:extLst>
          </p:cNvPr>
          <p:cNvCxnSpPr>
            <a:cxnSpLocks/>
          </p:cNvCxnSpPr>
          <p:nvPr/>
        </p:nvCxnSpPr>
        <p:spPr>
          <a:xfrm>
            <a:off x="4696106" y="2753500"/>
            <a:ext cx="0" cy="1335113"/>
          </a:xfrm>
          <a:prstGeom prst="straightConnector1">
            <a:avLst/>
          </a:prstGeom>
          <a:noFill/>
          <a:ln w="19050" cap="flat" cmpd="sng" algn="ctr">
            <a:solidFill>
              <a:srgbClr val="000000"/>
            </a:solidFill>
            <a:prstDash val="solid"/>
            <a:headEnd type="none" w="lg" len="med"/>
            <a:tailEnd type="triangle" w="med" len="med"/>
          </a:ln>
          <a:effectLst/>
        </p:spPr>
      </p:cxnSp>
      <p:cxnSp>
        <p:nvCxnSpPr>
          <p:cNvPr id="2053" name="Straight Arrow Connector 2052">
            <a:extLst>
              <a:ext uri="{FF2B5EF4-FFF2-40B4-BE49-F238E27FC236}">
                <a16:creationId xmlns:a16="http://schemas.microsoft.com/office/drawing/2014/main" id="{49553682-7F22-421A-82E4-92A710564538}"/>
              </a:ext>
            </a:extLst>
          </p:cNvPr>
          <p:cNvCxnSpPr/>
          <p:nvPr/>
        </p:nvCxnSpPr>
        <p:spPr>
          <a:xfrm flipH="1">
            <a:off x="8942800" y="4236265"/>
            <a:ext cx="576567" cy="0"/>
          </a:xfrm>
          <a:prstGeom prst="straightConnector1">
            <a:avLst/>
          </a:prstGeom>
          <a:noFill/>
          <a:ln w="19050" cap="flat" cmpd="sng" algn="ctr">
            <a:solidFill>
              <a:schemeClr val="accent6"/>
            </a:solidFill>
            <a:prstDash val="solid"/>
            <a:headEnd type="none" w="lg" len="med"/>
            <a:tailEnd type="triangle" w="med" len="med"/>
          </a:ln>
          <a:effectLst/>
        </p:spPr>
      </p:cxnSp>
      <p:cxnSp>
        <p:nvCxnSpPr>
          <p:cNvPr id="111" name="Straight Arrow Connector 110">
            <a:extLst>
              <a:ext uri="{FF2B5EF4-FFF2-40B4-BE49-F238E27FC236}">
                <a16:creationId xmlns:a16="http://schemas.microsoft.com/office/drawing/2014/main" id="{BDE5A235-E5BA-4014-9748-ACA9B679D902}"/>
              </a:ext>
            </a:extLst>
          </p:cNvPr>
          <p:cNvCxnSpPr>
            <a:cxnSpLocks/>
          </p:cNvCxnSpPr>
          <p:nvPr/>
        </p:nvCxnSpPr>
        <p:spPr>
          <a:xfrm>
            <a:off x="4966457" y="3860026"/>
            <a:ext cx="0" cy="228587"/>
          </a:xfrm>
          <a:prstGeom prst="straightConnector1">
            <a:avLst/>
          </a:prstGeom>
          <a:noFill/>
          <a:ln w="19050" cap="flat" cmpd="sng" algn="ctr">
            <a:solidFill>
              <a:schemeClr val="accent6"/>
            </a:solidFill>
            <a:prstDash val="solid"/>
            <a:headEnd type="none" w="lg" len="med"/>
            <a:tailEnd type="triangle" w="med" len="med"/>
          </a:ln>
          <a:effectLst/>
        </p:spPr>
      </p:cxnSp>
      <p:cxnSp>
        <p:nvCxnSpPr>
          <p:cNvPr id="2061" name="Straight Connector 2060">
            <a:extLst>
              <a:ext uri="{FF2B5EF4-FFF2-40B4-BE49-F238E27FC236}">
                <a16:creationId xmlns:a16="http://schemas.microsoft.com/office/drawing/2014/main" id="{1AD6DD68-D4F3-4C80-BC92-2C38DE9AC9AE}"/>
              </a:ext>
            </a:extLst>
          </p:cNvPr>
          <p:cNvCxnSpPr>
            <a:cxnSpLocks/>
          </p:cNvCxnSpPr>
          <p:nvPr/>
        </p:nvCxnSpPr>
        <p:spPr>
          <a:xfrm>
            <a:off x="4975021" y="3864788"/>
            <a:ext cx="4552909" cy="0"/>
          </a:xfrm>
          <a:prstGeom prst="line">
            <a:avLst/>
          </a:prstGeom>
          <a:noFill/>
          <a:ln w="19050" cap="flat" cmpd="sng" algn="ctr">
            <a:solidFill>
              <a:schemeClr val="accent6"/>
            </a:solidFill>
            <a:prstDash val="solid"/>
            <a:headEnd type="none" w="med" len="med"/>
            <a:tailEnd type="none" w="med" len="med"/>
          </a:ln>
          <a:effectLst/>
        </p:spPr>
      </p:cxnSp>
      <p:sp>
        <p:nvSpPr>
          <p:cNvPr id="57" name="Rectangle 56">
            <a:extLst>
              <a:ext uri="{FF2B5EF4-FFF2-40B4-BE49-F238E27FC236}">
                <a16:creationId xmlns:a16="http://schemas.microsoft.com/office/drawing/2014/main" id="{4E948A42-7075-4281-AB6C-9F32A4F37310}"/>
              </a:ext>
            </a:extLst>
          </p:cNvPr>
          <p:cNvSpPr/>
          <p:nvPr/>
        </p:nvSpPr>
        <p:spPr bwMode="auto">
          <a:xfrm>
            <a:off x="9519366" y="2994612"/>
            <a:ext cx="1841930" cy="149641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51" name="Group 50">
            <a:extLst>
              <a:ext uri="{FF2B5EF4-FFF2-40B4-BE49-F238E27FC236}">
                <a16:creationId xmlns:a16="http://schemas.microsoft.com/office/drawing/2014/main" id="{A4AC3279-830A-4628-931B-931C9B9DD62E}"/>
              </a:ext>
            </a:extLst>
          </p:cNvPr>
          <p:cNvGrpSpPr/>
          <p:nvPr/>
        </p:nvGrpSpPr>
        <p:grpSpPr>
          <a:xfrm>
            <a:off x="9818146" y="3610963"/>
            <a:ext cx="1252935" cy="358250"/>
            <a:chOff x="9730105" y="3501775"/>
            <a:chExt cx="1252935" cy="358250"/>
          </a:xfrm>
        </p:grpSpPr>
        <p:sp>
          <p:nvSpPr>
            <p:cNvPr id="58" name="TextBox 57">
              <a:extLst>
                <a:ext uri="{FF2B5EF4-FFF2-40B4-BE49-F238E27FC236}">
                  <a16:creationId xmlns:a16="http://schemas.microsoft.com/office/drawing/2014/main" id="{CDBA0939-8AA3-4E72-B317-BBE45D1DC071}"/>
                </a:ext>
              </a:extLst>
            </p:cNvPr>
            <p:cNvSpPr txBox="1"/>
            <p:nvPr/>
          </p:nvSpPr>
          <p:spPr>
            <a:xfrm>
              <a:off x="10374997" y="3640359"/>
              <a:ext cx="608043" cy="166156"/>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Power BI</a:t>
              </a:r>
            </a:p>
          </p:txBody>
        </p:sp>
        <p:grpSp>
          <p:nvGrpSpPr>
            <p:cNvPr id="59" name="Group 58">
              <a:extLst>
                <a:ext uri="{FF2B5EF4-FFF2-40B4-BE49-F238E27FC236}">
                  <a16:creationId xmlns:a16="http://schemas.microsoft.com/office/drawing/2014/main" id="{CF0CA3EF-E4AF-48CE-A471-4C831E54EF3F}"/>
                </a:ext>
              </a:extLst>
            </p:cNvPr>
            <p:cNvGrpSpPr/>
            <p:nvPr/>
          </p:nvGrpSpPr>
          <p:grpSpPr>
            <a:xfrm>
              <a:off x="9730105" y="3501775"/>
              <a:ext cx="474506" cy="358250"/>
              <a:chOff x="2851176" y="840527"/>
              <a:chExt cx="3024388" cy="2283410"/>
            </a:xfrm>
          </p:grpSpPr>
          <p:sp>
            <p:nvSpPr>
              <p:cNvPr id="60" name="Freeform: Shape 338">
                <a:extLst>
                  <a:ext uri="{FF2B5EF4-FFF2-40B4-BE49-F238E27FC236}">
                    <a16:creationId xmlns:a16="http://schemas.microsoft.com/office/drawing/2014/main" id="{755D314E-9F9D-47B0-8CC8-7815A6387FB6}"/>
                  </a:ext>
                </a:extLst>
              </p:cNvPr>
              <p:cNvSpPr/>
              <p:nvPr/>
            </p:nvSpPr>
            <p:spPr>
              <a:xfrm>
                <a:off x="2851176" y="840527"/>
                <a:ext cx="3024388" cy="1958289"/>
              </a:xfrm>
              <a:custGeom>
                <a:avLst/>
                <a:gdLst>
                  <a:gd name="connsiteX0" fmla="*/ 61230 w 493108"/>
                  <a:gd name="connsiteY0" fmla="*/ 0 h 319287"/>
                  <a:gd name="connsiteX1" fmla="*/ 431878 w 493108"/>
                  <a:gd name="connsiteY1" fmla="*/ 0 h 319287"/>
                  <a:gd name="connsiteX2" fmla="*/ 493108 w 493108"/>
                  <a:gd name="connsiteY2" fmla="*/ 61230 h 319287"/>
                  <a:gd name="connsiteX3" fmla="*/ 493108 w 493108"/>
                  <a:gd name="connsiteY3" fmla="*/ 258057 h 319287"/>
                  <a:gd name="connsiteX4" fmla="*/ 431878 w 493108"/>
                  <a:gd name="connsiteY4" fmla="*/ 319287 h 319287"/>
                  <a:gd name="connsiteX5" fmla="*/ 425306 w 493108"/>
                  <a:gd name="connsiteY5" fmla="*/ 319287 h 319287"/>
                  <a:gd name="connsiteX6" fmla="*/ 425306 w 493108"/>
                  <a:gd name="connsiteY6" fmla="*/ 298563 h 319287"/>
                  <a:gd name="connsiteX7" fmla="*/ 434307 w 493108"/>
                  <a:gd name="connsiteY7" fmla="*/ 298563 h 319287"/>
                  <a:gd name="connsiteX8" fmla="*/ 474000 w 493108"/>
                  <a:gd name="connsiteY8" fmla="*/ 258870 h 319287"/>
                  <a:gd name="connsiteX9" fmla="*/ 474000 w 493108"/>
                  <a:gd name="connsiteY9" fmla="*/ 59417 h 319287"/>
                  <a:gd name="connsiteX10" fmla="*/ 434307 w 493108"/>
                  <a:gd name="connsiteY10" fmla="*/ 19724 h 319287"/>
                  <a:gd name="connsiteX11" fmla="*/ 60650 w 493108"/>
                  <a:gd name="connsiteY11" fmla="*/ 19724 h 319287"/>
                  <a:gd name="connsiteX12" fmla="*/ 20957 w 493108"/>
                  <a:gd name="connsiteY12" fmla="*/ 59417 h 319287"/>
                  <a:gd name="connsiteX13" fmla="*/ 20957 w 493108"/>
                  <a:gd name="connsiteY13" fmla="*/ 258870 h 319287"/>
                  <a:gd name="connsiteX14" fmla="*/ 60650 w 493108"/>
                  <a:gd name="connsiteY14" fmla="*/ 298563 h 319287"/>
                  <a:gd name="connsiteX15" fmla="*/ 69652 w 493108"/>
                  <a:gd name="connsiteY15" fmla="*/ 298563 h 319287"/>
                  <a:gd name="connsiteX16" fmla="*/ 69652 w 493108"/>
                  <a:gd name="connsiteY16" fmla="*/ 319287 h 319287"/>
                  <a:gd name="connsiteX17" fmla="*/ 61230 w 493108"/>
                  <a:gd name="connsiteY17" fmla="*/ 319287 h 319287"/>
                  <a:gd name="connsiteX18" fmla="*/ 0 w 493108"/>
                  <a:gd name="connsiteY18" fmla="*/ 258057 h 319287"/>
                  <a:gd name="connsiteX19" fmla="*/ 0 w 493108"/>
                  <a:gd name="connsiteY19" fmla="*/ 61230 h 319287"/>
                  <a:gd name="connsiteX20" fmla="*/ 61230 w 493108"/>
                  <a:gd name="connsiteY20" fmla="*/ 0 h 31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3108" h="319287">
                    <a:moveTo>
                      <a:pt x="61230" y="0"/>
                    </a:moveTo>
                    <a:lnTo>
                      <a:pt x="431878" y="0"/>
                    </a:lnTo>
                    <a:cubicBezTo>
                      <a:pt x="465695" y="0"/>
                      <a:pt x="493108" y="27414"/>
                      <a:pt x="493108" y="61230"/>
                    </a:cubicBezTo>
                    <a:lnTo>
                      <a:pt x="493108" y="258057"/>
                    </a:lnTo>
                    <a:cubicBezTo>
                      <a:pt x="493108" y="291874"/>
                      <a:pt x="465695" y="319287"/>
                      <a:pt x="431878" y="319287"/>
                    </a:cubicBezTo>
                    <a:lnTo>
                      <a:pt x="425306" y="319287"/>
                    </a:lnTo>
                    <a:lnTo>
                      <a:pt x="425306" y="298563"/>
                    </a:lnTo>
                    <a:lnTo>
                      <a:pt x="434307" y="298563"/>
                    </a:lnTo>
                    <a:cubicBezTo>
                      <a:pt x="456229" y="298563"/>
                      <a:pt x="474000" y="280792"/>
                      <a:pt x="474000" y="258870"/>
                    </a:cubicBezTo>
                    <a:lnTo>
                      <a:pt x="474000" y="59417"/>
                    </a:lnTo>
                    <a:cubicBezTo>
                      <a:pt x="474000" y="37495"/>
                      <a:pt x="456229" y="19724"/>
                      <a:pt x="434307" y="19724"/>
                    </a:cubicBezTo>
                    <a:lnTo>
                      <a:pt x="60650" y="19724"/>
                    </a:lnTo>
                    <a:cubicBezTo>
                      <a:pt x="38728" y="19724"/>
                      <a:pt x="20957" y="37495"/>
                      <a:pt x="20957" y="59417"/>
                    </a:cubicBezTo>
                    <a:lnTo>
                      <a:pt x="20957" y="258870"/>
                    </a:lnTo>
                    <a:cubicBezTo>
                      <a:pt x="20957" y="280792"/>
                      <a:pt x="38728" y="298563"/>
                      <a:pt x="60650" y="298563"/>
                    </a:cubicBezTo>
                    <a:lnTo>
                      <a:pt x="69652" y="298563"/>
                    </a:lnTo>
                    <a:lnTo>
                      <a:pt x="69652" y="319287"/>
                    </a:lnTo>
                    <a:lnTo>
                      <a:pt x="61230" y="319287"/>
                    </a:lnTo>
                    <a:cubicBezTo>
                      <a:pt x="27414" y="319287"/>
                      <a:pt x="0" y="291874"/>
                      <a:pt x="0" y="258057"/>
                    </a:cubicBezTo>
                    <a:lnTo>
                      <a:pt x="0" y="61230"/>
                    </a:lnTo>
                    <a:cubicBezTo>
                      <a:pt x="0" y="27414"/>
                      <a:pt x="27414" y="0"/>
                      <a:pt x="61230" y="0"/>
                    </a:cubicBezTo>
                    <a:close/>
                  </a:path>
                </a:pathLst>
              </a:custGeom>
              <a:solidFill>
                <a:srgbClr val="0078D7"/>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sp>
            <p:nvSpPr>
              <p:cNvPr id="61" name="Freeform: Shape 339">
                <a:extLst>
                  <a:ext uri="{FF2B5EF4-FFF2-40B4-BE49-F238E27FC236}">
                    <a16:creationId xmlns:a16="http://schemas.microsoft.com/office/drawing/2014/main" id="{37EC31AF-BED1-444B-9403-A3721206BF92}"/>
                  </a:ext>
                </a:extLst>
              </p:cNvPr>
              <p:cNvSpPr/>
              <p:nvPr/>
            </p:nvSpPr>
            <p:spPr>
              <a:xfrm>
                <a:off x="3382432" y="1335590"/>
                <a:ext cx="1959012" cy="1788347"/>
              </a:xfrm>
              <a:custGeom>
                <a:avLst/>
                <a:gdLst>
                  <a:gd name="connsiteX0" fmla="*/ 169583 w 1959012"/>
                  <a:gd name="connsiteY0" fmla="*/ 1054931 h 1788347"/>
                  <a:gd name="connsiteX1" fmla="*/ 339166 w 1959012"/>
                  <a:gd name="connsiteY1" fmla="*/ 1224514 h 1788347"/>
                  <a:gd name="connsiteX2" fmla="*/ 339166 w 1959012"/>
                  <a:gd name="connsiteY2" fmla="*/ 1618758 h 1788347"/>
                  <a:gd name="connsiteX3" fmla="*/ 169583 w 1959012"/>
                  <a:gd name="connsiteY3" fmla="*/ 1788341 h 1788347"/>
                  <a:gd name="connsiteX4" fmla="*/ 0 w 1959012"/>
                  <a:gd name="connsiteY4" fmla="*/ 1618758 h 1788347"/>
                  <a:gd name="connsiteX5" fmla="*/ 0 w 1959012"/>
                  <a:gd name="connsiteY5" fmla="*/ 1224514 h 1788347"/>
                  <a:gd name="connsiteX6" fmla="*/ 169583 w 1959012"/>
                  <a:gd name="connsiteY6" fmla="*/ 1054931 h 1788347"/>
                  <a:gd name="connsiteX7" fmla="*/ 1255480 w 1959012"/>
                  <a:gd name="connsiteY7" fmla="*/ 692010 h 1788347"/>
                  <a:gd name="connsiteX8" fmla="*/ 1425063 w 1959012"/>
                  <a:gd name="connsiteY8" fmla="*/ 861593 h 1788347"/>
                  <a:gd name="connsiteX9" fmla="*/ 1425063 w 1959012"/>
                  <a:gd name="connsiteY9" fmla="*/ 1618764 h 1788347"/>
                  <a:gd name="connsiteX10" fmla="*/ 1255480 w 1959012"/>
                  <a:gd name="connsiteY10" fmla="*/ 1788347 h 1788347"/>
                  <a:gd name="connsiteX11" fmla="*/ 1085897 w 1959012"/>
                  <a:gd name="connsiteY11" fmla="*/ 1618764 h 1788347"/>
                  <a:gd name="connsiteX12" fmla="*/ 1085897 w 1959012"/>
                  <a:gd name="connsiteY12" fmla="*/ 861593 h 1788347"/>
                  <a:gd name="connsiteX13" fmla="*/ 1255480 w 1959012"/>
                  <a:gd name="connsiteY13" fmla="*/ 692010 h 1788347"/>
                  <a:gd name="connsiteX14" fmla="*/ 712526 w 1959012"/>
                  <a:gd name="connsiteY14" fmla="*/ 438716 h 1788347"/>
                  <a:gd name="connsiteX15" fmla="*/ 882106 w 1959012"/>
                  <a:gd name="connsiteY15" fmla="*/ 608296 h 1788347"/>
                  <a:gd name="connsiteX16" fmla="*/ 882106 w 1959012"/>
                  <a:gd name="connsiteY16" fmla="*/ 1618767 h 1788347"/>
                  <a:gd name="connsiteX17" fmla="*/ 712526 w 1959012"/>
                  <a:gd name="connsiteY17" fmla="*/ 1788347 h 1788347"/>
                  <a:gd name="connsiteX18" fmla="*/ 542946 w 1959012"/>
                  <a:gd name="connsiteY18" fmla="*/ 1618767 h 1788347"/>
                  <a:gd name="connsiteX19" fmla="*/ 542946 w 1959012"/>
                  <a:gd name="connsiteY19" fmla="*/ 608296 h 1788347"/>
                  <a:gd name="connsiteX20" fmla="*/ 712526 w 1959012"/>
                  <a:gd name="connsiteY20" fmla="*/ 438716 h 1788347"/>
                  <a:gd name="connsiteX21" fmla="*/ 1789429 w 1959012"/>
                  <a:gd name="connsiteY21" fmla="*/ 0 h 1788347"/>
                  <a:gd name="connsiteX22" fmla="*/ 1959012 w 1959012"/>
                  <a:gd name="connsiteY22" fmla="*/ 169583 h 1788347"/>
                  <a:gd name="connsiteX23" fmla="*/ 1959012 w 1959012"/>
                  <a:gd name="connsiteY23" fmla="*/ 1618764 h 1788347"/>
                  <a:gd name="connsiteX24" fmla="*/ 1789429 w 1959012"/>
                  <a:gd name="connsiteY24" fmla="*/ 1788347 h 1788347"/>
                  <a:gd name="connsiteX25" fmla="*/ 1619846 w 1959012"/>
                  <a:gd name="connsiteY25" fmla="*/ 1618764 h 1788347"/>
                  <a:gd name="connsiteX26" fmla="*/ 1619846 w 1959012"/>
                  <a:gd name="connsiteY26" fmla="*/ 169583 h 1788347"/>
                  <a:gd name="connsiteX27" fmla="*/ 1789429 w 1959012"/>
                  <a:gd name="connsiteY27" fmla="*/ 0 h 178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9012" h="1788347">
                    <a:moveTo>
                      <a:pt x="169583" y="1054931"/>
                    </a:moveTo>
                    <a:cubicBezTo>
                      <a:pt x="263241" y="1054931"/>
                      <a:pt x="339166" y="1130856"/>
                      <a:pt x="339166" y="1224514"/>
                    </a:cubicBezTo>
                    <a:lnTo>
                      <a:pt x="339166" y="1618758"/>
                    </a:lnTo>
                    <a:cubicBezTo>
                      <a:pt x="339166" y="1712416"/>
                      <a:pt x="263241" y="1788341"/>
                      <a:pt x="169583" y="1788341"/>
                    </a:cubicBezTo>
                    <a:cubicBezTo>
                      <a:pt x="75925" y="1788341"/>
                      <a:pt x="0" y="1712416"/>
                      <a:pt x="0" y="1618758"/>
                    </a:cubicBezTo>
                    <a:lnTo>
                      <a:pt x="0" y="1224514"/>
                    </a:lnTo>
                    <a:cubicBezTo>
                      <a:pt x="0" y="1130856"/>
                      <a:pt x="75925" y="1054931"/>
                      <a:pt x="169583" y="1054931"/>
                    </a:cubicBezTo>
                    <a:close/>
                    <a:moveTo>
                      <a:pt x="1255480" y="692010"/>
                    </a:moveTo>
                    <a:cubicBezTo>
                      <a:pt x="1349138" y="692010"/>
                      <a:pt x="1425063" y="767935"/>
                      <a:pt x="1425063" y="861593"/>
                    </a:cubicBezTo>
                    <a:lnTo>
                      <a:pt x="1425063" y="1618764"/>
                    </a:lnTo>
                    <a:cubicBezTo>
                      <a:pt x="1425063" y="1712422"/>
                      <a:pt x="1349138" y="1788347"/>
                      <a:pt x="1255480" y="1788347"/>
                    </a:cubicBezTo>
                    <a:cubicBezTo>
                      <a:pt x="1161822" y="1788347"/>
                      <a:pt x="1085897" y="1712422"/>
                      <a:pt x="1085897" y="1618764"/>
                    </a:cubicBezTo>
                    <a:lnTo>
                      <a:pt x="1085897" y="861593"/>
                    </a:lnTo>
                    <a:cubicBezTo>
                      <a:pt x="1085897" y="767935"/>
                      <a:pt x="1161822" y="692010"/>
                      <a:pt x="1255480" y="692010"/>
                    </a:cubicBezTo>
                    <a:close/>
                    <a:moveTo>
                      <a:pt x="712526" y="438716"/>
                    </a:moveTo>
                    <a:cubicBezTo>
                      <a:pt x="806182" y="438716"/>
                      <a:pt x="882106" y="514640"/>
                      <a:pt x="882106" y="608296"/>
                    </a:cubicBezTo>
                    <a:lnTo>
                      <a:pt x="882106" y="1618767"/>
                    </a:lnTo>
                    <a:cubicBezTo>
                      <a:pt x="882106" y="1712423"/>
                      <a:pt x="806182" y="1788347"/>
                      <a:pt x="712526" y="1788347"/>
                    </a:cubicBezTo>
                    <a:cubicBezTo>
                      <a:pt x="618870" y="1788347"/>
                      <a:pt x="542946" y="1712423"/>
                      <a:pt x="542946" y="1618767"/>
                    </a:cubicBezTo>
                    <a:lnTo>
                      <a:pt x="542946" y="608296"/>
                    </a:lnTo>
                    <a:cubicBezTo>
                      <a:pt x="542946" y="514640"/>
                      <a:pt x="618870" y="438716"/>
                      <a:pt x="712526" y="438716"/>
                    </a:cubicBezTo>
                    <a:close/>
                    <a:moveTo>
                      <a:pt x="1789429" y="0"/>
                    </a:moveTo>
                    <a:cubicBezTo>
                      <a:pt x="1883087" y="0"/>
                      <a:pt x="1959012" y="75925"/>
                      <a:pt x="1959012" y="169583"/>
                    </a:cubicBezTo>
                    <a:lnTo>
                      <a:pt x="1959012" y="1618764"/>
                    </a:lnTo>
                    <a:cubicBezTo>
                      <a:pt x="1959012" y="1712422"/>
                      <a:pt x="1883087" y="1788347"/>
                      <a:pt x="1789429" y="1788347"/>
                    </a:cubicBezTo>
                    <a:cubicBezTo>
                      <a:pt x="1695771" y="1788347"/>
                      <a:pt x="1619846" y="1712422"/>
                      <a:pt x="1619846" y="1618764"/>
                    </a:cubicBezTo>
                    <a:lnTo>
                      <a:pt x="1619846" y="169583"/>
                    </a:lnTo>
                    <a:cubicBezTo>
                      <a:pt x="1619846" y="75925"/>
                      <a:pt x="1695771" y="0"/>
                      <a:pt x="1789429" y="0"/>
                    </a:cubicBezTo>
                    <a:close/>
                  </a:path>
                </a:pathLst>
              </a:custGeom>
              <a:solidFill>
                <a:srgbClr val="50E6FF"/>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grpSp>
      </p:grpSp>
      <p:grpSp>
        <p:nvGrpSpPr>
          <p:cNvPr id="46" name="Group 45">
            <a:extLst>
              <a:ext uri="{FF2B5EF4-FFF2-40B4-BE49-F238E27FC236}">
                <a16:creationId xmlns:a16="http://schemas.microsoft.com/office/drawing/2014/main" id="{28DDCB99-3B62-4995-AA0A-20B3CF35AC58}"/>
              </a:ext>
            </a:extLst>
          </p:cNvPr>
          <p:cNvGrpSpPr/>
          <p:nvPr/>
        </p:nvGrpSpPr>
        <p:grpSpPr>
          <a:xfrm>
            <a:off x="2490882" y="4089603"/>
            <a:ext cx="1575344" cy="1272327"/>
            <a:chOff x="2489294" y="4089602"/>
            <a:chExt cx="1575344" cy="1272327"/>
          </a:xfrm>
        </p:grpSpPr>
        <p:sp>
          <p:nvSpPr>
            <p:cNvPr id="47" name="Rectangle 46">
              <a:extLst>
                <a:ext uri="{FF2B5EF4-FFF2-40B4-BE49-F238E27FC236}">
                  <a16:creationId xmlns:a16="http://schemas.microsoft.com/office/drawing/2014/main" id="{661B09DA-286E-4A05-A35D-E1447D4F8B58}"/>
                </a:ext>
              </a:extLst>
            </p:cNvPr>
            <p:cNvSpPr/>
            <p:nvPr/>
          </p:nvSpPr>
          <p:spPr bwMode="auto">
            <a:xfrm>
              <a:off x="2489294" y="4089602"/>
              <a:ext cx="1575344"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48" name="Graphic 47">
              <a:extLst>
                <a:ext uri="{FF2B5EF4-FFF2-40B4-BE49-F238E27FC236}">
                  <a16:creationId xmlns:a16="http://schemas.microsoft.com/office/drawing/2014/main" id="{CE554029-BA49-4D3B-A441-D62B234F886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89519" y="4278408"/>
              <a:ext cx="360000" cy="360000"/>
            </a:xfrm>
            <a:prstGeom prst="rect">
              <a:avLst/>
            </a:prstGeom>
          </p:spPr>
        </p:pic>
        <p:sp>
          <p:nvSpPr>
            <p:cNvPr id="49" name="TextBox 48">
              <a:extLst>
                <a:ext uri="{FF2B5EF4-FFF2-40B4-BE49-F238E27FC236}">
                  <a16:creationId xmlns:a16="http://schemas.microsoft.com/office/drawing/2014/main" id="{1EDD0871-87B9-4FDD-B19C-73BA60D206E0}"/>
                </a:ext>
              </a:extLst>
            </p:cNvPr>
            <p:cNvSpPr txBox="1"/>
            <p:nvPr/>
          </p:nvSpPr>
          <p:spPr>
            <a:xfrm>
              <a:off x="3085966" y="4306009"/>
              <a:ext cx="907398"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Factory</a:t>
              </a:r>
            </a:p>
          </p:txBody>
        </p:sp>
        <p:sp>
          <p:nvSpPr>
            <p:cNvPr id="52" name="TextBox 51">
              <a:extLst>
                <a:ext uri="{FF2B5EF4-FFF2-40B4-BE49-F238E27FC236}">
                  <a16:creationId xmlns:a16="http://schemas.microsoft.com/office/drawing/2014/main" id="{120D64AF-EC08-4568-951D-6D585382C372}"/>
                </a:ext>
              </a:extLst>
            </p:cNvPr>
            <p:cNvSpPr txBox="1"/>
            <p:nvPr/>
          </p:nvSpPr>
          <p:spPr>
            <a:xfrm>
              <a:off x="3078768" y="4846326"/>
              <a:ext cx="771498"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Synapse Analytics</a:t>
              </a:r>
            </a:p>
          </p:txBody>
        </p:sp>
        <p:pic>
          <p:nvPicPr>
            <p:cNvPr id="56" name="Graphic 55">
              <a:extLst>
                <a:ext uri="{FF2B5EF4-FFF2-40B4-BE49-F238E27FC236}">
                  <a16:creationId xmlns:a16="http://schemas.microsoft.com/office/drawing/2014/main" id="{53F9597C-5000-49AB-888E-5814994194C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18043" y="4840444"/>
              <a:ext cx="313125" cy="360000"/>
            </a:xfrm>
            <a:prstGeom prst="rect">
              <a:avLst/>
            </a:prstGeom>
          </p:spPr>
        </p:pic>
      </p:grpSp>
    </p:spTree>
    <p:extLst>
      <p:ext uri="{BB962C8B-B14F-4D97-AF65-F5344CB8AC3E}">
        <p14:creationId xmlns:p14="http://schemas.microsoft.com/office/powerpoint/2010/main" val="121896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21F7-19CD-6B4A-8900-FB4BCB77EC8A}"/>
              </a:ext>
            </a:extLst>
          </p:cNvPr>
          <p:cNvSpPr>
            <a:spLocks noGrp="1"/>
          </p:cNvSpPr>
          <p:nvPr>
            <p:ph type="title"/>
          </p:nvPr>
        </p:nvSpPr>
        <p:spPr/>
        <p:txBody>
          <a:bodyPr/>
          <a:lstStyle/>
          <a:p>
            <a:r>
              <a:rPr lang="en-US"/>
              <a:t>Using IoT as an operational Data Source</a:t>
            </a:r>
          </a:p>
        </p:txBody>
      </p:sp>
      <p:sp>
        <p:nvSpPr>
          <p:cNvPr id="50" name="Rectangle 49">
            <a:extLst>
              <a:ext uri="{FF2B5EF4-FFF2-40B4-BE49-F238E27FC236}">
                <a16:creationId xmlns:a16="http://schemas.microsoft.com/office/drawing/2014/main" id="{908E8CE3-58BA-479A-96E7-A5E5823D85DA}"/>
              </a:ext>
            </a:extLst>
          </p:cNvPr>
          <p:cNvSpPr/>
          <p:nvPr/>
        </p:nvSpPr>
        <p:spPr bwMode="auto">
          <a:xfrm>
            <a:off x="688094" y="1468438"/>
            <a:ext cx="1430084" cy="3529351"/>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12" name="Group 11">
            <a:extLst>
              <a:ext uri="{FF2B5EF4-FFF2-40B4-BE49-F238E27FC236}">
                <a16:creationId xmlns:a16="http://schemas.microsoft.com/office/drawing/2014/main" id="{591E005E-A937-42D5-BD02-53B35F544AFC}"/>
              </a:ext>
            </a:extLst>
          </p:cNvPr>
          <p:cNvGrpSpPr/>
          <p:nvPr/>
        </p:nvGrpSpPr>
        <p:grpSpPr>
          <a:xfrm>
            <a:off x="843491" y="2888789"/>
            <a:ext cx="1459797" cy="360000"/>
            <a:chOff x="4051094" y="3143895"/>
            <a:chExt cx="1459797" cy="360000"/>
          </a:xfrm>
        </p:grpSpPr>
        <p:sp>
          <p:nvSpPr>
            <p:cNvPr id="53" name="TextBox 52">
              <a:extLst>
                <a:ext uri="{FF2B5EF4-FFF2-40B4-BE49-F238E27FC236}">
                  <a16:creationId xmlns:a16="http://schemas.microsoft.com/office/drawing/2014/main" id="{0E30BD84-8BF0-4944-88C0-C34DAE64AD03}"/>
                </a:ext>
              </a:extLst>
            </p:cNvPr>
            <p:cNvSpPr txBox="1"/>
            <p:nvPr/>
          </p:nvSpPr>
          <p:spPr>
            <a:xfrm>
              <a:off x="4632938" y="3157739"/>
              <a:ext cx="877953" cy="332312"/>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IoT Hub</a:t>
              </a:r>
            </a:p>
          </p:txBody>
        </p:sp>
        <p:pic>
          <p:nvPicPr>
            <p:cNvPr id="54" name="Graphic 53">
              <a:extLst>
                <a:ext uri="{FF2B5EF4-FFF2-40B4-BE49-F238E27FC236}">
                  <a16:creationId xmlns:a16="http://schemas.microsoft.com/office/drawing/2014/main" id="{0B5D69B3-9DA5-42A7-A352-E348B834EA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1094" y="3143895"/>
              <a:ext cx="360000" cy="360000"/>
            </a:xfrm>
            <a:prstGeom prst="rect">
              <a:avLst/>
            </a:prstGeom>
          </p:spPr>
        </p:pic>
      </p:grpSp>
      <p:sp>
        <p:nvSpPr>
          <p:cNvPr id="65" name="Rectangle 64">
            <a:extLst>
              <a:ext uri="{FF2B5EF4-FFF2-40B4-BE49-F238E27FC236}">
                <a16:creationId xmlns:a16="http://schemas.microsoft.com/office/drawing/2014/main" id="{9DFC749E-EDE3-4735-8DB5-98C9D73CB2F5}"/>
              </a:ext>
            </a:extLst>
          </p:cNvPr>
          <p:cNvSpPr/>
          <p:nvPr/>
        </p:nvSpPr>
        <p:spPr bwMode="auto">
          <a:xfrm>
            <a:off x="2886838" y="1466811"/>
            <a:ext cx="3108256"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28" name="Graphic 27">
            <a:extLst>
              <a:ext uri="{FF2B5EF4-FFF2-40B4-BE49-F238E27FC236}">
                <a16:creationId xmlns:a16="http://schemas.microsoft.com/office/drawing/2014/main" id="{58D08A55-172F-4321-B76E-5FF84B9ECF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60212" y="1928871"/>
            <a:ext cx="360000" cy="360000"/>
          </a:xfrm>
          <a:prstGeom prst="rect">
            <a:avLst/>
          </a:prstGeom>
        </p:spPr>
      </p:pic>
      <p:cxnSp>
        <p:nvCxnSpPr>
          <p:cNvPr id="2048" name="Straight Arrow Connector 2047">
            <a:extLst>
              <a:ext uri="{FF2B5EF4-FFF2-40B4-BE49-F238E27FC236}">
                <a16:creationId xmlns:a16="http://schemas.microsoft.com/office/drawing/2014/main" id="{48FC0D36-3860-47C4-888F-562A99353B64}"/>
              </a:ext>
            </a:extLst>
          </p:cNvPr>
          <p:cNvCxnSpPr>
            <a:cxnSpLocks/>
          </p:cNvCxnSpPr>
          <p:nvPr/>
        </p:nvCxnSpPr>
        <p:spPr>
          <a:xfrm>
            <a:off x="1547052" y="4997788"/>
            <a:ext cx="0" cy="876068"/>
          </a:xfrm>
          <a:prstGeom prst="straightConnector1">
            <a:avLst/>
          </a:prstGeom>
          <a:noFill/>
          <a:ln w="19050" cap="flat" cmpd="sng" algn="ctr">
            <a:solidFill>
              <a:srgbClr val="000000"/>
            </a:solidFill>
            <a:prstDash val="solid"/>
            <a:headEnd type="none" w="lg" len="med"/>
            <a:tailEnd type="triangle" w="med" len="med"/>
          </a:ln>
          <a:effectLst/>
        </p:spPr>
      </p:cxnSp>
      <p:grpSp>
        <p:nvGrpSpPr>
          <p:cNvPr id="2078" name="Group 2077">
            <a:extLst>
              <a:ext uri="{FF2B5EF4-FFF2-40B4-BE49-F238E27FC236}">
                <a16:creationId xmlns:a16="http://schemas.microsoft.com/office/drawing/2014/main" id="{F2780D3B-3E3D-4C7B-BA1F-C0FF339D8A51}"/>
              </a:ext>
            </a:extLst>
          </p:cNvPr>
          <p:cNvGrpSpPr/>
          <p:nvPr/>
        </p:nvGrpSpPr>
        <p:grpSpPr>
          <a:xfrm>
            <a:off x="688095" y="5881927"/>
            <a:ext cx="8254704" cy="791308"/>
            <a:chOff x="686507" y="6142892"/>
            <a:chExt cx="8254704" cy="791308"/>
          </a:xfrm>
        </p:grpSpPr>
        <p:sp>
          <p:nvSpPr>
            <p:cNvPr id="55" name="Rectangle 54">
              <a:extLst>
                <a:ext uri="{FF2B5EF4-FFF2-40B4-BE49-F238E27FC236}">
                  <a16:creationId xmlns:a16="http://schemas.microsoft.com/office/drawing/2014/main" id="{C06EF729-EA3D-4610-99C8-C942AF45A401}"/>
                </a:ext>
              </a:extLst>
            </p:cNvPr>
            <p:cNvSpPr/>
            <p:nvPr/>
          </p:nvSpPr>
          <p:spPr bwMode="auto">
            <a:xfrm>
              <a:off x="686507" y="6142892"/>
              <a:ext cx="8254704" cy="791308"/>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55" name="Group 2054">
              <a:extLst>
                <a:ext uri="{FF2B5EF4-FFF2-40B4-BE49-F238E27FC236}">
                  <a16:creationId xmlns:a16="http://schemas.microsoft.com/office/drawing/2014/main" id="{7EA480AF-11E2-4F28-8D26-F88C28BFD7EE}"/>
                </a:ext>
              </a:extLst>
            </p:cNvPr>
            <p:cNvGrpSpPr/>
            <p:nvPr/>
          </p:nvGrpSpPr>
          <p:grpSpPr>
            <a:xfrm>
              <a:off x="3704638" y="6358546"/>
              <a:ext cx="2218443" cy="367641"/>
              <a:chOff x="3476723" y="5710846"/>
              <a:chExt cx="2218443" cy="367641"/>
            </a:xfrm>
          </p:grpSpPr>
          <p:pic>
            <p:nvPicPr>
              <p:cNvPr id="18" name="Graphic 17">
                <a:extLst>
                  <a:ext uri="{FF2B5EF4-FFF2-40B4-BE49-F238E27FC236}">
                    <a16:creationId xmlns:a16="http://schemas.microsoft.com/office/drawing/2014/main" id="{36942917-ADCB-4A69-9BE2-9DD4E7BAA8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76723" y="5710846"/>
                <a:ext cx="360000" cy="360000"/>
              </a:xfrm>
              <a:prstGeom prst="rect">
                <a:avLst/>
              </a:prstGeom>
            </p:spPr>
          </p:pic>
          <p:sp>
            <p:nvSpPr>
              <p:cNvPr id="2054" name="TextBox 2053">
                <a:extLst>
                  <a:ext uri="{FF2B5EF4-FFF2-40B4-BE49-F238E27FC236}">
                    <a16:creationId xmlns:a16="http://schemas.microsoft.com/office/drawing/2014/main" id="{7200BAAA-A6E8-473D-96F7-96017DDF7517}"/>
                  </a:ext>
                </a:extLst>
              </p:cNvPr>
              <p:cNvSpPr txBox="1"/>
              <p:nvPr/>
            </p:nvSpPr>
            <p:spPr>
              <a:xfrm>
                <a:off x="4107562" y="5746088"/>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Lake Gen 2</a:t>
                </a:r>
              </a:p>
            </p:txBody>
          </p:sp>
        </p:grpSp>
      </p:grpSp>
      <p:cxnSp>
        <p:nvCxnSpPr>
          <p:cNvPr id="2059" name="Straight Arrow Connector 2058">
            <a:extLst>
              <a:ext uri="{FF2B5EF4-FFF2-40B4-BE49-F238E27FC236}">
                <a16:creationId xmlns:a16="http://schemas.microsoft.com/office/drawing/2014/main" id="{83E466FE-227B-4755-A92C-80A50BCDB1C6}"/>
              </a:ext>
            </a:extLst>
          </p:cNvPr>
          <p:cNvCxnSpPr>
            <a:cxnSpLocks/>
          </p:cNvCxnSpPr>
          <p:nvPr/>
        </p:nvCxnSpPr>
        <p:spPr>
          <a:xfrm>
            <a:off x="2118178" y="2117360"/>
            <a:ext cx="768660" cy="0"/>
          </a:xfrm>
          <a:prstGeom prst="straightConnector1">
            <a:avLst/>
          </a:prstGeom>
          <a:noFill/>
          <a:ln w="19050" cap="flat" cmpd="sng" algn="ctr">
            <a:solidFill>
              <a:srgbClr val="000000"/>
            </a:solidFill>
            <a:prstDash val="solid"/>
            <a:headEnd type="none" w="lg" len="med"/>
            <a:tailEnd type="triangle" w="med" len="med"/>
          </a:ln>
          <a:effectLst/>
        </p:spPr>
      </p:cxnSp>
      <p:sp>
        <p:nvSpPr>
          <p:cNvPr id="2062" name="TextBox 2061">
            <a:extLst>
              <a:ext uri="{FF2B5EF4-FFF2-40B4-BE49-F238E27FC236}">
                <a16:creationId xmlns:a16="http://schemas.microsoft.com/office/drawing/2014/main" id="{8D493B05-F15E-4599-95EE-34A9445E1381}"/>
              </a:ext>
            </a:extLst>
          </p:cNvPr>
          <p:cNvSpPr txBox="1"/>
          <p:nvPr/>
        </p:nvSpPr>
        <p:spPr>
          <a:xfrm>
            <a:off x="3884862" y="1938919"/>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tream Analytics</a:t>
            </a:r>
          </a:p>
        </p:txBody>
      </p:sp>
      <p:cxnSp>
        <p:nvCxnSpPr>
          <p:cNvPr id="64" name="Straight Arrow Connector 63">
            <a:extLst>
              <a:ext uri="{FF2B5EF4-FFF2-40B4-BE49-F238E27FC236}">
                <a16:creationId xmlns:a16="http://schemas.microsoft.com/office/drawing/2014/main" id="{2AA32156-55C4-4B88-9000-217C358FC6A6}"/>
              </a:ext>
            </a:extLst>
          </p:cNvPr>
          <p:cNvCxnSpPr>
            <a:cxnSpLocks/>
          </p:cNvCxnSpPr>
          <p:nvPr/>
        </p:nvCxnSpPr>
        <p:spPr>
          <a:xfrm flipH="1">
            <a:off x="3011284" y="5352795"/>
            <a:ext cx="4130" cy="506539"/>
          </a:xfrm>
          <a:prstGeom prst="straightConnector1">
            <a:avLst/>
          </a:prstGeom>
          <a:noFill/>
          <a:ln w="19050" cap="flat" cmpd="sng" algn="ctr">
            <a:solidFill>
              <a:srgbClr val="000000"/>
            </a:solidFill>
            <a:prstDash val="solid"/>
            <a:headEnd type="none" w="lg" len="med"/>
            <a:tailEnd type="triangle" w="med" len="med"/>
          </a:ln>
          <a:effectLst/>
        </p:spPr>
      </p:cxnSp>
      <p:cxnSp>
        <p:nvCxnSpPr>
          <p:cNvPr id="66" name="Straight Arrow Connector 65">
            <a:extLst>
              <a:ext uri="{FF2B5EF4-FFF2-40B4-BE49-F238E27FC236}">
                <a16:creationId xmlns:a16="http://schemas.microsoft.com/office/drawing/2014/main" id="{FD919623-A86A-457C-AAC0-3B1E725F0C3F}"/>
              </a:ext>
            </a:extLst>
          </p:cNvPr>
          <p:cNvCxnSpPr>
            <a:cxnSpLocks/>
          </p:cNvCxnSpPr>
          <p:nvPr/>
        </p:nvCxnSpPr>
        <p:spPr>
          <a:xfrm>
            <a:off x="3772121" y="5361930"/>
            <a:ext cx="0" cy="485727"/>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3" name="Group 92">
            <a:extLst>
              <a:ext uri="{FF2B5EF4-FFF2-40B4-BE49-F238E27FC236}">
                <a16:creationId xmlns:a16="http://schemas.microsoft.com/office/drawing/2014/main" id="{49B82087-B0BC-4848-B112-E4935CA6B607}"/>
              </a:ext>
            </a:extLst>
          </p:cNvPr>
          <p:cNvGrpSpPr/>
          <p:nvPr/>
        </p:nvGrpSpPr>
        <p:grpSpPr>
          <a:xfrm>
            <a:off x="5505798" y="4088613"/>
            <a:ext cx="3445565" cy="1286689"/>
            <a:chOff x="5495646" y="4424851"/>
            <a:chExt cx="3445565" cy="1286689"/>
          </a:xfrm>
        </p:grpSpPr>
        <p:sp>
          <p:nvSpPr>
            <p:cNvPr id="67" name="Rectangle 66">
              <a:extLst>
                <a:ext uri="{FF2B5EF4-FFF2-40B4-BE49-F238E27FC236}">
                  <a16:creationId xmlns:a16="http://schemas.microsoft.com/office/drawing/2014/main" id="{82929D9A-DEFC-4BC0-9A8D-289C9895D81D}"/>
                </a:ext>
              </a:extLst>
            </p:cNvPr>
            <p:cNvSpPr/>
            <p:nvPr/>
          </p:nvSpPr>
          <p:spPr bwMode="auto">
            <a:xfrm>
              <a:off x="5495646" y="4424851"/>
              <a:ext cx="3445565"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68" name="Group 2067">
              <a:extLst>
                <a:ext uri="{FF2B5EF4-FFF2-40B4-BE49-F238E27FC236}">
                  <a16:creationId xmlns:a16="http://schemas.microsoft.com/office/drawing/2014/main" id="{E19B705F-9126-4E4C-AB43-6379A32256CE}"/>
                </a:ext>
              </a:extLst>
            </p:cNvPr>
            <p:cNvGrpSpPr/>
            <p:nvPr/>
          </p:nvGrpSpPr>
          <p:grpSpPr>
            <a:xfrm>
              <a:off x="7372981" y="4931855"/>
              <a:ext cx="1537924" cy="360000"/>
              <a:chOff x="7249867" y="4208717"/>
              <a:chExt cx="1537924" cy="360000"/>
            </a:xfrm>
          </p:grpSpPr>
          <p:sp>
            <p:nvSpPr>
              <p:cNvPr id="2063" name="TextBox 2062">
                <a:extLst>
                  <a:ext uri="{FF2B5EF4-FFF2-40B4-BE49-F238E27FC236}">
                    <a16:creationId xmlns:a16="http://schemas.microsoft.com/office/drawing/2014/main" id="{951F593A-492A-4445-8CF9-895D09A17915}"/>
                  </a:ext>
                </a:extLst>
              </p:cNvPr>
              <p:cNvSpPr txBox="1"/>
              <p:nvPr/>
            </p:nvSpPr>
            <p:spPr>
              <a:xfrm>
                <a:off x="7635212" y="4215984"/>
                <a:ext cx="1152579"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ynapse Analytics</a:t>
                </a:r>
              </a:p>
            </p:txBody>
          </p:sp>
          <p:pic>
            <p:nvPicPr>
              <p:cNvPr id="2064" name="Graphic 2063">
                <a:extLst>
                  <a:ext uri="{FF2B5EF4-FFF2-40B4-BE49-F238E27FC236}">
                    <a16:creationId xmlns:a16="http://schemas.microsoft.com/office/drawing/2014/main" id="{DE92E9C4-4494-4B98-9DD4-A14CF475FCC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49867" y="4208717"/>
                <a:ext cx="313125" cy="360000"/>
              </a:xfrm>
              <a:prstGeom prst="rect">
                <a:avLst/>
              </a:prstGeom>
            </p:spPr>
          </p:pic>
        </p:grpSp>
        <p:grpSp>
          <p:nvGrpSpPr>
            <p:cNvPr id="2069" name="Group 2068">
              <a:extLst>
                <a:ext uri="{FF2B5EF4-FFF2-40B4-BE49-F238E27FC236}">
                  <a16:creationId xmlns:a16="http://schemas.microsoft.com/office/drawing/2014/main" id="{62D1B794-9A5A-4BD5-BF98-D4F751817994}"/>
                </a:ext>
              </a:extLst>
            </p:cNvPr>
            <p:cNvGrpSpPr/>
            <p:nvPr/>
          </p:nvGrpSpPr>
          <p:grpSpPr>
            <a:xfrm>
              <a:off x="5575782" y="4916599"/>
              <a:ext cx="1570303" cy="360000"/>
              <a:chOff x="5378138" y="4179766"/>
              <a:chExt cx="1570303" cy="360000"/>
            </a:xfrm>
          </p:grpSpPr>
          <p:pic>
            <p:nvPicPr>
              <p:cNvPr id="29" name="Graphic 28">
                <a:extLst>
                  <a:ext uri="{FF2B5EF4-FFF2-40B4-BE49-F238E27FC236}">
                    <a16:creationId xmlns:a16="http://schemas.microsoft.com/office/drawing/2014/main" id="{7A78BD5A-0E7A-4CE8-B21C-B7D8CAEC1E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78138" y="4179766"/>
                <a:ext cx="360000" cy="360000"/>
              </a:xfrm>
              <a:prstGeom prst="rect">
                <a:avLst/>
              </a:prstGeom>
            </p:spPr>
          </p:pic>
          <p:sp>
            <p:nvSpPr>
              <p:cNvPr id="68" name="TextBox 67">
                <a:extLst>
                  <a:ext uri="{FF2B5EF4-FFF2-40B4-BE49-F238E27FC236}">
                    <a16:creationId xmlns:a16="http://schemas.microsoft.com/office/drawing/2014/main" id="{D83A5F90-DABC-45C6-A5BD-DD16332B37EC}"/>
                  </a:ext>
                </a:extLst>
              </p:cNvPr>
              <p:cNvSpPr txBox="1"/>
              <p:nvPr/>
            </p:nvSpPr>
            <p:spPr>
              <a:xfrm>
                <a:off x="5795862" y="4206117"/>
                <a:ext cx="1152579" cy="332399"/>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QL Datawarehouse</a:t>
                </a:r>
              </a:p>
            </p:txBody>
          </p:sp>
        </p:grpSp>
      </p:grpSp>
      <p:cxnSp>
        <p:nvCxnSpPr>
          <p:cNvPr id="84" name="Straight Arrow Connector 83">
            <a:extLst>
              <a:ext uri="{FF2B5EF4-FFF2-40B4-BE49-F238E27FC236}">
                <a16:creationId xmlns:a16="http://schemas.microsoft.com/office/drawing/2014/main" id="{8420B9F6-867E-4A2C-8F59-7D0BEAF51070}"/>
              </a:ext>
            </a:extLst>
          </p:cNvPr>
          <p:cNvCxnSpPr>
            <a:cxnSpLocks/>
          </p:cNvCxnSpPr>
          <p:nvPr/>
        </p:nvCxnSpPr>
        <p:spPr>
          <a:xfrm>
            <a:off x="5831570" y="2753500"/>
            <a:ext cx="0" cy="1281029"/>
          </a:xfrm>
          <a:prstGeom prst="straightConnector1">
            <a:avLst/>
          </a:prstGeom>
          <a:noFill/>
          <a:ln w="19050" cap="flat" cmpd="sng" algn="ctr">
            <a:solidFill>
              <a:srgbClr val="000000"/>
            </a:solidFill>
            <a:prstDash val="solid"/>
            <a:headEnd type="none" w="lg" len="med"/>
            <a:tailEnd type="triangle" w="med" len="med"/>
          </a:ln>
          <a:effectLst/>
        </p:spPr>
      </p:cxnSp>
      <p:grpSp>
        <p:nvGrpSpPr>
          <p:cNvPr id="92" name="Group 91">
            <a:extLst>
              <a:ext uri="{FF2B5EF4-FFF2-40B4-BE49-F238E27FC236}">
                <a16:creationId xmlns:a16="http://schemas.microsoft.com/office/drawing/2014/main" id="{F96AB8BA-5C0C-4FB2-99F7-6EF5F43C2647}"/>
              </a:ext>
            </a:extLst>
          </p:cNvPr>
          <p:cNvGrpSpPr/>
          <p:nvPr/>
        </p:nvGrpSpPr>
        <p:grpSpPr>
          <a:xfrm>
            <a:off x="4356624" y="4091404"/>
            <a:ext cx="906891" cy="1272327"/>
            <a:chOff x="4346472" y="4427642"/>
            <a:chExt cx="906891" cy="1272327"/>
          </a:xfrm>
        </p:grpSpPr>
        <p:sp>
          <p:nvSpPr>
            <p:cNvPr id="87" name="Rectangle 86">
              <a:extLst>
                <a:ext uri="{FF2B5EF4-FFF2-40B4-BE49-F238E27FC236}">
                  <a16:creationId xmlns:a16="http://schemas.microsoft.com/office/drawing/2014/main" id="{C93BDA40-2B2A-42B7-8798-4CC7E1FA647A}"/>
                </a:ext>
              </a:extLst>
            </p:cNvPr>
            <p:cNvSpPr/>
            <p:nvPr/>
          </p:nvSpPr>
          <p:spPr bwMode="auto">
            <a:xfrm>
              <a:off x="4346472" y="4427642"/>
              <a:ext cx="906891"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13" name="Graphic 12">
              <a:extLst>
                <a:ext uri="{FF2B5EF4-FFF2-40B4-BE49-F238E27FC236}">
                  <a16:creationId xmlns:a16="http://schemas.microsoft.com/office/drawing/2014/main" id="{B6EE4014-0BC6-4208-8F16-730663E254A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04869" y="4792328"/>
              <a:ext cx="360000" cy="360000"/>
            </a:xfrm>
            <a:prstGeom prst="rect">
              <a:avLst/>
            </a:prstGeom>
          </p:spPr>
        </p:pic>
        <p:sp>
          <p:nvSpPr>
            <p:cNvPr id="89" name="TextBox 88">
              <a:extLst>
                <a:ext uri="{FF2B5EF4-FFF2-40B4-BE49-F238E27FC236}">
                  <a16:creationId xmlns:a16="http://schemas.microsoft.com/office/drawing/2014/main" id="{D1E29D12-C807-437F-AC78-383EEE5CA250}"/>
                </a:ext>
              </a:extLst>
            </p:cNvPr>
            <p:cNvSpPr txBox="1"/>
            <p:nvPr/>
          </p:nvSpPr>
          <p:spPr>
            <a:xfrm>
              <a:off x="4522733" y="5251656"/>
              <a:ext cx="524271" cy="332399"/>
            </a:xfrm>
            <a:prstGeom prst="rect">
              <a:avLst/>
            </a:prstGeom>
            <a:noFill/>
          </p:spPr>
          <p:txBody>
            <a:bodyPr wrap="square" lIns="0" tIns="0" rIns="0" bIns="0" rtlCol="0">
              <a:spAutoFit/>
            </a:bodyPr>
            <a:lstStyle/>
            <a:p>
              <a:pPr algn="ct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QL</a:t>
              </a:r>
            </a:p>
          </p:txBody>
        </p:sp>
      </p:grpSp>
      <p:cxnSp>
        <p:nvCxnSpPr>
          <p:cNvPr id="91" name="Straight Arrow Connector 90">
            <a:extLst>
              <a:ext uri="{FF2B5EF4-FFF2-40B4-BE49-F238E27FC236}">
                <a16:creationId xmlns:a16="http://schemas.microsoft.com/office/drawing/2014/main" id="{2E7AE7E5-DEA3-4EF8-9075-5F49F793A41D}"/>
              </a:ext>
            </a:extLst>
          </p:cNvPr>
          <p:cNvCxnSpPr>
            <a:cxnSpLocks/>
          </p:cNvCxnSpPr>
          <p:nvPr/>
        </p:nvCxnSpPr>
        <p:spPr>
          <a:xfrm>
            <a:off x="4696106" y="2753500"/>
            <a:ext cx="0" cy="1335113"/>
          </a:xfrm>
          <a:prstGeom prst="straightConnector1">
            <a:avLst/>
          </a:prstGeom>
          <a:noFill/>
          <a:ln w="19050" cap="flat" cmpd="sng" algn="ctr">
            <a:solidFill>
              <a:srgbClr val="000000"/>
            </a:solidFill>
            <a:prstDash val="solid"/>
            <a:headEnd type="none" w="lg" len="med"/>
            <a:tailEnd type="triangle" w="med" len="med"/>
          </a:ln>
          <a:effectLst/>
        </p:spPr>
      </p:cxnSp>
      <p:cxnSp>
        <p:nvCxnSpPr>
          <p:cNvPr id="2053" name="Straight Arrow Connector 2052">
            <a:extLst>
              <a:ext uri="{FF2B5EF4-FFF2-40B4-BE49-F238E27FC236}">
                <a16:creationId xmlns:a16="http://schemas.microsoft.com/office/drawing/2014/main" id="{49553682-7F22-421A-82E4-92A710564538}"/>
              </a:ext>
            </a:extLst>
          </p:cNvPr>
          <p:cNvCxnSpPr/>
          <p:nvPr/>
        </p:nvCxnSpPr>
        <p:spPr>
          <a:xfrm flipH="1">
            <a:off x="8942800" y="4236265"/>
            <a:ext cx="576567" cy="0"/>
          </a:xfrm>
          <a:prstGeom prst="straightConnector1">
            <a:avLst/>
          </a:prstGeom>
          <a:noFill/>
          <a:ln w="19050" cap="flat" cmpd="sng" algn="ctr">
            <a:solidFill>
              <a:schemeClr val="accent6"/>
            </a:solidFill>
            <a:prstDash val="solid"/>
            <a:headEnd type="none" w="lg" len="med"/>
            <a:tailEnd type="triangle" w="med" len="med"/>
          </a:ln>
          <a:effectLst/>
        </p:spPr>
      </p:cxnSp>
      <p:cxnSp>
        <p:nvCxnSpPr>
          <p:cNvPr id="111" name="Straight Arrow Connector 110">
            <a:extLst>
              <a:ext uri="{FF2B5EF4-FFF2-40B4-BE49-F238E27FC236}">
                <a16:creationId xmlns:a16="http://schemas.microsoft.com/office/drawing/2014/main" id="{BDE5A235-E5BA-4014-9748-ACA9B679D902}"/>
              </a:ext>
            </a:extLst>
          </p:cNvPr>
          <p:cNvCxnSpPr>
            <a:cxnSpLocks/>
          </p:cNvCxnSpPr>
          <p:nvPr/>
        </p:nvCxnSpPr>
        <p:spPr>
          <a:xfrm>
            <a:off x="4966457" y="3860026"/>
            <a:ext cx="0" cy="228587"/>
          </a:xfrm>
          <a:prstGeom prst="straightConnector1">
            <a:avLst/>
          </a:prstGeom>
          <a:noFill/>
          <a:ln w="19050" cap="flat" cmpd="sng" algn="ctr">
            <a:solidFill>
              <a:schemeClr val="accent6"/>
            </a:solidFill>
            <a:prstDash val="solid"/>
            <a:headEnd type="none" w="lg" len="med"/>
            <a:tailEnd type="triangle" w="med" len="med"/>
          </a:ln>
          <a:effectLst/>
        </p:spPr>
      </p:cxnSp>
      <p:cxnSp>
        <p:nvCxnSpPr>
          <p:cNvPr id="2061" name="Straight Connector 2060">
            <a:extLst>
              <a:ext uri="{FF2B5EF4-FFF2-40B4-BE49-F238E27FC236}">
                <a16:creationId xmlns:a16="http://schemas.microsoft.com/office/drawing/2014/main" id="{1AD6DD68-D4F3-4C80-BC92-2C38DE9AC9AE}"/>
              </a:ext>
            </a:extLst>
          </p:cNvPr>
          <p:cNvCxnSpPr>
            <a:cxnSpLocks/>
          </p:cNvCxnSpPr>
          <p:nvPr/>
        </p:nvCxnSpPr>
        <p:spPr>
          <a:xfrm>
            <a:off x="4975021" y="3864788"/>
            <a:ext cx="4552909" cy="0"/>
          </a:xfrm>
          <a:prstGeom prst="line">
            <a:avLst/>
          </a:prstGeom>
          <a:noFill/>
          <a:ln w="19050" cap="flat" cmpd="sng" algn="ctr">
            <a:solidFill>
              <a:schemeClr val="accent6"/>
            </a:solidFill>
            <a:prstDash val="solid"/>
            <a:headEnd type="none" w="med" len="med"/>
            <a:tailEnd type="none" w="med" len="med"/>
          </a:ln>
          <a:effectLst/>
        </p:spPr>
      </p:cxnSp>
      <p:sp>
        <p:nvSpPr>
          <p:cNvPr id="57" name="Rectangle 56">
            <a:extLst>
              <a:ext uri="{FF2B5EF4-FFF2-40B4-BE49-F238E27FC236}">
                <a16:creationId xmlns:a16="http://schemas.microsoft.com/office/drawing/2014/main" id="{4E948A42-7075-4281-AB6C-9F32A4F37310}"/>
              </a:ext>
            </a:extLst>
          </p:cNvPr>
          <p:cNvSpPr/>
          <p:nvPr/>
        </p:nvSpPr>
        <p:spPr bwMode="auto">
          <a:xfrm>
            <a:off x="9519366" y="2994612"/>
            <a:ext cx="1841930" cy="149641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51" name="Group 50">
            <a:extLst>
              <a:ext uri="{FF2B5EF4-FFF2-40B4-BE49-F238E27FC236}">
                <a16:creationId xmlns:a16="http://schemas.microsoft.com/office/drawing/2014/main" id="{A4AC3279-830A-4628-931B-931C9B9DD62E}"/>
              </a:ext>
            </a:extLst>
          </p:cNvPr>
          <p:cNvGrpSpPr/>
          <p:nvPr/>
        </p:nvGrpSpPr>
        <p:grpSpPr>
          <a:xfrm>
            <a:off x="9818146" y="3610963"/>
            <a:ext cx="1252935" cy="358250"/>
            <a:chOff x="9730105" y="3501775"/>
            <a:chExt cx="1252935" cy="358250"/>
          </a:xfrm>
        </p:grpSpPr>
        <p:sp>
          <p:nvSpPr>
            <p:cNvPr id="58" name="TextBox 57">
              <a:extLst>
                <a:ext uri="{FF2B5EF4-FFF2-40B4-BE49-F238E27FC236}">
                  <a16:creationId xmlns:a16="http://schemas.microsoft.com/office/drawing/2014/main" id="{CDBA0939-8AA3-4E72-B317-BBE45D1DC071}"/>
                </a:ext>
              </a:extLst>
            </p:cNvPr>
            <p:cNvSpPr txBox="1"/>
            <p:nvPr/>
          </p:nvSpPr>
          <p:spPr>
            <a:xfrm>
              <a:off x="10374997" y="3640359"/>
              <a:ext cx="608043" cy="166156"/>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Power BI</a:t>
              </a:r>
            </a:p>
          </p:txBody>
        </p:sp>
        <p:grpSp>
          <p:nvGrpSpPr>
            <p:cNvPr id="59" name="Group 58">
              <a:extLst>
                <a:ext uri="{FF2B5EF4-FFF2-40B4-BE49-F238E27FC236}">
                  <a16:creationId xmlns:a16="http://schemas.microsoft.com/office/drawing/2014/main" id="{CF0CA3EF-E4AF-48CE-A471-4C831E54EF3F}"/>
                </a:ext>
              </a:extLst>
            </p:cNvPr>
            <p:cNvGrpSpPr/>
            <p:nvPr/>
          </p:nvGrpSpPr>
          <p:grpSpPr>
            <a:xfrm>
              <a:off x="9730105" y="3501775"/>
              <a:ext cx="474506" cy="358250"/>
              <a:chOff x="2851176" y="840527"/>
              <a:chExt cx="3024388" cy="2283410"/>
            </a:xfrm>
          </p:grpSpPr>
          <p:sp>
            <p:nvSpPr>
              <p:cNvPr id="60" name="Freeform: Shape 338">
                <a:extLst>
                  <a:ext uri="{FF2B5EF4-FFF2-40B4-BE49-F238E27FC236}">
                    <a16:creationId xmlns:a16="http://schemas.microsoft.com/office/drawing/2014/main" id="{755D314E-9F9D-47B0-8CC8-7815A6387FB6}"/>
                  </a:ext>
                </a:extLst>
              </p:cNvPr>
              <p:cNvSpPr/>
              <p:nvPr/>
            </p:nvSpPr>
            <p:spPr>
              <a:xfrm>
                <a:off x="2851176" y="840527"/>
                <a:ext cx="3024388" cy="1958289"/>
              </a:xfrm>
              <a:custGeom>
                <a:avLst/>
                <a:gdLst>
                  <a:gd name="connsiteX0" fmla="*/ 61230 w 493108"/>
                  <a:gd name="connsiteY0" fmla="*/ 0 h 319287"/>
                  <a:gd name="connsiteX1" fmla="*/ 431878 w 493108"/>
                  <a:gd name="connsiteY1" fmla="*/ 0 h 319287"/>
                  <a:gd name="connsiteX2" fmla="*/ 493108 w 493108"/>
                  <a:gd name="connsiteY2" fmla="*/ 61230 h 319287"/>
                  <a:gd name="connsiteX3" fmla="*/ 493108 w 493108"/>
                  <a:gd name="connsiteY3" fmla="*/ 258057 h 319287"/>
                  <a:gd name="connsiteX4" fmla="*/ 431878 w 493108"/>
                  <a:gd name="connsiteY4" fmla="*/ 319287 h 319287"/>
                  <a:gd name="connsiteX5" fmla="*/ 425306 w 493108"/>
                  <a:gd name="connsiteY5" fmla="*/ 319287 h 319287"/>
                  <a:gd name="connsiteX6" fmla="*/ 425306 w 493108"/>
                  <a:gd name="connsiteY6" fmla="*/ 298563 h 319287"/>
                  <a:gd name="connsiteX7" fmla="*/ 434307 w 493108"/>
                  <a:gd name="connsiteY7" fmla="*/ 298563 h 319287"/>
                  <a:gd name="connsiteX8" fmla="*/ 474000 w 493108"/>
                  <a:gd name="connsiteY8" fmla="*/ 258870 h 319287"/>
                  <a:gd name="connsiteX9" fmla="*/ 474000 w 493108"/>
                  <a:gd name="connsiteY9" fmla="*/ 59417 h 319287"/>
                  <a:gd name="connsiteX10" fmla="*/ 434307 w 493108"/>
                  <a:gd name="connsiteY10" fmla="*/ 19724 h 319287"/>
                  <a:gd name="connsiteX11" fmla="*/ 60650 w 493108"/>
                  <a:gd name="connsiteY11" fmla="*/ 19724 h 319287"/>
                  <a:gd name="connsiteX12" fmla="*/ 20957 w 493108"/>
                  <a:gd name="connsiteY12" fmla="*/ 59417 h 319287"/>
                  <a:gd name="connsiteX13" fmla="*/ 20957 w 493108"/>
                  <a:gd name="connsiteY13" fmla="*/ 258870 h 319287"/>
                  <a:gd name="connsiteX14" fmla="*/ 60650 w 493108"/>
                  <a:gd name="connsiteY14" fmla="*/ 298563 h 319287"/>
                  <a:gd name="connsiteX15" fmla="*/ 69652 w 493108"/>
                  <a:gd name="connsiteY15" fmla="*/ 298563 h 319287"/>
                  <a:gd name="connsiteX16" fmla="*/ 69652 w 493108"/>
                  <a:gd name="connsiteY16" fmla="*/ 319287 h 319287"/>
                  <a:gd name="connsiteX17" fmla="*/ 61230 w 493108"/>
                  <a:gd name="connsiteY17" fmla="*/ 319287 h 319287"/>
                  <a:gd name="connsiteX18" fmla="*/ 0 w 493108"/>
                  <a:gd name="connsiteY18" fmla="*/ 258057 h 319287"/>
                  <a:gd name="connsiteX19" fmla="*/ 0 w 493108"/>
                  <a:gd name="connsiteY19" fmla="*/ 61230 h 319287"/>
                  <a:gd name="connsiteX20" fmla="*/ 61230 w 493108"/>
                  <a:gd name="connsiteY20" fmla="*/ 0 h 31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3108" h="319287">
                    <a:moveTo>
                      <a:pt x="61230" y="0"/>
                    </a:moveTo>
                    <a:lnTo>
                      <a:pt x="431878" y="0"/>
                    </a:lnTo>
                    <a:cubicBezTo>
                      <a:pt x="465695" y="0"/>
                      <a:pt x="493108" y="27414"/>
                      <a:pt x="493108" y="61230"/>
                    </a:cubicBezTo>
                    <a:lnTo>
                      <a:pt x="493108" y="258057"/>
                    </a:lnTo>
                    <a:cubicBezTo>
                      <a:pt x="493108" y="291874"/>
                      <a:pt x="465695" y="319287"/>
                      <a:pt x="431878" y="319287"/>
                    </a:cubicBezTo>
                    <a:lnTo>
                      <a:pt x="425306" y="319287"/>
                    </a:lnTo>
                    <a:lnTo>
                      <a:pt x="425306" y="298563"/>
                    </a:lnTo>
                    <a:lnTo>
                      <a:pt x="434307" y="298563"/>
                    </a:lnTo>
                    <a:cubicBezTo>
                      <a:pt x="456229" y="298563"/>
                      <a:pt x="474000" y="280792"/>
                      <a:pt x="474000" y="258870"/>
                    </a:cubicBezTo>
                    <a:lnTo>
                      <a:pt x="474000" y="59417"/>
                    </a:lnTo>
                    <a:cubicBezTo>
                      <a:pt x="474000" y="37495"/>
                      <a:pt x="456229" y="19724"/>
                      <a:pt x="434307" y="19724"/>
                    </a:cubicBezTo>
                    <a:lnTo>
                      <a:pt x="60650" y="19724"/>
                    </a:lnTo>
                    <a:cubicBezTo>
                      <a:pt x="38728" y="19724"/>
                      <a:pt x="20957" y="37495"/>
                      <a:pt x="20957" y="59417"/>
                    </a:cubicBezTo>
                    <a:lnTo>
                      <a:pt x="20957" y="258870"/>
                    </a:lnTo>
                    <a:cubicBezTo>
                      <a:pt x="20957" y="280792"/>
                      <a:pt x="38728" y="298563"/>
                      <a:pt x="60650" y="298563"/>
                    </a:cubicBezTo>
                    <a:lnTo>
                      <a:pt x="69652" y="298563"/>
                    </a:lnTo>
                    <a:lnTo>
                      <a:pt x="69652" y="319287"/>
                    </a:lnTo>
                    <a:lnTo>
                      <a:pt x="61230" y="319287"/>
                    </a:lnTo>
                    <a:cubicBezTo>
                      <a:pt x="27414" y="319287"/>
                      <a:pt x="0" y="291874"/>
                      <a:pt x="0" y="258057"/>
                    </a:cubicBezTo>
                    <a:lnTo>
                      <a:pt x="0" y="61230"/>
                    </a:lnTo>
                    <a:cubicBezTo>
                      <a:pt x="0" y="27414"/>
                      <a:pt x="27414" y="0"/>
                      <a:pt x="61230" y="0"/>
                    </a:cubicBezTo>
                    <a:close/>
                  </a:path>
                </a:pathLst>
              </a:custGeom>
              <a:solidFill>
                <a:srgbClr val="0078D7"/>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sp>
            <p:nvSpPr>
              <p:cNvPr id="61" name="Freeform: Shape 339">
                <a:extLst>
                  <a:ext uri="{FF2B5EF4-FFF2-40B4-BE49-F238E27FC236}">
                    <a16:creationId xmlns:a16="http://schemas.microsoft.com/office/drawing/2014/main" id="{37EC31AF-BED1-444B-9403-A3721206BF92}"/>
                  </a:ext>
                </a:extLst>
              </p:cNvPr>
              <p:cNvSpPr/>
              <p:nvPr/>
            </p:nvSpPr>
            <p:spPr>
              <a:xfrm>
                <a:off x="3382432" y="1335590"/>
                <a:ext cx="1959012" cy="1788347"/>
              </a:xfrm>
              <a:custGeom>
                <a:avLst/>
                <a:gdLst>
                  <a:gd name="connsiteX0" fmla="*/ 169583 w 1959012"/>
                  <a:gd name="connsiteY0" fmla="*/ 1054931 h 1788347"/>
                  <a:gd name="connsiteX1" fmla="*/ 339166 w 1959012"/>
                  <a:gd name="connsiteY1" fmla="*/ 1224514 h 1788347"/>
                  <a:gd name="connsiteX2" fmla="*/ 339166 w 1959012"/>
                  <a:gd name="connsiteY2" fmla="*/ 1618758 h 1788347"/>
                  <a:gd name="connsiteX3" fmla="*/ 169583 w 1959012"/>
                  <a:gd name="connsiteY3" fmla="*/ 1788341 h 1788347"/>
                  <a:gd name="connsiteX4" fmla="*/ 0 w 1959012"/>
                  <a:gd name="connsiteY4" fmla="*/ 1618758 h 1788347"/>
                  <a:gd name="connsiteX5" fmla="*/ 0 w 1959012"/>
                  <a:gd name="connsiteY5" fmla="*/ 1224514 h 1788347"/>
                  <a:gd name="connsiteX6" fmla="*/ 169583 w 1959012"/>
                  <a:gd name="connsiteY6" fmla="*/ 1054931 h 1788347"/>
                  <a:gd name="connsiteX7" fmla="*/ 1255480 w 1959012"/>
                  <a:gd name="connsiteY7" fmla="*/ 692010 h 1788347"/>
                  <a:gd name="connsiteX8" fmla="*/ 1425063 w 1959012"/>
                  <a:gd name="connsiteY8" fmla="*/ 861593 h 1788347"/>
                  <a:gd name="connsiteX9" fmla="*/ 1425063 w 1959012"/>
                  <a:gd name="connsiteY9" fmla="*/ 1618764 h 1788347"/>
                  <a:gd name="connsiteX10" fmla="*/ 1255480 w 1959012"/>
                  <a:gd name="connsiteY10" fmla="*/ 1788347 h 1788347"/>
                  <a:gd name="connsiteX11" fmla="*/ 1085897 w 1959012"/>
                  <a:gd name="connsiteY11" fmla="*/ 1618764 h 1788347"/>
                  <a:gd name="connsiteX12" fmla="*/ 1085897 w 1959012"/>
                  <a:gd name="connsiteY12" fmla="*/ 861593 h 1788347"/>
                  <a:gd name="connsiteX13" fmla="*/ 1255480 w 1959012"/>
                  <a:gd name="connsiteY13" fmla="*/ 692010 h 1788347"/>
                  <a:gd name="connsiteX14" fmla="*/ 712526 w 1959012"/>
                  <a:gd name="connsiteY14" fmla="*/ 438716 h 1788347"/>
                  <a:gd name="connsiteX15" fmla="*/ 882106 w 1959012"/>
                  <a:gd name="connsiteY15" fmla="*/ 608296 h 1788347"/>
                  <a:gd name="connsiteX16" fmla="*/ 882106 w 1959012"/>
                  <a:gd name="connsiteY16" fmla="*/ 1618767 h 1788347"/>
                  <a:gd name="connsiteX17" fmla="*/ 712526 w 1959012"/>
                  <a:gd name="connsiteY17" fmla="*/ 1788347 h 1788347"/>
                  <a:gd name="connsiteX18" fmla="*/ 542946 w 1959012"/>
                  <a:gd name="connsiteY18" fmla="*/ 1618767 h 1788347"/>
                  <a:gd name="connsiteX19" fmla="*/ 542946 w 1959012"/>
                  <a:gd name="connsiteY19" fmla="*/ 608296 h 1788347"/>
                  <a:gd name="connsiteX20" fmla="*/ 712526 w 1959012"/>
                  <a:gd name="connsiteY20" fmla="*/ 438716 h 1788347"/>
                  <a:gd name="connsiteX21" fmla="*/ 1789429 w 1959012"/>
                  <a:gd name="connsiteY21" fmla="*/ 0 h 1788347"/>
                  <a:gd name="connsiteX22" fmla="*/ 1959012 w 1959012"/>
                  <a:gd name="connsiteY22" fmla="*/ 169583 h 1788347"/>
                  <a:gd name="connsiteX23" fmla="*/ 1959012 w 1959012"/>
                  <a:gd name="connsiteY23" fmla="*/ 1618764 h 1788347"/>
                  <a:gd name="connsiteX24" fmla="*/ 1789429 w 1959012"/>
                  <a:gd name="connsiteY24" fmla="*/ 1788347 h 1788347"/>
                  <a:gd name="connsiteX25" fmla="*/ 1619846 w 1959012"/>
                  <a:gd name="connsiteY25" fmla="*/ 1618764 h 1788347"/>
                  <a:gd name="connsiteX26" fmla="*/ 1619846 w 1959012"/>
                  <a:gd name="connsiteY26" fmla="*/ 169583 h 1788347"/>
                  <a:gd name="connsiteX27" fmla="*/ 1789429 w 1959012"/>
                  <a:gd name="connsiteY27" fmla="*/ 0 h 178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9012" h="1788347">
                    <a:moveTo>
                      <a:pt x="169583" y="1054931"/>
                    </a:moveTo>
                    <a:cubicBezTo>
                      <a:pt x="263241" y="1054931"/>
                      <a:pt x="339166" y="1130856"/>
                      <a:pt x="339166" y="1224514"/>
                    </a:cubicBezTo>
                    <a:lnTo>
                      <a:pt x="339166" y="1618758"/>
                    </a:lnTo>
                    <a:cubicBezTo>
                      <a:pt x="339166" y="1712416"/>
                      <a:pt x="263241" y="1788341"/>
                      <a:pt x="169583" y="1788341"/>
                    </a:cubicBezTo>
                    <a:cubicBezTo>
                      <a:pt x="75925" y="1788341"/>
                      <a:pt x="0" y="1712416"/>
                      <a:pt x="0" y="1618758"/>
                    </a:cubicBezTo>
                    <a:lnTo>
                      <a:pt x="0" y="1224514"/>
                    </a:lnTo>
                    <a:cubicBezTo>
                      <a:pt x="0" y="1130856"/>
                      <a:pt x="75925" y="1054931"/>
                      <a:pt x="169583" y="1054931"/>
                    </a:cubicBezTo>
                    <a:close/>
                    <a:moveTo>
                      <a:pt x="1255480" y="692010"/>
                    </a:moveTo>
                    <a:cubicBezTo>
                      <a:pt x="1349138" y="692010"/>
                      <a:pt x="1425063" y="767935"/>
                      <a:pt x="1425063" y="861593"/>
                    </a:cubicBezTo>
                    <a:lnTo>
                      <a:pt x="1425063" y="1618764"/>
                    </a:lnTo>
                    <a:cubicBezTo>
                      <a:pt x="1425063" y="1712422"/>
                      <a:pt x="1349138" y="1788347"/>
                      <a:pt x="1255480" y="1788347"/>
                    </a:cubicBezTo>
                    <a:cubicBezTo>
                      <a:pt x="1161822" y="1788347"/>
                      <a:pt x="1085897" y="1712422"/>
                      <a:pt x="1085897" y="1618764"/>
                    </a:cubicBezTo>
                    <a:lnTo>
                      <a:pt x="1085897" y="861593"/>
                    </a:lnTo>
                    <a:cubicBezTo>
                      <a:pt x="1085897" y="767935"/>
                      <a:pt x="1161822" y="692010"/>
                      <a:pt x="1255480" y="692010"/>
                    </a:cubicBezTo>
                    <a:close/>
                    <a:moveTo>
                      <a:pt x="712526" y="438716"/>
                    </a:moveTo>
                    <a:cubicBezTo>
                      <a:pt x="806182" y="438716"/>
                      <a:pt x="882106" y="514640"/>
                      <a:pt x="882106" y="608296"/>
                    </a:cubicBezTo>
                    <a:lnTo>
                      <a:pt x="882106" y="1618767"/>
                    </a:lnTo>
                    <a:cubicBezTo>
                      <a:pt x="882106" y="1712423"/>
                      <a:pt x="806182" y="1788347"/>
                      <a:pt x="712526" y="1788347"/>
                    </a:cubicBezTo>
                    <a:cubicBezTo>
                      <a:pt x="618870" y="1788347"/>
                      <a:pt x="542946" y="1712423"/>
                      <a:pt x="542946" y="1618767"/>
                    </a:cubicBezTo>
                    <a:lnTo>
                      <a:pt x="542946" y="608296"/>
                    </a:lnTo>
                    <a:cubicBezTo>
                      <a:pt x="542946" y="514640"/>
                      <a:pt x="618870" y="438716"/>
                      <a:pt x="712526" y="438716"/>
                    </a:cubicBezTo>
                    <a:close/>
                    <a:moveTo>
                      <a:pt x="1789429" y="0"/>
                    </a:moveTo>
                    <a:cubicBezTo>
                      <a:pt x="1883087" y="0"/>
                      <a:pt x="1959012" y="75925"/>
                      <a:pt x="1959012" y="169583"/>
                    </a:cubicBezTo>
                    <a:lnTo>
                      <a:pt x="1959012" y="1618764"/>
                    </a:lnTo>
                    <a:cubicBezTo>
                      <a:pt x="1959012" y="1712422"/>
                      <a:pt x="1883087" y="1788347"/>
                      <a:pt x="1789429" y="1788347"/>
                    </a:cubicBezTo>
                    <a:cubicBezTo>
                      <a:pt x="1695771" y="1788347"/>
                      <a:pt x="1619846" y="1712422"/>
                      <a:pt x="1619846" y="1618764"/>
                    </a:cubicBezTo>
                    <a:lnTo>
                      <a:pt x="1619846" y="169583"/>
                    </a:lnTo>
                    <a:cubicBezTo>
                      <a:pt x="1619846" y="75925"/>
                      <a:pt x="1695771" y="0"/>
                      <a:pt x="1789429" y="0"/>
                    </a:cubicBezTo>
                    <a:close/>
                  </a:path>
                </a:pathLst>
              </a:custGeom>
              <a:solidFill>
                <a:srgbClr val="50E6FF"/>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grpSp>
      </p:grpSp>
      <p:grpSp>
        <p:nvGrpSpPr>
          <p:cNvPr id="46" name="Group 45">
            <a:extLst>
              <a:ext uri="{FF2B5EF4-FFF2-40B4-BE49-F238E27FC236}">
                <a16:creationId xmlns:a16="http://schemas.microsoft.com/office/drawing/2014/main" id="{28DDCB99-3B62-4995-AA0A-20B3CF35AC58}"/>
              </a:ext>
            </a:extLst>
          </p:cNvPr>
          <p:cNvGrpSpPr/>
          <p:nvPr/>
        </p:nvGrpSpPr>
        <p:grpSpPr>
          <a:xfrm>
            <a:off x="2490882" y="4089603"/>
            <a:ext cx="1575344" cy="1272327"/>
            <a:chOff x="2489294" y="4089602"/>
            <a:chExt cx="1575344" cy="1272327"/>
          </a:xfrm>
        </p:grpSpPr>
        <p:sp>
          <p:nvSpPr>
            <p:cNvPr id="47" name="Rectangle 46">
              <a:extLst>
                <a:ext uri="{FF2B5EF4-FFF2-40B4-BE49-F238E27FC236}">
                  <a16:creationId xmlns:a16="http://schemas.microsoft.com/office/drawing/2014/main" id="{661B09DA-286E-4A05-A35D-E1447D4F8B58}"/>
                </a:ext>
              </a:extLst>
            </p:cNvPr>
            <p:cNvSpPr/>
            <p:nvPr/>
          </p:nvSpPr>
          <p:spPr bwMode="auto">
            <a:xfrm>
              <a:off x="2489294" y="4089602"/>
              <a:ext cx="1575344" cy="1272327"/>
            </a:xfrm>
            <a:prstGeom prst="rect">
              <a:avLst/>
            </a:prstGeom>
            <a:solidFill>
              <a:schemeClr val="tx1">
                <a:lumMod val="20000"/>
                <a:lumOff val="80000"/>
              </a:schemeClr>
            </a:solidFill>
            <a:ln w="12700" cap="flat" cmpd="sng" algn="ctr">
              <a:noFill/>
              <a:prstDash val="solid"/>
              <a:headEnd type="none" w="med" len="med"/>
              <a:tailEnd type="none" w="med" len="med"/>
            </a:ln>
            <a:effectLst>
              <a:glow rad="63500">
                <a:schemeClr val="accent6">
                  <a:satMod val="175000"/>
                  <a:alpha val="40000"/>
                </a:schemeClr>
              </a:glow>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dirty="0">
                <a:solidFill>
                  <a:srgbClr val="0078D7"/>
                </a:solidFill>
                <a:latin typeface="Segoe UI Semibold"/>
                <a:sym typeface="Segoe UI Semibold"/>
              </a:endParaRPr>
            </a:p>
          </p:txBody>
        </p:sp>
        <p:pic>
          <p:nvPicPr>
            <p:cNvPr id="48" name="Graphic 47">
              <a:extLst>
                <a:ext uri="{FF2B5EF4-FFF2-40B4-BE49-F238E27FC236}">
                  <a16:creationId xmlns:a16="http://schemas.microsoft.com/office/drawing/2014/main" id="{CE554029-BA49-4D3B-A441-D62B234F886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89519" y="4278408"/>
              <a:ext cx="360000" cy="360000"/>
            </a:xfrm>
            <a:prstGeom prst="rect">
              <a:avLst/>
            </a:prstGeom>
          </p:spPr>
        </p:pic>
        <p:sp>
          <p:nvSpPr>
            <p:cNvPr id="49" name="TextBox 48">
              <a:extLst>
                <a:ext uri="{FF2B5EF4-FFF2-40B4-BE49-F238E27FC236}">
                  <a16:creationId xmlns:a16="http://schemas.microsoft.com/office/drawing/2014/main" id="{1EDD0871-87B9-4FDD-B19C-73BA60D206E0}"/>
                </a:ext>
              </a:extLst>
            </p:cNvPr>
            <p:cNvSpPr txBox="1"/>
            <p:nvPr/>
          </p:nvSpPr>
          <p:spPr>
            <a:xfrm>
              <a:off x="3085966" y="4306009"/>
              <a:ext cx="907398"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Factory</a:t>
              </a:r>
            </a:p>
          </p:txBody>
        </p:sp>
        <p:sp>
          <p:nvSpPr>
            <p:cNvPr id="52" name="TextBox 51">
              <a:extLst>
                <a:ext uri="{FF2B5EF4-FFF2-40B4-BE49-F238E27FC236}">
                  <a16:creationId xmlns:a16="http://schemas.microsoft.com/office/drawing/2014/main" id="{120D64AF-EC08-4568-951D-6D585382C372}"/>
                </a:ext>
              </a:extLst>
            </p:cNvPr>
            <p:cNvSpPr txBox="1"/>
            <p:nvPr/>
          </p:nvSpPr>
          <p:spPr>
            <a:xfrm>
              <a:off x="3078768" y="4846326"/>
              <a:ext cx="771498"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Synapse Analytics</a:t>
              </a:r>
            </a:p>
          </p:txBody>
        </p:sp>
        <p:pic>
          <p:nvPicPr>
            <p:cNvPr id="56" name="Graphic 55">
              <a:extLst>
                <a:ext uri="{FF2B5EF4-FFF2-40B4-BE49-F238E27FC236}">
                  <a16:creationId xmlns:a16="http://schemas.microsoft.com/office/drawing/2014/main" id="{53F9597C-5000-49AB-888E-5814994194C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18043" y="4840444"/>
              <a:ext cx="313125" cy="360000"/>
            </a:xfrm>
            <a:prstGeom prst="rect">
              <a:avLst/>
            </a:prstGeom>
          </p:spPr>
        </p:pic>
      </p:grpSp>
    </p:spTree>
    <p:extLst>
      <p:ext uri="{BB962C8B-B14F-4D97-AF65-F5344CB8AC3E}">
        <p14:creationId xmlns:p14="http://schemas.microsoft.com/office/powerpoint/2010/main" val="360593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0" y="-386625"/>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10838" y="422596"/>
            <a:ext cx="9263739" cy="548985"/>
          </a:xfrm>
        </p:spPr>
        <p:txBody>
          <a:bodyPr/>
          <a:lstStyle/>
          <a:p>
            <a:r>
              <a:rPr lang="en-US" sz="4400" dirty="0">
                <a:solidFill>
                  <a:schemeClr val="tx1"/>
                </a:solidFill>
              </a:rPr>
              <a:t>Build end to end IoT Solutions</a:t>
            </a:r>
            <a:endParaRPr lang="en-US" sz="4400" dirty="0">
              <a:gradFill>
                <a:gsLst>
                  <a:gs pos="0">
                    <a:schemeClr val="accent5"/>
                  </a:gs>
                  <a:gs pos="100000">
                    <a:schemeClr val="accent4"/>
                  </a:gs>
                </a:gsLst>
                <a:lin ang="2700000" scaled="1"/>
              </a:gradFill>
            </a:endParaRPr>
          </a:p>
        </p:txBody>
      </p:sp>
      <p:sp>
        <p:nvSpPr>
          <p:cNvPr id="4" name="Title 2">
            <a:extLst>
              <a:ext uri="{FF2B5EF4-FFF2-40B4-BE49-F238E27FC236}">
                <a16:creationId xmlns:a16="http://schemas.microsoft.com/office/drawing/2014/main" id="{29A868D5-116B-48F8-A7CB-9AFEF1E36C9D}"/>
              </a:ext>
            </a:extLst>
          </p:cNvPr>
          <p:cNvSpPr txBox="1">
            <a:spLocks/>
          </p:cNvSpPr>
          <p:nvPr/>
        </p:nvSpPr>
        <p:spPr>
          <a:xfrm>
            <a:off x="553778" y="1313239"/>
            <a:ext cx="6799522" cy="2811325"/>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4705" b="0" kern="1200" cap="none" spc="-49" baseline="0" dirty="0">
                <a:ln w="3175">
                  <a:noFill/>
                </a:ln>
                <a:gradFill>
                  <a:gsLst>
                    <a:gs pos="0">
                      <a:schemeClr val="tx1"/>
                    </a:gs>
                    <a:gs pos="100000">
                      <a:schemeClr val="tx1"/>
                    </a:gs>
                  </a:gsLst>
                  <a:lin ang="5400000" scaled="1"/>
                </a:gradFill>
                <a:effectLst/>
                <a:latin typeface="+mj-lt"/>
                <a:ea typeface="+mn-ea"/>
                <a:cs typeface="Segoe UI" pitchFamily="34" charset="0"/>
              </a:defRPr>
            </a:lvl1pPr>
          </a:lstStyle>
          <a:p>
            <a:pPr>
              <a:lnSpc>
                <a:spcPct val="150000"/>
              </a:lnSpc>
            </a:pPr>
            <a:r>
              <a:rPr lang="en-US" sz="2800" dirty="0">
                <a:gradFill>
                  <a:gsLst>
                    <a:gs pos="0">
                      <a:schemeClr val="accent5"/>
                    </a:gs>
                    <a:gs pos="100000">
                      <a:schemeClr val="accent4"/>
                    </a:gs>
                  </a:gsLst>
                  <a:lin ang="2700000" scaled="1"/>
                </a:gradFill>
              </a:rPr>
              <a:t>Transform your business with IoT</a:t>
            </a:r>
          </a:p>
          <a:p>
            <a:pPr>
              <a:lnSpc>
                <a:spcPct val="150000"/>
              </a:lnSpc>
            </a:pPr>
            <a:r>
              <a:rPr lang="en-US" sz="2800" dirty="0">
                <a:gradFill>
                  <a:gsLst>
                    <a:gs pos="0">
                      <a:schemeClr val="accent5"/>
                    </a:gs>
                    <a:gs pos="100000">
                      <a:schemeClr val="accent4"/>
                    </a:gs>
                  </a:gsLst>
                  <a:lin ang="2700000" scaled="1"/>
                </a:gradFill>
              </a:rPr>
              <a:t>Connect devices to the cloud</a:t>
            </a:r>
          </a:p>
          <a:p>
            <a:pPr>
              <a:lnSpc>
                <a:spcPct val="150000"/>
              </a:lnSpc>
            </a:pPr>
            <a:r>
              <a:rPr lang="en-US" sz="2800" dirty="0">
                <a:gradFill>
                  <a:gsLst>
                    <a:gs pos="0">
                      <a:schemeClr val="accent5"/>
                    </a:gs>
                    <a:gs pos="100000">
                      <a:schemeClr val="accent4"/>
                    </a:gs>
                  </a:gsLst>
                  <a:lin ang="2700000" scaled="1"/>
                </a:gradFill>
              </a:rPr>
              <a:t>Provision devices at scale</a:t>
            </a:r>
          </a:p>
          <a:p>
            <a:pPr>
              <a:lnSpc>
                <a:spcPct val="150000"/>
              </a:lnSpc>
            </a:pPr>
            <a:r>
              <a:rPr lang="en-US" sz="2800" dirty="0">
                <a:solidFill>
                  <a:schemeClr val="tx1"/>
                </a:solidFill>
              </a:rPr>
              <a:t>Understand IoT message processing, analytics, and business integration</a:t>
            </a:r>
          </a:p>
          <a:p>
            <a:pPr>
              <a:lnSpc>
                <a:spcPct val="150000"/>
              </a:lnSpc>
            </a:pPr>
            <a:r>
              <a:rPr lang="en-US" sz="2800" dirty="0">
                <a:gradFill>
                  <a:gsLst>
                    <a:gs pos="0">
                      <a:schemeClr val="accent5"/>
                    </a:gs>
                    <a:gs pos="100000">
                      <a:schemeClr val="accent4"/>
                    </a:gs>
                  </a:gsLst>
                  <a:lin ang="2700000" scaled="1"/>
                </a:gradFill>
              </a:rPr>
              <a:t>Build the intelligent edge</a:t>
            </a:r>
          </a:p>
          <a:p>
            <a:pPr>
              <a:lnSpc>
                <a:spcPct val="150000"/>
              </a:lnSpc>
            </a:pPr>
            <a:r>
              <a:rPr lang="en-US" sz="2800" dirty="0">
                <a:gradFill>
                  <a:gsLst>
                    <a:gs pos="0">
                      <a:schemeClr val="accent5"/>
                    </a:gs>
                    <a:gs pos="100000">
                      <a:schemeClr val="accent4"/>
                    </a:gs>
                  </a:gsLst>
                  <a:lin ang="2700000" scaled="1"/>
                </a:gradFill>
              </a:rPr>
              <a:t>Build IoT solutions with Azure IoT Central</a:t>
            </a:r>
          </a:p>
          <a:p>
            <a:pPr>
              <a:lnSpc>
                <a:spcPct val="150000"/>
              </a:lnSpc>
            </a:pPr>
            <a:endParaRPr lang="en-US" sz="2400" dirty="0">
              <a:gradFill>
                <a:gsLst>
                  <a:gs pos="0">
                    <a:schemeClr val="accent5"/>
                  </a:gs>
                  <a:gs pos="100000">
                    <a:schemeClr val="accent4"/>
                  </a:gs>
                </a:gsLst>
                <a:lin ang="2700000" scaled="1"/>
              </a:gradFill>
            </a:endParaRPr>
          </a:p>
        </p:txBody>
      </p:sp>
      <p:pic>
        <p:nvPicPr>
          <p:cNvPr id="2" name="Picture 1" descr="A picture containing clock, drawing&#10;&#10;Description automatically generated">
            <a:extLst>
              <a:ext uri="{FF2B5EF4-FFF2-40B4-BE49-F238E27FC236}">
                <a16:creationId xmlns:a16="http://schemas.microsoft.com/office/drawing/2014/main" id="{C8D41C2A-3006-4EA5-9CAB-ADD4EEFE83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83750" y="1818778"/>
            <a:ext cx="757917" cy="757917"/>
          </a:xfrm>
          <a:prstGeom prst="rect">
            <a:avLst/>
          </a:prstGeom>
        </p:spPr>
      </p:pic>
      <p:pic>
        <p:nvPicPr>
          <p:cNvPr id="8" name="Picture 7" descr="A close up of a logo&#10;&#10;Description automatically generated">
            <a:extLst>
              <a:ext uri="{FF2B5EF4-FFF2-40B4-BE49-F238E27FC236}">
                <a16:creationId xmlns:a16="http://schemas.microsoft.com/office/drawing/2014/main" id="{CBE35541-DFF5-42E8-BF5A-650203CC54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50687" y="1314865"/>
            <a:ext cx="759131" cy="757918"/>
          </a:xfrm>
          <a:prstGeom prst="rect">
            <a:avLst/>
          </a:prstGeom>
        </p:spPr>
      </p:pic>
      <p:pic>
        <p:nvPicPr>
          <p:cNvPr id="10" name="Picture 9" descr="A picture containing wheel&#10;&#10;Description automatically generated">
            <a:extLst>
              <a:ext uri="{FF2B5EF4-FFF2-40B4-BE49-F238E27FC236}">
                <a16:creationId xmlns:a16="http://schemas.microsoft.com/office/drawing/2014/main" id="{6B2E05D0-B6CD-4AE5-9C80-DB2D31E4E1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31731" y="2394033"/>
            <a:ext cx="778087" cy="776844"/>
          </a:xfrm>
          <a:prstGeom prst="rect">
            <a:avLst/>
          </a:prstGeom>
        </p:spPr>
      </p:pic>
      <p:pic>
        <p:nvPicPr>
          <p:cNvPr id="12" name="Picture 11" descr="A close up of a sign&#10;&#10;Description automatically generated">
            <a:extLst>
              <a:ext uri="{FF2B5EF4-FFF2-40B4-BE49-F238E27FC236}">
                <a16:creationId xmlns:a16="http://schemas.microsoft.com/office/drawing/2014/main" id="{80F3B8E5-C4D2-4E14-BC28-AA4700805C2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62708" y="3511826"/>
            <a:ext cx="715117" cy="715117"/>
          </a:xfrm>
          <a:prstGeom prst="rect">
            <a:avLst/>
          </a:prstGeom>
        </p:spPr>
      </p:pic>
      <p:pic>
        <p:nvPicPr>
          <p:cNvPr id="14" name="Picture 13" descr="A picture containing clock, light&#10;&#10;Description automatically generated">
            <a:extLst>
              <a:ext uri="{FF2B5EF4-FFF2-40B4-BE49-F238E27FC236}">
                <a16:creationId xmlns:a16="http://schemas.microsoft.com/office/drawing/2014/main" id="{30D99C75-B416-4C43-813D-0E6948F4851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58315" y="4498925"/>
            <a:ext cx="716262" cy="715118"/>
          </a:xfrm>
          <a:prstGeom prst="rect">
            <a:avLst/>
          </a:prstGeom>
        </p:spPr>
      </p:pic>
      <p:cxnSp>
        <p:nvCxnSpPr>
          <p:cNvPr id="16" name="Straight Connector 15">
            <a:extLst>
              <a:ext uri="{FF2B5EF4-FFF2-40B4-BE49-F238E27FC236}">
                <a16:creationId xmlns:a16="http://schemas.microsoft.com/office/drawing/2014/main" id="{E3B5E68A-14E5-4A7D-BD66-0CE07A663437}"/>
              </a:ext>
            </a:extLst>
          </p:cNvPr>
          <p:cNvCxnSpPr>
            <a:cxnSpLocks/>
          </p:cNvCxnSpPr>
          <p:nvPr/>
        </p:nvCxnSpPr>
        <p:spPr>
          <a:xfrm>
            <a:off x="553778" y="4498925"/>
            <a:ext cx="59131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8136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1.66667E-6 -3.7037E-7 L -1.66667E-6 0.01898 " pathEditMode="relative" rAng="0" ptsTypes="AA">
                                      <p:cBhvr>
                                        <p:cTn id="9" dur="700" spd="-100000" fill="hold"/>
                                        <p:tgtEl>
                                          <p:spTgt spid="3"/>
                                        </p:tgtEl>
                                        <p:attrNameLst>
                                          <p:attrName>ppt_x</p:attrName>
                                          <p:attrName>ppt_y</p:attrName>
                                        </p:attrNameLst>
                                      </p:cBhvr>
                                      <p:rCtr x="0" y="94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1.25E-6 3.7037E-6 L 1.25E-6 0.01898 " pathEditMode="relative" rAng="0" ptsTypes="AA">
                                      <p:cBhvr>
                                        <p:cTn id="14" dur="700" spd="-100000" fill="hold"/>
                                        <p:tgtEl>
                                          <p:spTgt spid="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21F7-19CD-6B4A-8900-FB4BCB77EC8A}"/>
              </a:ext>
            </a:extLst>
          </p:cNvPr>
          <p:cNvSpPr>
            <a:spLocks noGrp="1"/>
          </p:cNvSpPr>
          <p:nvPr>
            <p:ph type="title"/>
          </p:nvPr>
        </p:nvSpPr>
        <p:spPr/>
        <p:txBody>
          <a:bodyPr/>
          <a:lstStyle/>
          <a:p>
            <a:r>
              <a:rPr lang="en-US"/>
              <a:t>Using IoT as an operational Data Source</a:t>
            </a:r>
          </a:p>
        </p:txBody>
      </p:sp>
      <p:sp>
        <p:nvSpPr>
          <p:cNvPr id="50" name="Rectangle 49">
            <a:extLst>
              <a:ext uri="{FF2B5EF4-FFF2-40B4-BE49-F238E27FC236}">
                <a16:creationId xmlns:a16="http://schemas.microsoft.com/office/drawing/2014/main" id="{908E8CE3-58BA-479A-96E7-A5E5823D85DA}"/>
              </a:ext>
            </a:extLst>
          </p:cNvPr>
          <p:cNvSpPr/>
          <p:nvPr/>
        </p:nvSpPr>
        <p:spPr bwMode="auto">
          <a:xfrm>
            <a:off x="688094" y="1468438"/>
            <a:ext cx="1430084" cy="3529351"/>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12" name="Group 11">
            <a:extLst>
              <a:ext uri="{FF2B5EF4-FFF2-40B4-BE49-F238E27FC236}">
                <a16:creationId xmlns:a16="http://schemas.microsoft.com/office/drawing/2014/main" id="{591E005E-A937-42D5-BD02-53B35F544AFC}"/>
              </a:ext>
            </a:extLst>
          </p:cNvPr>
          <p:cNvGrpSpPr/>
          <p:nvPr/>
        </p:nvGrpSpPr>
        <p:grpSpPr>
          <a:xfrm>
            <a:off x="843491" y="2888789"/>
            <a:ext cx="1459797" cy="360000"/>
            <a:chOff x="4051094" y="3143895"/>
            <a:chExt cx="1459797" cy="360000"/>
          </a:xfrm>
        </p:grpSpPr>
        <p:sp>
          <p:nvSpPr>
            <p:cNvPr id="53" name="TextBox 52">
              <a:extLst>
                <a:ext uri="{FF2B5EF4-FFF2-40B4-BE49-F238E27FC236}">
                  <a16:creationId xmlns:a16="http://schemas.microsoft.com/office/drawing/2014/main" id="{0E30BD84-8BF0-4944-88C0-C34DAE64AD03}"/>
                </a:ext>
              </a:extLst>
            </p:cNvPr>
            <p:cNvSpPr txBox="1"/>
            <p:nvPr/>
          </p:nvSpPr>
          <p:spPr>
            <a:xfrm>
              <a:off x="4632938" y="3157739"/>
              <a:ext cx="877953" cy="332312"/>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IoT Hub</a:t>
              </a:r>
            </a:p>
          </p:txBody>
        </p:sp>
        <p:pic>
          <p:nvPicPr>
            <p:cNvPr id="54" name="Graphic 53">
              <a:extLst>
                <a:ext uri="{FF2B5EF4-FFF2-40B4-BE49-F238E27FC236}">
                  <a16:creationId xmlns:a16="http://schemas.microsoft.com/office/drawing/2014/main" id="{0B5D69B3-9DA5-42A7-A352-E348B834EA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1094" y="3143895"/>
              <a:ext cx="360000" cy="360000"/>
            </a:xfrm>
            <a:prstGeom prst="rect">
              <a:avLst/>
            </a:prstGeom>
          </p:spPr>
        </p:pic>
      </p:grpSp>
      <p:sp>
        <p:nvSpPr>
          <p:cNvPr id="65" name="Rectangle 64">
            <a:extLst>
              <a:ext uri="{FF2B5EF4-FFF2-40B4-BE49-F238E27FC236}">
                <a16:creationId xmlns:a16="http://schemas.microsoft.com/office/drawing/2014/main" id="{9DFC749E-EDE3-4735-8DB5-98C9D73CB2F5}"/>
              </a:ext>
            </a:extLst>
          </p:cNvPr>
          <p:cNvSpPr/>
          <p:nvPr/>
        </p:nvSpPr>
        <p:spPr bwMode="auto">
          <a:xfrm>
            <a:off x="2886838" y="1466811"/>
            <a:ext cx="3108256"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28" name="Graphic 27">
            <a:extLst>
              <a:ext uri="{FF2B5EF4-FFF2-40B4-BE49-F238E27FC236}">
                <a16:creationId xmlns:a16="http://schemas.microsoft.com/office/drawing/2014/main" id="{58D08A55-172F-4321-B76E-5FF84B9ECF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60212" y="1928871"/>
            <a:ext cx="360000" cy="360000"/>
          </a:xfrm>
          <a:prstGeom prst="rect">
            <a:avLst/>
          </a:prstGeom>
        </p:spPr>
      </p:pic>
      <p:cxnSp>
        <p:nvCxnSpPr>
          <p:cNvPr id="2048" name="Straight Arrow Connector 2047">
            <a:extLst>
              <a:ext uri="{FF2B5EF4-FFF2-40B4-BE49-F238E27FC236}">
                <a16:creationId xmlns:a16="http://schemas.microsoft.com/office/drawing/2014/main" id="{48FC0D36-3860-47C4-888F-562A99353B64}"/>
              </a:ext>
            </a:extLst>
          </p:cNvPr>
          <p:cNvCxnSpPr>
            <a:cxnSpLocks/>
          </p:cNvCxnSpPr>
          <p:nvPr/>
        </p:nvCxnSpPr>
        <p:spPr>
          <a:xfrm>
            <a:off x="1547052" y="4997788"/>
            <a:ext cx="0" cy="876068"/>
          </a:xfrm>
          <a:prstGeom prst="straightConnector1">
            <a:avLst/>
          </a:prstGeom>
          <a:noFill/>
          <a:ln w="19050" cap="flat" cmpd="sng" algn="ctr">
            <a:solidFill>
              <a:srgbClr val="000000"/>
            </a:solidFill>
            <a:prstDash val="solid"/>
            <a:headEnd type="none" w="lg" len="med"/>
            <a:tailEnd type="triangle" w="med" len="med"/>
          </a:ln>
          <a:effectLst/>
        </p:spPr>
      </p:cxnSp>
      <p:grpSp>
        <p:nvGrpSpPr>
          <p:cNvPr id="2078" name="Group 2077">
            <a:extLst>
              <a:ext uri="{FF2B5EF4-FFF2-40B4-BE49-F238E27FC236}">
                <a16:creationId xmlns:a16="http://schemas.microsoft.com/office/drawing/2014/main" id="{F2780D3B-3E3D-4C7B-BA1F-C0FF339D8A51}"/>
              </a:ext>
            </a:extLst>
          </p:cNvPr>
          <p:cNvGrpSpPr/>
          <p:nvPr/>
        </p:nvGrpSpPr>
        <p:grpSpPr>
          <a:xfrm>
            <a:off x="688095" y="5881927"/>
            <a:ext cx="8254704" cy="791308"/>
            <a:chOff x="686507" y="6142892"/>
            <a:chExt cx="8254704" cy="791308"/>
          </a:xfrm>
        </p:grpSpPr>
        <p:sp>
          <p:nvSpPr>
            <p:cNvPr id="55" name="Rectangle 54">
              <a:extLst>
                <a:ext uri="{FF2B5EF4-FFF2-40B4-BE49-F238E27FC236}">
                  <a16:creationId xmlns:a16="http://schemas.microsoft.com/office/drawing/2014/main" id="{C06EF729-EA3D-4610-99C8-C942AF45A401}"/>
                </a:ext>
              </a:extLst>
            </p:cNvPr>
            <p:cNvSpPr/>
            <p:nvPr/>
          </p:nvSpPr>
          <p:spPr bwMode="auto">
            <a:xfrm>
              <a:off x="686507" y="6142892"/>
              <a:ext cx="8254704" cy="791308"/>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55" name="Group 2054">
              <a:extLst>
                <a:ext uri="{FF2B5EF4-FFF2-40B4-BE49-F238E27FC236}">
                  <a16:creationId xmlns:a16="http://schemas.microsoft.com/office/drawing/2014/main" id="{7EA480AF-11E2-4F28-8D26-F88C28BFD7EE}"/>
                </a:ext>
              </a:extLst>
            </p:cNvPr>
            <p:cNvGrpSpPr/>
            <p:nvPr/>
          </p:nvGrpSpPr>
          <p:grpSpPr>
            <a:xfrm>
              <a:off x="3704638" y="6358546"/>
              <a:ext cx="2218443" cy="367641"/>
              <a:chOff x="3476723" y="5710846"/>
              <a:chExt cx="2218443" cy="367641"/>
            </a:xfrm>
          </p:grpSpPr>
          <p:pic>
            <p:nvPicPr>
              <p:cNvPr id="18" name="Graphic 17">
                <a:extLst>
                  <a:ext uri="{FF2B5EF4-FFF2-40B4-BE49-F238E27FC236}">
                    <a16:creationId xmlns:a16="http://schemas.microsoft.com/office/drawing/2014/main" id="{36942917-ADCB-4A69-9BE2-9DD4E7BAA8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76723" y="5710846"/>
                <a:ext cx="360000" cy="360000"/>
              </a:xfrm>
              <a:prstGeom prst="rect">
                <a:avLst/>
              </a:prstGeom>
            </p:spPr>
          </p:pic>
          <p:sp>
            <p:nvSpPr>
              <p:cNvPr id="2054" name="TextBox 2053">
                <a:extLst>
                  <a:ext uri="{FF2B5EF4-FFF2-40B4-BE49-F238E27FC236}">
                    <a16:creationId xmlns:a16="http://schemas.microsoft.com/office/drawing/2014/main" id="{7200BAAA-A6E8-473D-96F7-96017DDF7517}"/>
                  </a:ext>
                </a:extLst>
              </p:cNvPr>
              <p:cNvSpPr txBox="1"/>
              <p:nvPr/>
            </p:nvSpPr>
            <p:spPr>
              <a:xfrm>
                <a:off x="4107562" y="5746088"/>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Lake Gen 2</a:t>
                </a:r>
              </a:p>
            </p:txBody>
          </p:sp>
        </p:grpSp>
      </p:grpSp>
      <p:cxnSp>
        <p:nvCxnSpPr>
          <p:cNvPr id="2059" name="Straight Arrow Connector 2058">
            <a:extLst>
              <a:ext uri="{FF2B5EF4-FFF2-40B4-BE49-F238E27FC236}">
                <a16:creationId xmlns:a16="http://schemas.microsoft.com/office/drawing/2014/main" id="{83E466FE-227B-4755-A92C-80A50BCDB1C6}"/>
              </a:ext>
            </a:extLst>
          </p:cNvPr>
          <p:cNvCxnSpPr>
            <a:cxnSpLocks/>
          </p:cNvCxnSpPr>
          <p:nvPr/>
        </p:nvCxnSpPr>
        <p:spPr>
          <a:xfrm>
            <a:off x="2118178" y="2117360"/>
            <a:ext cx="768660" cy="0"/>
          </a:xfrm>
          <a:prstGeom prst="straightConnector1">
            <a:avLst/>
          </a:prstGeom>
          <a:noFill/>
          <a:ln w="19050" cap="flat" cmpd="sng" algn="ctr">
            <a:solidFill>
              <a:srgbClr val="000000"/>
            </a:solidFill>
            <a:prstDash val="solid"/>
            <a:headEnd type="none" w="lg" len="med"/>
            <a:tailEnd type="triangle" w="med" len="med"/>
          </a:ln>
          <a:effectLst/>
        </p:spPr>
      </p:cxnSp>
      <p:sp>
        <p:nvSpPr>
          <p:cNvPr id="2062" name="TextBox 2061">
            <a:extLst>
              <a:ext uri="{FF2B5EF4-FFF2-40B4-BE49-F238E27FC236}">
                <a16:creationId xmlns:a16="http://schemas.microsoft.com/office/drawing/2014/main" id="{8D493B05-F15E-4599-95EE-34A9445E1381}"/>
              </a:ext>
            </a:extLst>
          </p:cNvPr>
          <p:cNvSpPr txBox="1"/>
          <p:nvPr/>
        </p:nvSpPr>
        <p:spPr>
          <a:xfrm>
            <a:off x="3884862" y="1938919"/>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tream Analytics</a:t>
            </a:r>
          </a:p>
        </p:txBody>
      </p:sp>
      <p:cxnSp>
        <p:nvCxnSpPr>
          <p:cNvPr id="64" name="Straight Arrow Connector 63">
            <a:extLst>
              <a:ext uri="{FF2B5EF4-FFF2-40B4-BE49-F238E27FC236}">
                <a16:creationId xmlns:a16="http://schemas.microsoft.com/office/drawing/2014/main" id="{2AA32156-55C4-4B88-9000-217C358FC6A6}"/>
              </a:ext>
            </a:extLst>
          </p:cNvPr>
          <p:cNvCxnSpPr>
            <a:cxnSpLocks/>
          </p:cNvCxnSpPr>
          <p:nvPr/>
        </p:nvCxnSpPr>
        <p:spPr>
          <a:xfrm flipH="1">
            <a:off x="3011284" y="5352795"/>
            <a:ext cx="4130" cy="506539"/>
          </a:xfrm>
          <a:prstGeom prst="straightConnector1">
            <a:avLst/>
          </a:prstGeom>
          <a:noFill/>
          <a:ln w="19050" cap="flat" cmpd="sng" algn="ctr">
            <a:solidFill>
              <a:srgbClr val="000000"/>
            </a:solidFill>
            <a:prstDash val="solid"/>
            <a:headEnd type="none" w="lg" len="med"/>
            <a:tailEnd type="triangle" w="med" len="med"/>
          </a:ln>
          <a:effectLst/>
        </p:spPr>
      </p:cxnSp>
      <p:cxnSp>
        <p:nvCxnSpPr>
          <p:cNvPr id="66" name="Straight Arrow Connector 65">
            <a:extLst>
              <a:ext uri="{FF2B5EF4-FFF2-40B4-BE49-F238E27FC236}">
                <a16:creationId xmlns:a16="http://schemas.microsoft.com/office/drawing/2014/main" id="{FD919623-A86A-457C-AAC0-3B1E725F0C3F}"/>
              </a:ext>
            </a:extLst>
          </p:cNvPr>
          <p:cNvCxnSpPr>
            <a:cxnSpLocks/>
          </p:cNvCxnSpPr>
          <p:nvPr/>
        </p:nvCxnSpPr>
        <p:spPr>
          <a:xfrm>
            <a:off x="3772121" y="5361930"/>
            <a:ext cx="0" cy="485727"/>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3" name="Group 92">
            <a:extLst>
              <a:ext uri="{FF2B5EF4-FFF2-40B4-BE49-F238E27FC236}">
                <a16:creationId xmlns:a16="http://schemas.microsoft.com/office/drawing/2014/main" id="{49B82087-B0BC-4848-B112-E4935CA6B607}"/>
              </a:ext>
            </a:extLst>
          </p:cNvPr>
          <p:cNvGrpSpPr/>
          <p:nvPr/>
        </p:nvGrpSpPr>
        <p:grpSpPr>
          <a:xfrm>
            <a:off x="5505798" y="4088613"/>
            <a:ext cx="3445565" cy="1286689"/>
            <a:chOff x="5495646" y="4424851"/>
            <a:chExt cx="3445565" cy="1286689"/>
          </a:xfrm>
        </p:grpSpPr>
        <p:sp>
          <p:nvSpPr>
            <p:cNvPr id="67" name="Rectangle 66">
              <a:extLst>
                <a:ext uri="{FF2B5EF4-FFF2-40B4-BE49-F238E27FC236}">
                  <a16:creationId xmlns:a16="http://schemas.microsoft.com/office/drawing/2014/main" id="{82929D9A-DEFC-4BC0-9A8D-289C9895D81D}"/>
                </a:ext>
              </a:extLst>
            </p:cNvPr>
            <p:cNvSpPr/>
            <p:nvPr/>
          </p:nvSpPr>
          <p:spPr bwMode="auto">
            <a:xfrm>
              <a:off x="5495646" y="4424851"/>
              <a:ext cx="3445565"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68" name="Group 2067">
              <a:extLst>
                <a:ext uri="{FF2B5EF4-FFF2-40B4-BE49-F238E27FC236}">
                  <a16:creationId xmlns:a16="http://schemas.microsoft.com/office/drawing/2014/main" id="{E19B705F-9126-4E4C-AB43-6379A32256CE}"/>
                </a:ext>
              </a:extLst>
            </p:cNvPr>
            <p:cNvGrpSpPr/>
            <p:nvPr/>
          </p:nvGrpSpPr>
          <p:grpSpPr>
            <a:xfrm>
              <a:off x="7372981" y="4931855"/>
              <a:ext cx="1537924" cy="360000"/>
              <a:chOff x="7249867" y="4208717"/>
              <a:chExt cx="1537924" cy="360000"/>
            </a:xfrm>
          </p:grpSpPr>
          <p:sp>
            <p:nvSpPr>
              <p:cNvPr id="2063" name="TextBox 2062">
                <a:extLst>
                  <a:ext uri="{FF2B5EF4-FFF2-40B4-BE49-F238E27FC236}">
                    <a16:creationId xmlns:a16="http://schemas.microsoft.com/office/drawing/2014/main" id="{951F593A-492A-4445-8CF9-895D09A17915}"/>
                  </a:ext>
                </a:extLst>
              </p:cNvPr>
              <p:cNvSpPr txBox="1"/>
              <p:nvPr/>
            </p:nvSpPr>
            <p:spPr>
              <a:xfrm>
                <a:off x="7635212" y="4215984"/>
                <a:ext cx="1152579"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ynapse Analytics</a:t>
                </a:r>
              </a:p>
            </p:txBody>
          </p:sp>
          <p:pic>
            <p:nvPicPr>
              <p:cNvPr id="2064" name="Graphic 2063">
                <a:extLst>
                  <a:ext uri="{FF2B5EF4-FFF2-40B4-BE49-F238E27FC236}">
                    <a16:creationId xmlns:a16="http://schemas.microsoft.com/office/drawing/2014/main" id="{DE92E9C4-4494-4B98-9DD4-A14CF475FCC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49867" y="4208717"/>
                <a:ext cx="313125" cy="360000"/>
              </a:xfrm>
              <a:prstGeom prst="rect">
                <a:avLst/>
              </a:prstGeom>
            </p:spPr>
          </p:pic>
        </p:grpSp>
        <p:grpSp>
          <p:nvGrpSpPr>
            <p:cNvPr id="2069" name="Group 2068">
              <a:extLst>
                <a:ext uri="{FF2B5EF4-FFF2-40B4-BE49-F238E27FC236}">
                  <a16:creationId xmlns:a16="http://schemas.microsoft.com/office/drawing/2014/main" id="{62D1B794-9A5A-4BD5-BF98-D4F751817994}"/>
                </a:ext>
              </a:extLst>
            </p:cNvPr>
            <p:cNvGrpSpPr/>
            <p:nvPr/>
          </p:nvGrpSpPr>
          <p:grpSpPr>
            <a:xfrm>
              <a:off x="5575782" y="4916599"/>
              <a:ext cx="1570303" cy="360000"/>
              <a:chOff x="5378138" y="4179766"/>
              <a:chExt cx="1570303" cy="360000"/>
            </a:xfrm>
          </p:grpSpPr>
          <p:pic>
            <p:nvPicPr>
              <p:cNvPr id="29" name="Graphic 28">
                <a:extLst>
                  <a:ext uri="{FF2B5EF4-FFF2-40B4-BE49-F238E27FC236}">
                    <a16:creationId xmlns:a16="http://schemas.microsoft.com/office/drawing/2014/main" id="{7A78BD5A-0E7A-4CE8-B21C-B7D8CAEC1E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78138" y="4179766"/>
                <a:ext cx="360000" cy="360000"/>
              </a:xfrm>
              <a:prstGeom prst="rect">
                <a:avLst/>
              </a:prstGeom>
            </p:spPr>
          </p:pic>
          <p:sp>
            <p:nvSpPr>
              <p:cNvPr id="68" name="TextBox 67">
                <a:extLst>
                  <a:ext uri="{FF2B5EF4-FFF2-40B4-BE49-F238E27FC236}">
                    <a16:creationId xmlns:a16="http://schemas.microsoft.com/office/drawing/2014/main" id="{D83A5F90-DABC-45C6-A5BD-DD16332B37EC}"/>
                  </a:ext>
                </a:extLst>
              </p:cNvPr>
              <p:cNvSpPr txBox="1"/>
              <p:nvPr/>
            </p:nvSpPr>
            <p:spPr>
              <a:xfrm>
                <a:off x="5795862" y="4206117"/>
                <a:ext cx="1152579" cy="332399"/>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QL Datawarehouse</a:t>
                </a:r>
              </a:p>
            </p:txBody>
          </p:sp>
        </p:grpSp>
      </p:grpSp>
      <p:cxnSp>
        <p:nvCxnSpPr>
          <p:cNvPr id="84" name="Straight Arrow Connector 83">
            <a:extLst>
              <a:ext uri="{FF2B5EF4-FFF2-40B4-BE49-F238E27FC236}">
                <a16:creationId xmlns:a16="http://schemas.microsoft.com/office/drawing/2014/main" id="{8420B9F6-867E-4A2C-8F59-7D0BEAF51070}"/>
              </a:ext>
            </a:extLst>
          </p:cNvPr>
          <p:cNvCxnSpPr>
            <a:cxnSpLocks/>
          </p:cNvCxnSpPr>
          <p:nvPr/>
        </p:nvCxnSpPr>
        <p:spPr>
          <a:xfrm>
            <a:off x="5831570" y="2753500"/>
            <a:ext cx="0" cy="1281029"/>
          </a:xfrm>
          <a:prstGeom prst="straightConnector1">
            <a:avLst/>
          </a:prstGeom>
          <a:noFill/>
          <a:ln w="19050" cap="flat" cmpd="sng" algn="ctr">
            <a:solidFill>
              <a:srgbClr val="000000"/>
            </a:solidFill>
            <a:prstDash val="solid"/>
            <a:headEnd type="none" w="lg" len="med"/>
            <a:tailEnd type="triangle" w="med" len="med"/>
          </a:ln>
          <a:effectLst/>
        </p:spPr>
      </p:cxnSp>
      <p:cxnSp>
        <p:nvCxnSpPr>
          <p:cNvPr id="85" name="Straight Arrow Connector 84">
            <a:extLst>
              <a:ext uri="{FF2B5EF4-FFF2-40B4-BE49-F238E27FC236}">
                <a16:creationId xmlns:a16="http://schemas.microsoft.com/office/drawing/2014/main" id="{F5102098-353B-4C88-86B7-9FAA84A7E80A}"/>
              </a:ext>
            </a:extLst>
          </p:cNvPr>
          <p:cNvCxnSpPr>
            <a:cxnSpLocks/>
          </p:cNvCxnSpPr>
          <p:nvPr/>
        </p:nvCxnSpPr>
        <p:spPr>
          <a:xfrm>
            <a:off x="7048963" y="5398798"/>
            <a:ext cx="0" cy="483922"/>
          </a:xfrm>
          <a:prstGeom prst="straightConnector1">
            <a:avLst/>
          </a:prstGeom>
          <a:noFill/>
          <a:ln w="19050" cap="flat" cmpd="sng" algn="ctr">
            <a:solidFill>
              <a:schemeClr val="accent6"/>
            </a:solidFill>
            <a:prstDash val="solid"/>
            <a:headEnd type="none" w="lg" len="med"/>
            <a:tailEnd type="triangle" w="med" len="med"/>
          </a:ln>
          <a:effectLst>
            <a:glow rad="101600">
              <a:schemeClr val="accent6">
                <a:satMod val="175000"/>
                <a:alpha val="40000"/>
              </a:schemeClr>
            </a:glow>
          </a:effectLst>
        </p:spPr>
      </p:cxnSp>
      <p:cxnSp>
        <p:nvCxnSpPr>
          <p:cNvPr id="86" name="Straight Arrow Connector 85">
            <a:extLst>
              <a:ext uri="{FF2B5EF4-FFF2-40B4-BE49-F238E27FC236}">
                <a16:creationId xmlns:a16="http://schemas.microsoft.com/office/drawing/2014/main" id="{D9846E3A-2378-4E97-90D9-2DA48D546DD6}"/>
              </a:ext>
            </a:extLst>
          </p:cNvPr>
          <p:cNvCxnSpPr>
            <a:cxnSpLocks/>
          </p:cNvCxnSpPr>
          <p:nvPr/>
        </p:nvCxnSpPr>
        <p:spPr>
          <a:xfrm>
            <a:off x="7521358" y="5375302"/>
            <a:ext cx="0" cy="507419"/>
          </a:xfrm>
          <a:prstGeom prst="straightConnector1">
            <a:avLst/>
          </a:prstGeom>
          <a:noFill/>
          <a:ln w="19050" cap="flat" cmpd="sng" algn="ctr">
            <a:solidFill>
              <a:schemeClr val="accent6"/>
            </a:solidFill>
            <a:prstDash val="solid"/>
            <a:headEnd type="triangle" w="med" len="med"/>
            <a:tailEnd type="none" w="med" len="med"/>
          </a:ln>
          <a:effectLst>
            <a:glow rad="101600">
              <a:schemeClr val="accent6">
                <a:satMod val="175000"/>
                <a:alpha val="40000"/>
              </a:schemeClr>
            </a:glow>
          </a:effectLst>
        </p:spPr>
      </p:cxnSp>
      <p:grpSp>
        <p:nvGrpSpPr>
          <p:cNvPr id="92" name="Group 91">
            <a:extLst>
              <a:ext uri="{FF2B5EF4-FFF2-40B4-BE49-F238E27FC236}">
                <a16:creationId xmlns:a16="http://schemas.microsoft.com/office/drawing/2014/main" id="{F96AB8BA-5C0C-4FB2-99F7-6EF5F43C2647}"/>
              </a:ext>
            </a:extLst>
          </p:cNvPr>
          <p:cNvGrpSpPr/>
          <p:nvPr/>
        </p:nvGrpSpPr>
        <p:grpSpPr>
          <a:xfrm>
            <a:off x="4356624" y="4091404"/>
            <a:ext cx="906891" cy="1272327"/>
            <a:chOff x="4346472" y="4427642"/>
            <a:chExt cx="906891" cy="1272327"/>
          </a:xfrm>
        </p:grpSpPr>
        <p:sp>
          <p:nvSpPr>
            <p:cNvPr id="87" name="Rectangle 86">
              <a:extLst>
                <a:ext uri="{FF2B5EF4-FFF2-40B4-BE49-F238E27FC236}">
                  <a16:creationId xmlns:a16="http://schemas.microsoft.com/office/drawing/2014/main" id="{C93BDA40-2B2A-42B7-8798-4CC7E1FA647A}"/>
                </a:ext>
              </a:extLst>
            </p:cNvPr>
            <p:cNvSpPr/>
            <p:nvPr/>
          </p:nvSpPr>
          <p:spPr bwMode="auto">
            <a:xfrm>
              <a:off x="4346472" y="4427642"/>
              <a:ext cx="906891"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13" name="Graphic 12">
              <a:extLst>
                <a:ext uri="{FF2B5EF4-FFF2-40B4-BE49-F238E27FC236}">
                  <a16:creationId xmlns:a16="http://schemas.microsoft.com/office/drawing/2014/main" id="{B6EE4014-0BC6-4208-8F16-730663E254A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04869" y="4792328"/>
              <a:ext cx="360000" cy="360000"/>
            </a:xfrm>
            <a:prstGeom prst="rect">
              <a:avLst/>
            </a:prstGeom>
          </p:spPr>
        </p:pic>
        <p:sp>
          <p:nvSpPr>
            <p:cNvPr id="89" name="TextBox 88">
              <a:extLst>
                <a:ext uri="{FF2B5EF4-FFF2-40B4-BE49-F238E27FC236}">
                  <a16:creationId xmlns:a16="http://schemas.microsoft.com/office/drawing/2014/main" id="{D1E29D12-C807-437F-AC78-383EEE5CA250}"/>
                </a:ext>
              </a:extLst>
            </p:cNvPr>
            <p:cNvSpPr txBox="1"/>
            <p:nvPr/>
          </p:nvSpPr>
          <p:spPr>
            <a:xfrm>
              <a:off x="4522733" y="5251656"/>
              <a:ext cx="524271" cy="332399"/>
            </a:xfrm>
            <a:prstGeom prst="rect">
              <a:avLst/>
            </a:prstGeom>
            <a:noFill/>
          </p:spPr>
          <p:txBody>
            <a:bodyPr wrap="square" lIns="0" tIns="0" rIns="0" bIns="0" rtlCol="0">
              <a:spAutoFit/>
            </a:bodyPr>
            <a:lstStyle/>
            <a:p>
              <a:pPr algn="ct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QL</a:t>
              </a:r>
            </a:p>
          </p:txBody>
        </p:sp>
      </p:grpSp>
      <p:cxnSp>
        <p:nvCxnSpPr>
          <p:cNvPr id="91" name="Straight Arrow Connector 90">
            <a:extLst>
              <a:ext uri="{FF2B5EF4-FFF2-40B4-BE49-F238E27FC236}">
                <a16:creationId xmlns:a16="http://schemas.microsoft.com/office/drawing/2014/main" id="{2E7AE7E5-DEA3-4EF8-9075-5F49F793A41D}"/>
              </a:ext>
            </a:extLst>
          </p:cNvPr>
          <p:cNvCxnSpPr>
            <a:cxnSpLocks/>
          </p:cNvCxnSpPr>
          <p:nvPr/>
        </p:nvCxnSpPr>
        <p:spPr>
          <a:xfrm>
            <a:off x="4696106" y="2753500"/>
            <a:ext cx="0" cy="1335113"/>
          </a:xfrm>
          <a:prstGeom prst="straightConnector1">
            <a:avLst/>
          </a:prstGeom>
          <a:noFill/>
          <a:ln w="19050" cap="flat" cmpd="sng" algn="ctr">
            <a:solidFill>
              <a:srgbClr val="000000"/>
            </a:solidFill>
            <a:prstDash val="solid"/>
            <a:headEnd type="none" w="lg" len="med"/>
            <a:tailEnd type="triangle" w="med" len="med"/>
          </a:ln>
          <a:effectLst/>
        </p:spPr>
      </p:cxnSp>
      <p:cxnSp>
        <p:nvCxnSpPr>
          <p:cNvPr id="2053" name="Straight Arrow Connector 2052">
            <a:extLst>
              <a:ext uri="{FF2B5EF4-FFF2-40B4-BE49-F238E27FC236}">
                <a16:creationId xmlns:a16="http://schemas.microsoft.com/office/drawing/2014/main" id="{49553682-7F22-421A-82E4-92A710564538}"/>
              </a:ext>
            </a:extLst>
          </p:cNvPr>
          <p:cNvCxnSpPr/>
          <p:nvPr/>
        </p:nvCxnSpPr>
        <p:spPr>
          <a:xfrm flipH="1">
            <a:off x="8942800" y="4236265"/>
            <a:ext cx="576567" cy="0"/>
          </a:xfrm>
          <a:prstGeom prst="straightConnector1">
            <a:avLst/>
          </a:prstGeom>
          <a:noFill/>
          <a:ln w="19050" cap="flat" cmpd="sng" algn="ctr">
            <a:solidFill>
              <a:srgbClr val="000000"/>
            </a:solidFill>
            <a:prstDash val="solid"/>
            <a:headEnd type="none" w="lg" len="med"/>
            <a:tailEnd type="triangle" w="med" len="med"/>
          </a:ln>
          <a:effectLst/>
        </p:spPr>
      </p:cxnSp>
      <p:cxnSp>
        <p:nvCxnSpPr>
          <p:cNvPr id="111" name="Straight Arrow Connector 110">
            <a:extLst>
              <a:ext uri="{FF2B5EF4-FFF2-40B4-BE49-F238E27FC236}">
                <a16:creationId xmlns:a16="http://schemas.microsoft.com/office/drawing/2014/main" id="{BDE5A235-E5BA-4014-9748-ACA9B679D902}"/>
              </a:ext>
            </a:extLst>
          </p:cNvPr>
          <p:cNvCxnSpPr>
            <a:cxnSpLocks/>
          </p:cNvCxnSpPr>
          <p:nvPr/>
        </p:nvCxnSpPr>
        <p:spPr>
          <a:xfrm>
            <a:off x="4966457" y="3860026"/>
            <a:ext cx="0" cy="228587"/>
          </a:xfrm>
          <a:prstGeom prst="straightConnector1">
            <a:avLst/>
          </a:prstGeom>
          <a:noFill/>
          <a:ln w="19050" cap="flat" cmpd="sng" algn="ctr">
            <a:solidFill>
              <a:srgbClr val="000000"/>
            </a:solidFill>
            <a:prstDash val="solid"/>
            <a:headEnd type="none" w="lg" len="med"/>
            <a:tailEnd type="triangle" w="med" len="med"/>
          </a:ln>
          <a:effectLst/>
        </p:spPr>
      </p:cxnSp>
      <p:cxnSp>
        <p:nvCxnSpPr>
          <p:cNvPr id="2061" name="Straight Connector 2060">
            <a:extLst>
              <a:ext uri="{FF2B5EF4-FFF2-40B4-BE49-F238E27FC236}">
                <a16:creationId xmlns:a16="http://schemas.microsoft.com/office/drawing/2014/main" id="{1AD6DD68-D4F3-4C80-BC92-2C38DE9AC9AE}"/>
              </a:ext>
            </a:extLst>
          </p:cNvPr>
          <p:cNvCxnSpPr>
            <a:cxnSpLocks/>
          </p:cNvCxnSpPr>
          <p:nvPr/>
        </p:nvCxnSpPr>
        <p:spPr>
          <a:xfrm>
            <a:off x="4975021" y="3864788"/>
            <a:ext cx="4552909" cy="0"/>
          </a:xfrm>
          <a:prstGeom prst="line">
            <a:avLst/>
          </a:prstGeom>
          <a:noFill/>
          <a:ln w="19050" cap="flat" cmpd="sng" algn="ctr">
            <a:solidFill>
              <a:srgbClr val="000000"/>
            </a:solidFill>
            <a:prstDash val="solid"/>
            <a:headEnd type="none" w="med" len="med"/>
            <a:tailEnd type="none" w="med" len="med"/>
          </a:ln>
          <a:effectLst/>
        </p:spPr>
      </p:cxnSp>
      <p:sp>
        <p:nvSpPr>
          <p:cNvPr id="57" name="Rectangle 56">
            <a:extLst>
              <a:ext uri="{FF2B5EF4-FFF2-40B4-BE49-F238E27FC236}">
                <a16:creationId xmlns:a16="http://schemas.microsoft.com/office/drawing/2014/main" id="{4E948A42-7075-4281-AB6C-9F32A4F37310}"/>
              </a:ext>
            </a:extLst>
          </p:cNvPr>
          <p:cNvSpPr/>
          <p:nvPr/>
        </p:nvSpPr>
        <p:spPr bwMode="auto">
          <a:xfrm>
            <a:off x="9519366" y="2994612"/>
            <a:ext cx="1841930" cy="149641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51" name="Group 50">
            <a:extLst>
              <a:ext uri="{FF2B5EF4-FFF2-40B4-BE49-F238E27FC236}">
                <a16:creationId xmlns:a16="http://schemas.microsoft.com/office/drawing/2014/main" id="{A4AC3279-830A-4628-931B-931C9B9DD62E}"/>
              </a:ext>
            </a:extLst>
          </p:cNvPr>
          <p:cNvGrpSpPr/>
          <p:nvPr/>
        </p:nvGrpSpPr>
        <p:grpSpPr>
          <a:xfrm>
            <a:off x="9818146" y="3610963"/>
            <a:ext cx="1252935" cy="358250"/>
            <a:chOff x="9730105" y="3501775"/>
            <a:chExt cx="1252935" cy="358250"/>
          </a:xfrm>
        </p:grpSpPr>
        <p:sp>
          <p:nvSpPr>
            <p:cNvPr id="58" name="TextBox 57">
              <a:extLst>
                <a:ext uri="{FF2B5EF4-FFF2-40B4-BE49-F238E27FC236}">
                  <a16:creationId xmlns:a16="http://schemas.microsoft.com/office/drawing/2014/main" id="{CDBA0939-8AA3-4E72-B317-BBE45D1DC071}"/>
                </a:ext>
              </a:extLst>
            </p:cNvPr>
            <p:cNvSpPr txBox="1"/>
            <p:nvPr/>
          </p:nvSpPr>
          <p:spPr>
            <a:xfrm>
              <a:off x="10374997" y="3640359"/>
              <a:ext cx="608043" cy="166156"/>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Power BI</a:t>
              </a:r>
            </a:p>
          </p:txBody>
        </p:sp>
        <p:grpSp>
          <p:nvGrpSpPr>
            <p:cNvPr id="59" name="Group 58">
              <a:extLst>
                <a:ext uri="{FF2B5EF4-FFF2-40B4-BE49-F238E27FC236}">
                  <a16:creationId xmlns:a16="http://schemas.microsoft.com/office/drawing/2014/main" id="{CF0CA3EF-E4AF-48CE-A471-4C831E54EF3F}"/>
                </a:ext>
              </a:extLst>
            </p:cNvPr>
            <p:cNvGrpSpPr/>
            <p:nvPr/>
          </p:nvGrpSpPr>
          <p:grpSpPr>
            <a:xfrm>
              <a:off x="9730105" y="3501775"/>
              <a:ext cx="474506" cy="358250"/>
              <a:chOff x="2851176" y="840527"/>
              <a:chExt cx="3024388" cy="2283410"/>
            </a:xfrm>
          </p:grpSpPr>
          <p:sp>
            <p:nvSpPr>
              <p:cNvPr id="60" name="Freeform: Shape 338">
                <a:extLst>
                  <a:ext uri="{FF2B5EF4-FFF2-40B4-BE49-F238E27FC236}">
                    <a16:creationId xmlns:a16="http://schemas.microsoft.com/office/drawing/2014/main" id="{755D314E-9F9D-47B0-8CC8-7815A6387FB6}"/>
                  </a:ext>
                </a:extLst>
              </p:cNvPr>
              <p:cNvSpPr/>
              <p:nvPr/>
            </p:nvSpPr>
            <p:spPr>
              <a:xfrm>
                <a:off x="2851176" y="840527"/>
                <a:ext cx="3024388" cy="1958289"/>
              </a:xfrm>
              <a:custGeom>
                <a:avLst/>
                <a:gdLst>
                  <a:gd name="connsiteX0" fmla="*/ 61230 w 493108"/>
                  <a:gd name="connsiteY0" fmla="*/ 0 h 319287"/>
                  <a:gd name="connsiteX1" fmla="*/ 431878 w 493108"/>
                  <a:gd name="connsiteY1" fmla="*/ 0 h 319287"/>
                  <a:gd name="connsiteX2" fmla="*/ 493108 w 493108"/>
                  <a:gd name="connsiteY2" fmla="*/ 61230 h 319287"/>
                  <a:gd name="connsiteX3" fmla="*/ 493108 w 493108"/>
                  <a:gd name="connsiteY3" fmla="*/ 258057 h 319287"/>
                  <a:gd name="connsiteX4" fmla="*/ 431878 w 493108"/>
                  <a:gd name="connsiteY4" fmla="*/ 319287 h 319287"/>
                  <a:gd name="connsiteX5" fmla="*/ 425306 w 493108"/>
                  <a:gd name="connsiteY5" fmla="*/ 319287 h 319287"/>
                  <a:gd name="connsiteX6" fmla="*/ 425306 w 493108"/>
                  <a:gd name="connsiteY6" fmla="*/ 298563 h 319287"/>
                  <a:gd name="connsiteX7" fmla="*/ 434307 w 493108"/>
                  <a:gd name="connsiteY7" fmla="*/ 298563 h 319287"/>
                  <a:gd name="connsiteX8" fmla="*/ 474000 w 493108"/>
                  <a:gd name="connsiteY8" fmla="*/ 258870 h 319287"/>
                  <a:gd name="connsiteX9" fmla="*/ 474000 w 493108"/>
                  <a:gd name="connsiteY9" fmla="*/ 59417 h 319287"/>
                  <a:gd name="connsiteX10" fmla="*/ 434307 w 493108"/>
                  <a:gd name="connsiteY10" fmla="*/ 19724 h 319287"/>
                  <a:gd name="connsiteX11" fmla="*/ 60650 w 493108"/>
                  <a:gd name="connsiteY11" fmla="*/ 19724 h 319287"/>
                  <a:gd name="connsiteX12" fmla="*/ 20957 w 493108"/>
                  <a:gd name="connsiteY12" fmla="*/ 59417 h 319287"/>
                  <a:gd name="connsiteX13" fmla="*/ 20957 w 493108"/>
                  <a:gd name="connsiteY13" fmla="*/ 258870 h 319287"/>
                  <a:gd name="connsiteX14" fmla="*/ 60650 w 493108"/>
                  <a:gd name="connsiteY14" fmla="*/ 298563 h 319287"/>
                  <a:gd name="connsiteX15" fmla="*/ 69652 w 493108"/>
                  <a:gd name="connsiteY15" fmla="*/ 298563 h 319287"/>
                  <a:gd name="connsiteX16" fmla="*/ 69652 w 493108"/>
                  <a:gd name="connsiteY16" fmla="*/ 319287 h 319287"/>
                  <a:gd name="connsiteX17" fmla="*/ 61230 w 493108"/>
                  <a:gd name="connsiteY17" fmla="*/ 319287 h 319287"/>
                  <a:gd name="connsiteX18" fmla="*/ 0 w 493108"/>
                  <a:gd name="connsiteY18" fmla="*/ 258057 h 319287"/>
                  <a:gd name="connsiteX19" fmla="*/ 0 w 493108"/>
                  <a:gd name="connsiteY19" fmla="*/ 61230 h 319287"/>
                  <a:gd name="connsiteX20" fmla="*/ 61230 w 493108"/>
                  <a:gd name="connsiteY20" fmla="*/ 0 h 31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3108" h="319287">
                    <a:moveTo>
                      <a:pt x="61230" y="0"/>
                    </a:moveTo>
                    <a:lnTo>
                      <a:pt x="431878" y="0"/>
                    </a:lnTo>
                    <a:cubicBezTo>
                      <a:pt x="465695" y="0"/>
                      <a:pt x="493108" y="27414"/>
                      <a:pt x="493108" y="61230"/>
                    </a:cubicBezTo>
                    <a:lnTo>
                      <a:pt x="493108" y="258057"/>
                    </a:lnTo>
                    <a:cubicBezTo>
                      <a:pt x="493108" y="291874"/>
                      <a:pt x="465695" y="319287"/>
                      <a:pt x="431878" y="319287"/>
                    </a:cubicBezTo>
                    <a:lnTo>
                      <a:pt x="425306" y="319287"/>
                    </a:lnTo>
                    <a:lnTo>
                      <a:pt x="425306" y="298563"/>
                    </a:lnTo>
                    <a:lnTo>
                      <a:pt x="434307" y="298563"/>
                    </a:lnTo>
                    <a:cubicBezTo>
                      <a:pt x="456229" y="298563"/>
                      <a:pt x="474000" y="280792"/>
                      <a:pt x="474000" y="258870"/>
                    </a:cubicBezTo>
                    <a:lnTo>
                      <a:pt x="474000" y="59417"/>
                    </a:lnTo>
                    <a:cubicBezTo>
                      <a:pt x="474000" y="37495"/>
                      <a:pt x="456229" y="19724"/>
                      <a:pt x="434307" y="19724"/>
                    </a:cubicBezTo>
                    <a:lnTo>
                      <a:pt x="60650" y="19724"/>
                    </a:lnTo>
                    <a:cubicBezTo>
                      <a:pt x="38728" y="19724"/>
                      <a:pt x="20957" y="37495"/>
                      <a:pt x="20957" y="59417"/>
                    </a:cubicBezTo>
                    <a:lnTo>
                      <a:pt x="20957" y="258870"/>
                    </a:lnTo>
                    <a:cubicBezTo>
                      <a:pt x="20957" y="280792"/>
                      <a:pt x="38728" y="298563"/>
                      <a:pt x="60650" y="298563"/>
                    </a:cubicBezTo>
                    <a:lnTo>
                      <a:pt x="69652" y="298563"/>
                    </a:lnTo>
                    <a:lnTo>
                      <a:pt x="69652" y="319287"/>
                    </a:lnTo>
                    <a:lnTo>
                      <a:pt x="61230" y="319287"/>
                    </a:lnTo>
                    <a:cubicBezTo>
                      <a:pt x="27414" y="319287"/>
                      <a:pt x="0" y="291874"/>
                      <a:pt x="0" y="258057"/>
                    </a:cubicBezTo>
                    <a:lnTo>
                      <a:pt x="0" y="61230"/>
                    </a:lnTo>
                    <a:cubicBezTo>
                      <a:pt x="0" y="27414"/>
                      <a:pt x="27414" y="0"/>
                      <a:pt x="61230" y="0"/>
                    </a:cubicBezTo>
                    <a:close/>
                  </a:path>
                </a:pathLst>
              </a:custGeom>
              <a:solidFill>
                <a:srgbClr val="0078D7"/>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sp>
            <p:nvSpPr>
              <p:cNvPr id="61" name="Freeform: Shape 339">
                <a:extLst>
                  <a:ext uri="{FF2B5EF4-FFF2-40B4-BE49-F238E27FC236}">
                    <a16:creationId xmlns:a16="http://schemas.microsoft.com/office/drawing/2014/main" id="{37EC31AF-BED1-444B-9403-A3721206BF92}"/>
                  </a:ext>
                </a:extLst>
              </p:cNvPr>
              <p:cNvSpPr/>
              <p:nvPr/>
            </p:nvSpPr>
            <p:spPr>
              <a:xfrm>
                <a:off x="3382432" y="1335590"/>
                <a:ext cx="1959012" cy="1788347"/>
              </a:xfrm>
              <a:custGeom>
                <a:avLst/>
                <a:gdLst>
                  <a:gd name="connsiteX0" fmla="*/ 169583 w 1959012"/>
                  <a:gd name="connsiteY0" fmla="*/ 1054931 h 1788347"/>
                  <a:gd name="connsiteX1" fmla="*/ 339166 w 1959012"/>
                  <a:gd name="connsiteY1" fmla="*/ 1224514 h 1788347"/>
                  <a:gd name="connsiteX2" fmla="*/ 339166 w 1959012"/>
                  <a:gd name="connsiteY2" fmla="*/ 1618758 h 1788347"/>
                  <a:gd name="connsiteX3" fmla="*/ 169583 w 1959012"/>
                  <a:gd name="connsiteY3" fmla="*/ 1788341 h 1788347"/>
                  <a:gd name="connsiteX4" fmla="*/ 0 w 1959012"/>
                  <a:gd name="connsiteY4" fmla="*/ 1618758 h 1788347"/>
                  <a:gd name="connsiteX5" fmla="*/ 0 w 1959012"/>
                  <a:gd name="connsiteY5" fmla="*/ 1224514 h 1788347"/>
                  <a:gd name="connsiteX6" fmla="*/ 169583 w 1959012"/>
                  <a:gd name="connsiteY6" fmla="*/ 1054931 h 1788347"/>
                  <a:gd name="connsiteX7" fmla="*/ 1255480 w 1959012"/>
                  <a:gd name="connsiteY7" fmla="*/ 692010 h 1788347"/>
                  <a:gd name="connsiteX8" fmla="*/ 1425063 w 1959012"/>
                  <a:gd name="connsiteY8" fmla="*/ 861593 h 1788347"/>
                  <a:gd name="connsiteX9" fmla="*/ 1425063 w 1959012"/>
                  <a:gd name="connsiteY9" fmla="*/ 1618764 h 1788347"/>
                  <a:gd name="connsiteX10" fmla="*/ 1255480 w 1959012"/>
                  <a:gd name="connsiteY10" fmla="*/ 1788347 h 1788347"/>
                  <a:gd name="connsiteX11" fmla="*/ 1085897 w 1959012"/>
                  <a:gd name="connsiteY11" fmla="*/ 1618764 h 1788347"/>
                  <a:gd name="connsiteX12" fmla="*/ 1085897 w 1959012"/>
                  <a:gd name="connsiteY12" fmla="*/ 861593 h 1788347"/>
                  <a:gd name="connsiteX13" fmla="*/ 1255480 w 1959012"/>
                  <a:gd name="connsiteY13" fmla="*/ 692010 h 1788347"/>
                  <a:gd name="connsiteX14" fmla="*/ 712526 w 1959012"/>
                  <a:gd name="connsiteY14" fmla="*/ 438716 h 1788347"/>
                  <a:gd name="connsiteX15" fmla="*/ 882106 w 1959012"/>
                  <a:gd name="connsiteY15" fmla="*/ 608296 h 1788347"/>
                  <a:gd name="connsiteX16" fmla="*/ 882106 w 1959012"/>
                  <a:gd name="connsiteY16" fmla="*/ 1618767 h 1788347"/>
                  <a:gd name="connsiteX17" fmla="*/ 712526 w 1959012"/>
                  <a:gd name="connsiteY17" fmla="*/ 1788347 h 1788347"/>
                  <a:gd name="connsiteX18" fmla="*/ 542946 w 1959012"/>
                  <a:gd name="connsiteY18" fmla="*/ 1618767 h 1788347"/>
                  <a:gd name="connsiteX19" fmla="*/ 542946 w 1959012"/>
                  <a:gd name="connsiteY19" fmla="*/ 608296 h 1788347"/>
                  <a:gd name="connsiteX20" fmla="*/ 712526 w 1959012"/>
                  <a:gd name="connsiteY20" fmla="*/ 438716 h 1788347"/>
                  <a:gd name="connsiteX21" fmla="*/ 1789429 w 1959012"/>
                  <a:gd name="connsiteY21" fmla="*/ 0 h 1788347"/>
                  <a:gd name="connsiteX22" fmla="*/ 1959012 w 1959012"/>
                  <a:gd name="connsiteY22" fmla="*/ 169583 h 1788347"/>
                  <a:gd name="connsiteX23" fmla="*/ 1959012 w 1959012"/>
                  <a:gd name="connsiteY23" fmla="*/ 1618764 h 1788347"/>
                  <a:gd name="connsiteX24" fmla="*/ 1789429 w 1959012"/>
                  <a:gd name="connsiteY24" fmla="*/ 1788347 h 1788347"/>
                  <a:gd name="connsiteX25" fmla="*/ 1619846 w 1959012"/>
                  <a:gd name="connsiteY25" fmla="*/ 1618764 h 1788347"/>
                  <a:gd name="connsiteX26" fmla="*/ 1619846 w 1959012"/>
                  <a:gd name="connsiteY26" fmla="*/ 169583 h 1788347"/>
                  <a:gd name="connsiteX27" fmla="*/ 1789429 w 1959012"/>
                  <a:gd name="connsiteY27" fmla="*/ 0 h 178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9012" h="1788347">
                    <a:moveTo>
                      <a:pt x="169583" y="1054931"/>
                    </a:moveTo>
                    <a:cubicBezTo>
                      <a:pt x="263241" y="1054931"/>
                      <a:pt x="339166" y="1130856"/>
                      <a:pt x="339166" y="1224514"/>
                    </a:cubicBezTo>
                    <a:lnTo>
                      <a:pt x="339166" y="1618758"/>
                    </a:lnTo>
                    <a:cubicBezTo>
                      <a:pt x="339166" y="1712416"/>
                      <a:pt x="263241" y="1788341"/>
                      <a:pt x="169583" y="1788341"/>
                    </a:cubicBezTo>
                    <a:cubicBezTo>
                      <a:pt x="75925" y="1788341"/>
                      <a:pt x="0" y="1712416"/>
                      <a:pt x="0" y="1618758"/>
                    </a:cubicBezTo>
                    <a:lnTo>
                      <a:pt x="0" y="1224514"/>
                    </a:lnTo>
                    <a:cubicBezTo>
                      <a:pt x="0" y="1130856"/>
                      <a:pt x="75925" y="1054931"/>
                      <a:pt x="169583" y="1054931"/>
                    </a:cubicBezTo>
                    <a:close/>
                    <a:moveTo>
                      <a:pt x="1255480" y="692010"/>
                    </a:moveTo>
                    <a:cubicBezTo>
                      <a:pt x="1349138" y="692010"/>
                      <a:pt x="1425063" y="767935"/>
                      <a:pt x="1425063" y="861593"/>
                    </a:cubicBezTo>
                    <a:lnTo>
                      <a:pt x="1425063" y="1618764"/>
                    </a:lnTo>
                    <a:cubicBezTo>
                      <a:pt x="1425063" y="1712422"/>
                      <a:pt x="1349138" y="1788347"/>
                      <a:pt x="1255480" y="1788347"/>
                    </a:cubicBezTo>
                    <a:cubicBezTo>
                      <a:pt x="1161822" y="1788347"/>
                      <a:pt x="1085897" y="1712422"/>
                      <a:pt x="1085897" y="1618764"/>
                    </a:cubicBezTo>
                    <a:lnTo>
                      <a:pt x="1085897" y="861593"/>
                    </a:lnTo>
                    <a:cubicBezTo>
                      <a:pt x="1085897" y="767935"/>
                      <a:pt x="1161822" y="692010"/>
                      <a:pt x="1255480" y="692010"/>
                    </a:cubicBezTo>
                    <a:close/>
                    <a:moveTo>
                      <a:pt x="712526" y="438716"/>
                    </a:moveTo>
                    <a:cubicBezTo>
                      <a:pt x="806182" y="438716"/>
                      <a:pt x="882106" y="514640"/>
                      <a:pt x="882106" y="608296"/>
                    </a:cubicBezTo>
                    <a:lnTo>
                      <a:pt x="882106" y="1618767"/>
                    </a:lnTo>
                    <a:cubicBezTo>
                      <a:pt x="882106" y="1712423"/>
                      <a:pt x="806182" y="1788347"/>
                      <a:pt x="712526" y="1788347"/>
                    </a:cubicBezTo>
                    <a:cubicBezTo>
                      <a:pt x="618870" y="1788347"/>
                      <a:pt x="542946" y="1712423"/>
                      <a:pt x="542946" y="1618767"/>
                    </a:cubicBezTo>
                    <a:lnTo>
                      <a:pt x="542946" y="608296"/>
                    </a:lnTo>
                    <a:cubicBezTo>
                      <a:pt x="542946" y="514640"/>
                      <a:pt x="618870" y="438716"/>
                      <a:pt x="712526" y="438716"/>
                    </a:cubicBezTo>
                    <a:close/>
                    <a:moveTo>
                      <a:pt x="1789429" y="0"/>
                    </a:moveTo>
                    <a:cubicBezTo>
                      <a:pt x="1883087" y="0"/>
                      <a:pt x="1959012" y="75925"/>
                      <a:pt x="1959012" y="169583"/>
                    </a:cubicBezTo>
                    <a:lnTo>
                      <a:pt x="1959012" y="1618764"/>
                    </a:lnTo>
                    <a:cubicBezTo>
                      <a:pt x="1959012" y="1712422"/>
                      <a:pt x="1883087" y="1788347"/>
                      <a:pt x="1789429" y="1788347"/>
                    </a:cubicBezTo>
                    <a:cubicBezTo>
                      <a:pt x="1695771" y="1788347"/>
                      <a:pt x="1619846" y="1712422"/>
                      <a:pt x="1619846" y="1618764"/>
                    </a:cubicBezTo>
                    <a:lnTo>
                      <a:pt x="1619846" y="169583"/>
                    </a:lnTo>
                    <a:cubicBezTo>
                      <a:pt x="1619846" y="75925"/>
                      <a:pt x="1695771" y="0"/>
                      <a:pt x="1789429" y="0"/>
                    </a:cubicBezTo>
                    <a:close/>
                  </a:path>
                </a:pathLst>
              </a:custGeom>
              <a:solidFill>
                <a:srgbClr val="50E6FF"/>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grpSp>
      </p:grpSp>
      <p:grpSp>
        <p:nvGrpSpPr>
          <p:cNvPr id="5" name="Group 4">
            <a:extLst>
              <a:ext uri="{FF2B5EF4-FFF2-40B4-BE49-F238E27FC236}">
                <a16:creationId xmlns:a16="http://schemas.microsoft.com/office/drawing/2014/main" id="{1E243239-2B3B-4E2D-83AF-7AAE969E0E50}"/>
              </a:ext>
            </a:extLst>
          </p:cNvPr>
          <p:cNvGrpSpPr/>
          <p:nvPr/>
        </p:nvGrpSpPr>
        <p:grpSpPr>
          <a:xfrm>
            <a:off x="2490882" y="4089603"/>
            <a:ext cx="1575344" cy="1272327"/>
            <a:chOff x="2489294" y="4089602"/>
            <a:chExt cx="1575344" cy="1272327"/>
          </a:xfrm>
        </p:grpSpPr>
        <p:sp>
          <p:nvSpPr>
            <p:cNvPr id="90" name="Rectangle 89">
              <a:extLst>
                <a:ext uri="{FF2B5EF4-FFF2-40B4-BE49-F238E27FC236}">
                  <a16:creationId xmlns:a16="http://schemas.microsoft.com/office/drawing/2014/main" id="{630D27B2-9B29-48E7-AB1C-F27A574B3B45}"/>
                </a:ext>
              </a:extLst>
            </p:cNvPr>
            <p:cNvSpPr/>
            <p:nvPr/>
          </p:nvSpPr>
          <p:spPr bwMode="auto">
            <a:xfrm>
              <a:off x="2489294" y="4089602"/>
              <a:ext cx="1575344"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2065" name="Graphic 2064">
              <a:extLst>
                <a:ext uri="{FF2B5EF4-FFF2-40B4-BE49-F238E27FC236}">
                  <a16:creationId xmlns:a16="http://schemas.microsoft.com/office/drawing/2014/main" id="{02F196FD-1E06-408A-9216-15BBD949514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89519" y="4278408"/>
              <a:ext cx="360000" cy="360000"/>
            </a:xfrm>
            <a:prstGeom prst="rect">
              <a:avLst/>
            </a:prstGeom>
          </p:spPr>
        </p:pic>
        <p:sp>
          <p:nvSpPr>
            <p:cNvPr id="2067" name="TextBox 2066">
              <a:extLst>
                <a:ext uri="{FF2B5EF4-FFF2-40B4-BE49-F238E27FC236}">
                  <a16:creationId xmlns:a16="http://schemas.microsoft.com/office/drawing/2014/main" id="{52329B31-8E8F-4C9C-9CBA-2ACE416D6696}"/>
                </a:ext>
              </a:extLst>
            </p:cNvPr>
            <p:cNvSpPr txBox="1"/>
            <p:nvPr/>
          </p:nvSpPr>
          <p:spPr>
            <a:xfrm>
              <a:off x="3085966" y="4306009"/>
              <a:ext cx="907398"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Factory</a:t>
              </a:r>
            </a:p>
          </p:txBody>
        </p:sp>
        <p:sp>
          <p:nvSpPr>
            <p:cNvPr id="3" name="TextBox 2">
              <a:extLst>
                <a:ext uri="{FF2B5EF4-FFF2-40B4-BE49-F238E27FC236}">
                  <a16:creationId xmlns:a16="http://schemas.microsoft.com/office/drawing/2014/main" id="{466A095F-6187-43AD-8626-01E27A79668C}"/>
                </a:ext>
              </a:extLst>
            </p:cNvPr>
            <p:cNvSpPr txBox="1"/>
            <p:nvPr/>
          </p:nvSpPr>
          <p:spPr>
            <a:xfrm>
              <a:off x="3078768" y="4846326"/>
              <a:ext cx="771498"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Synapse Analytics</a:t>
              </a:r>
            </a:p>
          </p:txBody>
        </p:sp>
        <p:pic>
          <p:nvPicPr>
            <p:cNvPr id="4" name="Graphic 3">
              <a:extLst>
                <a:ext uri="{FF2B5EF4-FFF2-40B4-BE49-F238E27FC236}">
                  <a16:creationId xmlns:a16="http://schemas.microsoft.com/office/drawing/2014/main" id="{F163E75E-D5F4-472E-AEF9-DED6CBE3268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18043" y="4840444"/>
              <a:ext cx="313125" cy="360000"/>
            </a:xfrm>
            <a:prstGeom prst="rect">
              <a:avLst/>
            </a:prstGeom>
          </p:spPr>
        </p:pic>
      </p:grpSp>
    </p:spTree>
    <p:extLst>
      <p:ext uri="{BB962C8B-B14F-4D97-AF65-F5344CB8AC3E}">
        <p14:creationId xmlns:p14="http://schemas.microsoft.com/office/powerpoint/2010/main" val="26917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21F7-19CD-6B4A-8900-FB4BCB77EC8A}"/>
              </a:ext>
            </a:extLst>
          </p:cNvPr>
          <p:cNvSpPr>
            <a:spLocks noGrp="1"/>
          </p:cNvSpPr>
          <p:nvPr>
            <p:ph type="title"/>
          </p:nvPr>
        </p:nvSpPr>
        <p:spPr>
          <a:xfrm>
            <a:off x="585438" y="608447"/>
            <a:ext cx="11021125" cy="430887"/>
          </a:xfrm>
        </p:spPr>
        <p:txBody>
          <a:bodyPr/>
          <a:lstStyle/>
          <a:p>
            <a:r>
              <a:rPr lang="en-US"/>
              <a:t>Augment your existing dashboards with </a:t>
            </a:r>
            <a:r>
              <a:rPr lang="en-US" err="1"/>
              <a:t>realtime</a:t>
            </a:r>
            <a:r>
              <a:rPr lang="en-US"/>
              <a:t> IoT Data</a:t>
            </a:r>
          </a:p>
        </p:txBody>
      </p:sp>
      <p:sp>
        <p:nvSpPr>
          <p:cNvPr id="6" name="Text Placeholder 5">
            <a:extLst>
              <a:ext uri="{FF2B5EF4-FFF2-40B4-BE49-F238E27FC236}">
                <a16:creationId xmlns:a16="http://schemas.microsoft.com/office/drawing/2014/main" id="{7FB381FC-23FC-43D5-ACEF-05DBE636E86B}"/>
              </a:ext>
            </a:extLst>
          </p:cNvPr>
          <p:cNvSpPr>
            <a:spLocks noGrp="1"/>
          </p:cNvSpPr>
          <p:nvPr>
            <p:ph type="body" sz="quarter" idx="13"/>
          </p:nvPr>
        </p:nvSpPr>
        <p:spPr/>
        <p:txBody>
          <a:bodyPr/>
          <a:lstStyle/>
          <a:p>
            <a:endParaRPr lang="en-GB"/>
          </a:p>
        </p:txBody>
      </p:sp>
      <p:pic>
        <p:nvPicPr>
          <p:cNvPr id="5" name="Picture 4">
            <a:extLst>
              <a:ext uri="{FF2B5EF4-FFF2-40B4-BE49-F238E27FC236}">
                <a16:creationId xmlns:a16="http://schemas.microsoft.com/office/drawing/2014/main" id="{A1330973-3E80-404C-8E12-E7CEB995D9B5}"/>
              </a:ext>
            </a:extLst>
          </p:cNvPr>
          <p:cNvPicPr>
            <a:picLocks noChangeAspect="1"/>
          </p:cNvPicPr>
          <p:nvPr/>
        </p:nvPicPr>
        <p:blipFill>
          <a:blip r:embed="rId5"/>
          <a:stretch>
            <a:fillRect/>
          </a:stretch>
        </p:blipFill>
        <p:spPr>
          <a:xfrm>
            <a:off x="373731" y="2103832"/>
            <a:ext cx="5510668" cy="3518754"/>
          </a:xfrm>
          <a:prstGeom prst="rect">
            <a:avLst/>
          </a:prstGeom>
          <a:ln w="12700">
            <a:solidFill>
              <a:schemeClr val="bg2"/>
            </a:solidFill>
          </a:ln>
        </p:spPr>
      </p:pic>
      <p:pic>
        <p:nvPicPr>
          <p:cNvPr id="7" name="powerbi-realtime">
            <a:hlinkClick r:id="" action="ppaction://media"/>
            <a:extLst>
              <a:ext uri="{FF2B5EF4-FFF2-40B4-BE49-F238E27FC236}">
                <a16:creationId xmlns:a16="http://schemas.microsoft.com/office/drawing/2014/main" id="{8B613380-8005-4D3B-BD13-48CD891D40C3}"/>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3905935" y="1338699"/>
            <a:ext cx="7991260" cy="5049023"/>
          </a:xfrm>
          <a:prstGeom prst="rect">
            <a:avLst/>
          </a:prstGeom>
        </p:spPr>
      </p:pic>
    </p:spTree>
    <p:extLst>
      <p:ext uri="{BB962C8B-B14F-4D97-AF65-F5344CB8AC3E}">
        <p14:creationId xmlns:p14="http://schemas.microsoft.com/office/powerpoint/2010/main" val="195225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533"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21F7-19CD-6B4A-8900-FB4BCB77EC8A}"/>
              </a:ext>
            </a:extLst>
          </p:cNvPr>
          <p:cNvSpPr>
            <a:spLocks noGrp="1"/>
          </p:cNvSpPr>
          <p:nvPr>
            <p:ph type="title" idx="4294967295"/>
          </p:nvPr>
        </p:nvSpPr>
        <p:spPr>
          <a:xfrm>
            <a:off x="1168400" y="571500"/>
            <a:ext cx="11023600" cy="430213"/>
          </a:xfrm>
        </p:spPr>
        <p:txBody>
          <a:bodyPr/>
          <a:lstStyle/>
          <a:p>
            <a:r>
              <a:rPr lang="en-US"/>
              <a:t>Using IoT as an operational Data Source</a:t>
            </a:r>
          </a:p>
        </p:txBody>
      </p:sp>
      <p:sp>
        <p:nvSpPr>
          <p:cNvPr id="50" name="Rectangle 49">
            <a:extLst>
              <a:ext uri="{FF2B5EF4-FFF2-40B4-BE49-F238E27FC236}">
                <a16:creationId xmlns:a16="http://schemas.microsoft.com/office/drawing/2014/main" id="{908E8CE3-58BA-479A-96E7-A5E5823D85DA}"/>
              </a:ext>
            </a:extLst>
          </p:cNvPr>
          <p:cNvSpPr/>
          <p:nvPr/>
        </p:nvSpPr>
        <p:spPr bwMode="auto">
          <a:xfrm>
            <a:off x="688094" y="1468438"/>
            <a:ext cx="1430084" cy="3529351"/>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12" name="Group 11">
            <a:extLst>
              <a:ext uri="{FF2B5EF4-FFF2-40B4-BE49-F238E27FC236}">
                <a16:creationId xmlns:a16="http://schemas.microsoft.com/office/drawing/2014/main" id="{591E005E-A937-42D5-BD02-53B35F544AFC}"/>
              </a:ext>
            </a:extLst>
          </p:cNvPr>
          <p:cNvGrpSpPr/>
          <p:nvPr/>
        </p:nvGrpSpPr>
        <p:grpSpPr>
          <a:xfrm>
            <a:off x="843491" y="2888789"/>
            <a:ext cx="1459797" cy="360000"/>
            <a:chOff x="4051094" y="3143895"/>
            <a:chExt cx="1459797" cy="360000"/>
          </a:xfrm>
        </p:grpSpPr>
        <p:sp>
          <p:nvSpPr>
            <p:cNvPr id="53" name="TextBox 52">
              <a:extLst>
                <a:ext uri="{FF2B5EF4-FFF2-40B4-BE49-F238E27FC236}">
                  <a16:creationId xmlns:a16="http://schemas.microsoft.com/office/drawing/2014/main" id="{0E30BD84-8BF0-4944-88C0-C34DAE64AD03}"/>
                </a:ext>
              </a:extLst>
            </p:cNvPr>
            <p:cNvSpPr txBox="1"/>
            <p:nvPr/>
          </p:nvSpPr>
          <p:spPr>
            <a:xfrm>
              <a:off x="4632938" y="3157739"/>
              <a:ext cx="877953" cy="332312"/>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IoT Hub</a:t>
              </a:r>
            </a:p>
          </p:txBody>
        </p:sp>
        <p:pic>
          <p:nvPicPr>
            <p:cNvPr id="54" name="Graphic 53">
              <a:extLst>
                <a:ext uri="{FF2B5EF4-FFF2-40B4-BE49-F238E27FC236}">
                  <a16:creationId xmlns:a16="http://schemas.microsoft.com/office/drawing/2014/main" id="{0B5D69B3-9DA5-42A7-A352-E348B834EA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1094" y="3143895"/>
              <a:ext cx="360000" cy="360000"/>
            </a:xfrm>
            <a:prstGeom prst="rect">
              <a:avLst/>
            </a:prstGeom>
          </p:spPr>
        </p:pic>
      </p:grpSp>
      <p:sp>
        <p:nvSpPr>
          <p:cNvPr id="65" name="Rectangle 64">
            <a:extLst>
              <a:ext uri="{FF2B5EF4-FFF2-40B4-BE49-F238E27FC236}">
                <a16:creationId xmlns:a16="http://schemas.microsoft.com/office/drawing/2014/main" id="{9DFC749E-EDE3-4735-8DB5-98C9D73CB2F5}"/>
              </a:ext>
            </a:extLst>
          </p:cNvPr>
          <p:cNvSpPr/>
          <p:nvPr/>
        </p:nvSpPr>
        <p:spPr bwMode="auto">
          <a:xfrm>
            <a:off x="2886838" y="1466811"/>
            <a:ext cx="3108256"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28" name="Graphic 27">
            <a:extLst>
              <a:ext uri="{FF2B5EF4-FFF2-40B4-BE49-F238E27FC236}">
                <a16:creationId xmlns:a16="http://schemas.microsoft.com/office/drawing/2014/main" id="{58D08A55-172F-4321-B76E-5FF84B9ECF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60212" y="1928871"/>
            <a:ext cx="360000" cy="360000"/>
          </a:xfrm>
          <a:prstGeom prst="rect">
            <a:avLst/>
          </a:prstGeom>
        </p:spPr>
      </p:pic>
      <p:cxnSp>
        <p:nvCxnSpPr>
          <p:cNvPr id="2048" name="Straight Arrow Connector 2047">
            <a:extLst>
              <a:ext uri="{FF2B5EF4-FFF2-40B4-BE49-F238E27FC236}">
                <a16:creationId xmlns:a16="http://schemas.microsoft.com/office/drawing/2014/main" id="{48FC0D36-3860-47C4-888F-562A99353B64}"/>
              </a:ext>
            </a:extLst>
          </p:cNvPr>
          <p:cNvCxnSpPr>
            <a:cxnSpLocks/>
          </p:cNvCxnSpPr>
          <p:nvPr/>
        </p:nvCxnSpPr>
        <p:spPr>
          <a:xfrm>
            <a:off x="1547052" y="4997788"/>
            <a:ext cx="0" cy="876068"/>
          </a:xfrm>
          <a:prstGeom prst="straightConnector1">
            <a:avLst/>
          </a:prstGeom>
          <a:noFill/>
          <a:ln w="19050" cap="flat" cmpd="sng" algn="ctr">
            <a:solidFill>
              <a:srgbClr val="000000"/>
            </a:solidFill>
            <a:prstDash val="solid"/>
            <a:headEnd type="none" w="lg" len="med"/>
            <a:tailEnd type="triangle" w="med" len="med"/>
          </a:ln>
          <a:effectLst/>
        </p:spPr>
      </p:cxnSp>
      <p:grpSp>
        <p:nvGrpSpPr>
          <p:cNvPr id="2078" name="Group 2077">
            <a:extLst>
              <a:ext uri="{FF2B5EF4-FFF2-40B4-BE49-F238E27FC236}">
                <a16:creationId xmlns:a16="http://schemas.microsoft.com/office/drawing/2014/main" id="{F2780D3B-3E3D-4C7B-BA1F-C0FF339D8A51}"/>
              </a:ext>
            </a:extLst>
          </p:cNvPr>
          <p:cNvGrpSpPr/>
          <p:nvPr/>
        </p:nvGrpSpPr>
        <p:grpSpPr>
          <a:xfrm>
            <a:off x="688095" y="5881927"/>
            <a:ext cx="8254704" cy="791308"/>
            <a:chOff x="686507" y="6142892"/>
            <a:chExt cx="8254704" cy="791308"/>
          </a:xfrm>
        </p:grpSpPr>
        <p:sp>
          <p:nvSpPr>
            <p:cNvPr id="55" name="Rectangle 54">
              <a:extLst>
                <a:ext uri="{FF2B5EF4-FFF2-40B4-BE49-F238E27FC236}">
                  <a16:creationId xmlns:a16="http://schemas.microsoft.com/office/drawing/2014/main" id="{C06EF729-EA3D-4610-99C8-C942AF45A401}"/>
                </a:ext>
              </a:extLst>
            </p:cNvPr>
            <p:cNvSpPr/>
            <p:nvPr/>
          </p:nvSpPr>
          <p:spPr bwMode="auto">
            <a:xfrm>
              <a:off x="686507" y="6142892"/>
              <a:ext cx="8254704" cy="791308"/>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55" name="Group 2054">
              <a:extLst>
                <a:ext uri="{FF2B5EF4-FFF2-40B4-BE49-F238E27FC236}">
                  <a16:creationId xmlns:a16="http://schemas.microsoft.com/office/drawing/2014/main" id="{7EA480AF-11E2-4F28-8D26-F88C28BFD7EE}"/>
                </a:ext>
              </a:extLst>
            </p:cNvPr>
            <p:cNvGrpSpPr/>
            <p:nvPr/>
          </p:nvGrpSpPr>
          <p:grpSpPr>
            <a:xfrm>
              <a:off x="3704638" y="6358546"/>
              <a:ext cx="2218443" cy="367641"/>
              <a:chOff x="3476723" y="5710846"/>
              <a:chExt cx="2218443" cy="367641"/>
            </a:xfrm>
          </p:grpSpPr>
          <p:pic>
            <p:nvPicPr>
              <p:cNvPr id="18" name="Graphic 17">
                <a:extLst>
                  <a:ext uri="{FF2B5EF4-FFF2-40B4-BE49-F238E27FC236}">
                    <a16:creationId xmlns:a16="http://schemas.microsoft.com/office/drawing/2014/main" id="{36942917-ADCB-4A69-9BE2-9DD4E7BAA8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76723" y="5710846"/>
                <a:ext cx="360000" cy="360000"/>
              </a:xfrm>
              <a:prstGeom prst="rect">
                <a:avLst/>
              </a:prstGeom>
            </p:spPr>
          </p:pic>
          <p:sp>
            <p:nvSpPr>
              <p:cNvPr id="2054" name="TextBox 2053">
                <a:extLst>
                  <a:ext uri="{FF2B5EF4-FFF2-40B4-BE49-F238E27FC236}">
                    <a16:creationId xmlns:a16="http://schemas.microsoft.com/office/drawing/2014/main" id="{7200BAAA-A6E8-473D-96F7-96017DDF7517}"/>
                  </a:ext>
                </a:extLst>
              </p:cNvPr>
              <p:cNvSpPr txBox="1"/>
              <p:nvPr/>
            </p:nvSpPr>
            <p:spPr>
              <a:xfrm>
                <a:off x="4107562" y="5746088"/>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Lake Gen 2</a:t>
                </a:r>
              </a:p>
            </p:txBody>
          </p:sp>
        </p:grpSp>
      </p:grpSp>
      <p:cxnSp>
        <p:nvCxnSpPr>
          <p:cNvPr id="2059" name="Straight Arrow Connector 2058">
            <a:extLst>
              <a:ext uri="{FF2B5EF4-FFF2-40B4-BE49-F238E27FC236}">
                <a16:creationId xmlns:a16="http://schemas.microsoft.com/office/drawing/2014/main" id="{83E466FE-227B-4755-A92C-80A50BCDB1C6}"/>
              </a:ext>
            </a:extLst>
          </p:cNvPr>
          <p:cNvCxnSpPr>
            <a:cxnSpLocks/>
          </p:cNvCxnSpPr>
          <p:nvPr/>
        </p:nvCxnSpPr>
        <p:spPr>
          <a:xfrm>
            <a:off x="2118178" y="2117360"/>
            <a:ext cx="768660" cy="0"/>
          </a:xfrm>
          <a:prstGeom prst="straightConnector1">
            <a:avLst/>
          </a:prstGeom>
          <a:noFill/>
          <a:ln w="19050" cap="flat" cmpd="sng" algn="ctr">
            <a:solidFill>
              <a:srgbClr val="000000"/>
            </a:solidFill>
            <a:prstDash val="solid"/>
            <a:headEnd type="none" w="lg" len="med"/>
            <a:tailEnd type="triangle" w="med" len="med"/>
          </a:ln>
          <a:effectLst/>
        </p:spPr>
      </p:cxnSp>
      <p:sp>
        <p:nvSpPr>
          <p:cNvPr id="2062" name="TextBox 2061">
            <a:extLst>
              <a:ext uri="{FF2B5EF4-FFF2-40B4-BE49-F238E27FC236}">
                <a16:creationId xmlns:a16="http://schemas.microsoft.com/office/drawing/2014/main" id="{8D493B05-F15E-4599-95EE-34A9445E1381}"/>
              </a:ext>
            </a:extLst>
          </p:cNvPr>
          <p:cNvSpPr txBox="1"/>
          <p:nvPr/>
        </p:nvSpPr>
        <p:spPr>
          <a:xfrm>
            <a:off x="3884862" y="1938919"/>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tream Analytics</a:t>
            </a:r>
          </a:p>
        </p:txBody>
      </p:sp>
      <p:cxnSp>
        <p:nvCxnSpPr>
          <p:cNvPr id="64" name="Straight Arrow Connector 63">
            <a:extLst>
              <a:ext uri="{FF2B5EF4-FFF2-40B4-BE49-F238E27FC236}">
                <a16:creationId xmlns:a16="http://schemas.microsoft.com/office/drawing/2014/main" id="{2AA32156-55C4-4B88-9000-217C358FC6A6}"/>
              </a:ext>
            </a:extLst>
          </p:cNvPr>
          <p:cNvCxnSpPr>
            <a:cxnSpLocks/>
          </p:cNvCxnSpPr>
          <p:nvPr/>
        </p:nvCxnSpPr>
        <p:spPr>
          <a:xfrm flipH="1">
            <a:off x="3011284" y="5352795"/>
            <a:ext cx="4130" cy="506539"/>
          </a:xfrm>
          <a:prstGeom prst="straightConnector1">
            <a:avLst/>
          </a:prstGeom>
          <a:noFill/>
          <a:ln w="19050" cap="flat" cmpd="sng" algn="ctr">
            <a:solidFill>
              <a:srgbClr val="000000"/>
            </a:solidFill>
            <a:prstDash val="solid"/>
            <a:headEnd type="none" w="lg" len="med"/>
            <a:tailEnd type="triangle" w="med" len="med"/>
          </a:ln>
          <a:effectLst/>
        </p:spPr>
      </p:cxnSp>
      <p:cxnSp>
        <p:nvCxnSpPr>
          <p:cNvPr id="66" name="Straight Arrow Connector 65">
            <a:extLst>
              <a:ext uri="{FF2B5EF4-FFF2-40B4-BE49-F238E27FC236}">
                <a16:creationId xmlns:a16="http://schemas.microsoft.com/office/drawing/2014/main" id="{FD919623-A86A-457C-AAC0-3B1E725F0C3F}"/>
              </a:ext>
            </a:extLst>
          </p:cNvPr>
          <p:cNvCxnSpPr>
            <a:cxnSpLocks/>
          </p:cNvCxnSpPr>
          <p:nvPr/>
        </p:nvCxnSpPr>
        <p:spPr>
          <a:xfrm>
            <a:off x="3772121" y="5361930"/>
            <a:ext cx="0" cy="485727"/>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3" name="Group 92">
            <a:extLst>
              <a:ext uri="{FF2B5EF4-FFF2-40B4-BE49-F238E27FC236}">
                <a16:creationId xmlns:a16="http://schemas.microsoft.com/office/drawing/2014/main" id="{49B82087-B0BC-4848-B112-E4935CA6B607}"/>
              </a:ext>
            </a:extLst>
          </p:cNvPr>
          <p:cNvGrpSpPr/>
          <p:nvPr/>
        </p:nvGrpSpPr>
        <p:grpSpPr>
          <a:xfrm>
            <a:off x="5505798" y="4088613"/>
            <a:ext cx="3445565" cy="1286689"/>
            <a:chOff x="5495646" y="4424851"/>
            <a:chExt cx="3445565" cy="1286689"/>
          </a:xfrm>
        </p:grpSpPr>
        <p:sp>
          <p:nvSpPr>
            <p:cNvPr id="67" name="Rectangle 66">
              <a:extLst>
                <a:ext uri="{FF2B5EF4-FFF2-40B4-BE49-F238E27FC236}">
                  <a16:creationId xmlns:a16="http://schemas.microsoft.com/office/drawing/2014/main" id="{82929D9A-DEFC-4BC0-9A8D-289C9895D81D}"/>
                </a:ext>
              </a:extLst>
            </p:cNvPr>
            <p:cNvSpPr/>
            <p:nvPr/>
          </p:nvSpPr>
          <p:spPr bwMode="auto">
            <a:xfrm>
              <a:off x="5495646" y="4424851"/>
              <a:ext cx="3445565"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68" name="Group 2067">
              <a:extLst>
                <a:ext uri="{FF2B5EF4-FFF2-40B4-BE49-F238E27FC236}">
                  <a16:creationId xmlns:a16="http://schemas.microsoft.com/office/drawing/2014/main" id="{E19B705F-9126-4E4C-AB43-6379A32256CE}"/>
                </a:ext>
              </a:extLst>
            </p:cNvPr>
            <p:cNvGrpSpPr/>
            <p:nvPr/>
          </p:nvGrpSpPr>
          <p:grpSpPr>
            <a:xfrm>
              <a:off x="7372981" y="4931855"/>
              <a:ext cx="1537924" cy="360000"/>
              <a:chOff x="7249867" y="4208717"/>
              <a:chExt cx="1537924" cy="360000"/>
            </a:xfrm>
          </p:grpSpPr>
          <p:sp>
            <p:nvSpPr>
              <p:cNvPr id="2063" name="TextBox 2062">
                <a:extLst>
                  <a:ext uri="{FF2B5EF4-FFF2-40B4-BE49-F238E27FC236}">
                    <a16:creationId xmlns:a16="http://schemas.microsoft.com/office/drawing/2014/main" id="{951F593A-492A-4445-8CF9-895D09A17915}"/>
                  </a:ext>
                </a:extLst>
              </p:cNvPr>
              <p:cNvSpPr txBox="1"/>
              <p:nvPr/>
            </p:nvSpPr>
            <p:spPr>
              <a:xfrm>
                <a:off x="7635212" y="4215984"/>
                <a:ext cx="1152579"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ynapse Analytics</a:t>
                </a:r>
              </a:p>
            </p:txBody>
          </p:sp>
          <p:pic>
            <p:nvPicPr>
              <p:cNvPr id="2064" name="Graphic 2063">
                <a:extLst>
                  <a:ext uri="{FF2B5EF4-FFF2-40B4-BE49-F238E27FC236}">
                    <a16:creationId xmlns:a16="http://schemas.microsoft.com/office/drawing/2014/main" id="{DE92E9C4-4494-4B98-9DD4-A14CF475FCC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49867" y="4208717"/>
                <a:ext cx="313125" cy="360000"/>
              </a:xfrm>
              <a:prstGeom prst="rect">
                <a:avLst/>
              </a:prstGeom>
            </p:spPr>
          </p:pic>
        </p:grpSp>
        <p:grpSp>
          <p:nvGrpSpPr>
            <p:cNvPr id="2069" name="Group 2068">
              <a:extLst>
                <a:ext uri="{FF2B5EF4-FFF2-40B4-BE49-F238E27FC236}">
                  <a16:creationId xmlns:a16="http://schemas.microsoft.com/office/drawing/2014/main" id="{62D1B794-9A5A-4BD5-BF98-D4F751817994}"/>
                </a:ext>
              </a:extLst>
            </p:cNvPr>
            <p:cNvGrpSpPr/>
            <p:nvPr/>
          </p:nvGrpSpPr>
          <p:grpSpPr>
            <a:xfrm>
              <a:off x="5575782" y="4916599"/>
              <a:ext cx="1570303" cy="360000"/>
              <a:chOff x="5378138" y="4179766"/>
              <a:chExt cx="1570303" cy="360000"/>
            </a:xfrm>
          </p:grpSpPr>
          <p:pic>
            <p:nvPicPr>
              <p:cNvPr id="29" name="Graphic 28">
                <a:extLst>
                  <a:ext uri="{FF2B5EF4-FFF2-40B4-BE49-F238E27FC236}">
                    <a16:creationId xmlns:a16="http://schemas.microsoft.com/office/drawing/2014/main" id="{7A78BD5A-0E7A-4CE8-B21C-B7D8CAEC1E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78138" y="4179766"/>
                <a:ext cx="360000" cy="360000"/>
              </a:xfrm>
              <a:prstGeom prst="rect">
                <a:avLst/>
              </a:prstGeom>
            </p:spPr>
          </p:pic>
          <p:sp>
            <p:nvSpPr>
              <p:cNvPr id="68" name="TextBox 67">
                <a:extLst>
                  <a:ext uri="{FF2B5EF4-FFF2-40B4-BE49-F238E27FC236}">
                    <a16:creationId xmlns:a16="http://schemas.microsoft.com/office/drawing/2014/main" id="{D83A5F90-DABC-45C6-A5BD-DD16332B37EC}"/>
                  </a:ext>
                </a:extLst>
              </p:cNvPr>
              <p:cNvSpPr txBox="1"/>
              <p:nvPr/>
            </p:nvSpPr>
            <p:spPr>
              <a:xfrm>
                <a:off x="5795862" y="4206117"/>
                <a:ext cx="1152579" cy="332399"/>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QL Datawarehouse</a:t>
                </a:r>
              </a:p>
            </p:txBody>
          </p:sp>
        </p:grpSp>
      </p:grpSp>
      <p:cxnSp>
        <p:nvCxnSpPr>
          <p:cNvPr id="84" name="Straight Arrow Connector 83">
            <a:extLst>
              <a:ext uri="{FF2B5EF4-FFF2-40B4-BE49-F238E27FC236}">
                <a16:creationId xmlns:a16="http://schemas.microsoft.com/office/drawing/2014/main" id="{8420B9F6-867E-4A2C-8F59-7D0BEAF51070}"/>
              </a:ext>
            </a:extLst>
          </p:cNvPr>
          <p:cNvCxnSpPr>
            <a:cxnSpLocks/>
          </p:cNvCxnSpPr>
          <p:nvPr/>
        </p:nvCxnSpPr>
        <p:spPr>
          <a:xfrm>
            <a:off x="5831570" y="2753500"/>
            <a:ext cx="0" cy="1281029"/>
          </a:xfrm>
          <a:prstGeom prst="straightConnector1">
            <a:avLst/>
          </a:prstGeom>
          <a:noFill/>
          <a:ln w="19050" cap="flat" cmpd="sng" algn="ctr">
            <a:solidFill>
              <a:srgbClr val="000000"/>
            </a:solidFill>
            <a:prstDash val="solid"/>
            <a:headEnd type="none" w="lg" len="med"/>
            <a:tailEnd type="triangle" w="med" len="med"/>
          </a:ln>
          <a:effectLst/>
        </p:spPr>
      </p:cxnSp>
      <p:cxnSp>
        <p:nvCxnSpPr>
          <p:cNvPr id="85" name="Straight Arrow Connector 84">
            <a:extLst>
              <a:ext uri="{FF2B5EF4-FFF2-40B4-BE49-F238E27FC236}">
                <a16:creationId xmlns:a16="http://schemas.microsoft.com/office/drawing/2014/main" id="{F5102098-353B-4C88-86B7-9FAA84A7E80A}"/>
              </a:ext>
            </a:extLst>
          </p:cNvPr>
          <p:cNvCxnSpPr>
            <a:cxnSpLocks/>
          </p:cNvCxnSpPr>
          <p:nvPr/>
        </p:nvCxnSpPr>
        <p:spPr>
          <a:xfrm>
            <a:off x="7048963" y="5398798"/>
            <a:ext cx="0" cy="483922"/>
          </a:xfrm>
          <a:prstGeom prst="straightConnector1">
            <a:avLst/>
          </a:prstGeom>
          <a:noFill/>
          <a:ln w="19050" cap="flat" cmpd="sng" algn="ctr">
            <a:solidFill>
              <a:srgbClr val="000000"/>
            </a:solidFill>
            <a:prstDash val="solid"/>
            <a:headEnd type="none" w="lg" len="med"/>
            <a:tailEnd type="triangle" w="med" len="med"/>
          </a:ln>
          <a:effectLst/>
        </p:spPr>
      </p:cxnSp>
      <p:cxnSp>
        <p:nvCxnSpPr>
          <p:cNvPr id="86" name="Straight Arrow Connector 85">
            <a:extLst>
              <a:ext uri="{FF2B5EF4-FFF2-40B4-BE49-F238E27FC236}">
                <a16:creationId xmlns:a16="http://schemas.microsoft.com/office/drawing/2014/main" id="{D9846E3A-2378-4E97-90D9-2DA48D546DD6}"/>
              </a:ext>
            </a:extLst>
          </p:cNvPr>
          <p:cNvCxnSpPr>
            <a:cxnSpLocks/>
          </p:cNvCxnSpPr>
          <p:nvPr/>
        </p:nvCxnSpPr>
        <p:spPr>
          <a:xfrm>
            <a:off x="7521358" y="5375302"/>
            <a:ext cx="0" cy="507419"/>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2" name="Group 91">
            <a:extLst>
              <a:ext uri="{FF2B5EF4-FFF2-40B4-BE49-F238E27FC236}">
                <a16:creationId xmlns:a16="http://schemas.microsoft.com/office/drawing/2014/main" id="{F96AB8BA-5C0C-4FB2-99F7-6EF5F43C2647}"/>
              </a:ext>
            </a:extLst>
          </p:cNvPr>
          <p:cNvGrpSpPr/>
          <p:nvPr/>
        </p:nvGrpSpPr>
        <p:grpSpPr>
          <a:xfrm>
            <a:off x="4356624" y="4091404"/>
            <a:ext cx="906891" cy="1272327"/>
            <a:chOff x="4346472" y="4427642"/>
            <a:chExt cx="906891" cy="1272327"/>
          </a:xfrm>
        </p:grpSpPr>
        <p:sp>
          <p:nvSpPr>
            <p:cNvPr id="87" name="Rectangle 86">
              <a:extLst>
                <a:ext uri="{FF2B5EF4-FFF2-40B4-BE49-F238E27FC236}">
                  <a16:creationId xmlns:a16="http://schemas.microsoft.com/office/drawing/2014/main" id="{C93BDA40-2B2A-42B7-8798-4CC7E1FA647A}"/>
                </a:ext>
              </a:extLst>
            </p:cNvPr>
            <p:cNvSpPr/>
            <p:nvPr/>
          </p:nvSpPr>
          <p:spPr bwMode="auto">
            <a:xfrm>
              <a:off x="4346472" y="4427642"/>
              <a:ext cx="906891"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13" name="Graphic 12">
              <a:extLst>
                <a:ext uri="{FF2B5EF4-FFF2-40B4-BE49-F238E27FC236}">
                  <a16:creationId xmlns:a16="http://schemas.microsoft.com/office/drawing/2014/main" id="{B6EE4014-0BC6-4208-8F16-730663E254A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04869" y="4792328"/>
              <a:ext cx="360000" cy="360000"/>
            </a:xfrm>
            <a:prstGeom prst="rect">
              <a:avLst/>
            </a:prstGeom>
          </p:spPr>
        </p:pic>
        <p:sp>
          <p:nvSpPr>
            <p:cNvPr id="89" name="TextBox 88">
              <a:extLst>
                <a:ext uri="{FF2B5EF4-FFF2-40B4-BE49-F238E27FC236}">
                  <a16:creationId xmlns:a16="http://schemas.microsoft.com/office/drawing/2014/main" id="{D1E29D12-C807-437F-AC78-383EEE5CA250}"/>
                </a:ext>
              </a:extLst>
            </p:cNvPr>
            <p:cNvSpPr txBox="1"/>
            <p:nvPr/>
          </p:nvSpPr>
          <p:spPr>
            <a:xfrm>
              <a:off x="4522733" y="5251656"/>
              <a:ext cx="524271" cy="332399"/>
            </a:xfrm>
            <a:prstGeom prst="rect">
              <a:avLst/>
            </a:prstGeom>
            <a:noFill/>
          </p:spPr>
          <p:txBody>
            <a:bodyPr wrap="square" lIns="0" tIns="0" rIns="0" bIns="0" rtlCol="0">
              <a:spAutoFit/>
            </a:bodyPr>
            <a:lstStyle/>
            <a:p>
              <a:pPr algn="ct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QL</a:t>
              </a:r>
            </a:p>
          </p:txBody>
        </p:sp>
      </p:grpSp>
      <p:cxnSp>
        <p:nvCxnSpPr>
          <p:cNvPr id="91" name="Straight Arrow Connector 90">
            <a:extLst>
              <a:ext uri="{FF2B5EF4-FFF2-40B4-BE49-F238E27FC236}">
                <a16:creationId xmlns:a16="http://schemas.microsoft.com/office/drawing/2014/main" id="{2E7AE7E5-DEA3-4EF8-9075-5F49F793A41D}"/>
              </a:ext>
            </a:extLst>
          </p:cNvPr>
          <p:cNvCxnSpPr>
            <a:cxnSpLocks/>
          </p:cNvCxnSpPr>
          <p:nvPr/>
        </p:nvCxnSpPr>
        <p:spPr>
          <a:xfrm>
            <a:off x="4696106" y="2753500"/>
            <a:ext cx="0" cy="1335113"/>
          </a:xfrm>
          <a:prstGeom prst="straightConnector1">
            <a:avLst/>
          </a:prstGeom>
          <a:noFill/>
          <a:ln w="19050" cap="flat" cmpd="sng" algn="ctr">
            <a:solidFill>
              <a:srgbClr val="000000"/>
            </a:solidFill>
            <a:prstDash val="solid"/>
            <a:headEnd type="none" w="lg" len="med"/>
            <a:tailEnd type="triangle" w="med" len="med"/>
          </a:ln>
          <a:effectLst/>
        </p:spPr>
      </p:cxnSp>
      <p:cxnSp>
        <p:nvCxnSpPr>
          <p:cNvPr id="2053" name="Straight Arrow Connector 2052">
            <a:extLst>
              <a:ext uri="{FF2B5EF4-FFF2-40B4-BE49-F238E27FC236}">
                <a16:creationId xmlns:a16="http://schemas.microsoft.com/office/drawing/2014/main" id="{49553682-7F22-421A-82E4-92A710564538}"/>
              </a:ext>
            </a:extLst>
          </p:cNvPr>
          <p:cNvCxnSpPr/>
          <p:nvPr/>
        </p:nvCxnSpPr>
        <p:spPr>
          <a:xfrm flipH="1">
            <a:off x="8942800" y="4236265"/>
            <a:ext cx="576567" cy="0"/>
          </a:xfrm>
          <a:prstGeom prst="straightConnector1">
            <a:avLst/>
          </a:prstGeom>
          <a:noFill/>
          <a:ln w="19050" cap="flat" cmpd="sng" algn="ctr">
            <a:solidFill>
              <a:srgbClr val="000000"/>
            </a:solidFill>
            <a:prstDash val="solid"/>
            <a:headEnd type="none" w="lg" len="med"/>
            <a:tailEnd type="triangle" w="med" len="med"/>
          </a:ln>
          <a:effectLst/>
        </p:spPr>
      </p:cxnSp>
      <p:cxnSp>
        <p:nvCxnSpPr>
          <p:cNvPr id="111" name="Straight Arrow Connector 110">
            <a:extLst>
              <a:ext uri="{FF2B5EF4-FFF2-40B4-BE49-F238E27FC236}">
                <a16:creationId xmlns:a16="http://schemas.microsoft.com/office/drawing/2014/main" id="{BDE5A235-E5BA-4014-9748-ACA9B679D902}"/>
              </a:ext>
            </a:extLst>
          </p:cNvPr>
          <p:cNvCxnSpPr>
            <a:cxnSpLocks/>
          </p:cNvCxnSpPr>
          <p:nvPr/>
        </p:nvCxnSpPr>
        <p:spPr>
          <a:xfrm>
            <a:off x="4966457" y="3860026"/>
            <a:ext cx="0" cy="228587"/>
          </a:xfrm>
          <a:prstGeom prst="straightConnector1">
            <a:avLst/>
          </a:prstGeom>
          <a:noFill/>
          <a:ln w="19050" cap="flat" cmpd="sng" algn="ctr">
            <a:solidFill>
              <a:srgbClr val="000000"/>
            </a:solidFill>
            <a:prstDash val="solid"/>
            <a:headEnd type="none" w="lg" len="med"/>
            <a:tailEnd type="triangle" w="med" len="med"/>
          </a:ln>
          <a:effectLst/>
        </p:spPr>
      </p:cxnSp>
      <p:cxnSp>
        <p:nvCxnSpPr>
          <p:cNvPr id="2061" name="Straight Connector 2060">
            <a:extLst>
              <a:ext uri="{FF2B5EF4-FFF2-40B4-BE49-F238E27FC236}">
                <a16:creationId xmlns:a16="http://schemas.microsoft.com/office/drawing/2014/main" id="{1AD6DD68-D4F3-4C80-BC92-2C38DE9AC9AE}"/>
              </a:ext>
            </a:extLst>
          </p:cNvPr>
          <p:cNvCxnSpPr>
            <a:cxnSpLocks/>
          </p:cNvCxnSpPr>
          <p:nvPr/>
        </p:nvCxnSpPr>
        <p:spPr>
          <a:xfrm>
            <a:off x="4975021" y="3864788"/>
            <a:ext cx="4552909" cy="0"/>
          </a:xfrm>
          <a:prstGeom prst="line">
            <a:avLst/>
          </a:prstGeom>
          <a:noFill/>
          <a:ln w="19050" cap="flat" cmpd="sng" algn="ctr">
            <a:solidFill>
              <a:srgbClr val="000000"/>
            </a:solidFill>
            <a:prstDash val="solid"/>
            <a:headEnd type="none" w="med" len="med"/>
            <a:tailEnd type="none" w="med" len="med"/>
          </a:ln>
          <a:effectLst/>
        </p:spPr>
      </p:cxnSp>
      <p:cxnSp>
        <p:nvCxnSpPr>
          <p:cNvPr id="123" name="Straight Arrow Connector 122">
            <a:extLst>
              <a:ext uri="{FF2B5EF4-FFF2-40B4-BE49-F238E27FC236}">
                <a16:creationId xmlns:a16="http://schemas.microsoft.com/office/drawing/2014/main" id="{21236C44-E393-48C3-B012-17DCB4E595C8}"/>
              </a:ext>
            </a:extLst>
          </p:cNvPr>
          <p:cNvCxnSpPr>
            <a:cxnSpLocks/>
          </p:cNvCxnSpPr>
          <p:nvPr/>
        </p:nvCxnSpPr>
        <p:spPr>
          <a:xfrm flipH="1" flipV="1">
            <a:off x="6003657" y="2463801"/>
            <a:ext cx="3521924" cy="959611"/>
          </a:xfrm>
          <a:prstGeom prst="straightConnector1">
            <a:avLst/>
          </a:prstGeom>
          <a:noFill/>
          <a:ln w="19050" cap="flat" cmpd="sng" algn="ctr">
            <a:solidFill>
              <a:schemeClr val="accent3">
                <a:lumMod val="60000"/>
                <a:lumOff val="40000"/>
              </a:schemeClr>
            </a:solidFill>
            <a:prstDash val="solid"/>
            <a:headEnd type="triangle" w="med" len="med"/>
            <a:tailEnd type="none" w="med" len="med"/>
          </a:ln>
          <a:effectLst/>
        </p:spPr>
      </p:cxnSp>
      <p:sp>
        <p:nvSpPr>
          <p:cNvPr id="57" name="Rectangle 56">
            <a:extLst>
              <a:ext uri="{FF2B5EF4-FFF2-40B4-BE49-F238E27FC236}">
                <a16:creationId xmlns:a16="http://schemas.microsoft.com/office/drawing/2014/main" id="{4E948A42-7075-4281-AB6C-9F32A4F37310}"/>
              </a:ext>
            </a:extLst>
          </p:cNvPr>
          <p:cNvSpPr/>
          <p:nvPr/>
        </p:nvSpPr>
        <p:spPr bwMode="auto">
          <a:xfrm>
            <a:off x="9519366" y="2994612"/>
            <a:ext cx="1841930" cy="149641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51" name="Group 50">
            <a:extLst>
              <a:ext uri="{FF2B5EF4-FFF2-40B4-BE49-F238E27FC236}">
                <a16:creationId xmlns:a16="http://schemas.microsoft.com/office/drawing/2014/main" id="{A4AC3279-830A-4628-931B-931C9B9DD62E}"/>
              </a:ext>
            </a:extLst>
          </p:cNvPr>
          <p:cNvGrpSpPr/>
          <p:nvPr/>
        </p:nvGrpSpPr>
        <p:grpSpPr>
          <a:xfrm>
            <a:off x="9818146" y="3610963"/>
            <a:ext cx="1252935" cy="358250"/>
            <a:chOff x="9730105" y="3501775"/>
            <a:chExt cx="1252935" cy="358250"/>
          </a:xfrm>
        </p:grpSpPr>
        <p:sp>
          <p:nvSpPr>
            <p:cNvPr id="58" name="TextBox 57">
              <a:extLst>
                <a:ext uri="{FF2B5EF4-FFF2-40B4-BE49-F238E27FC236}">
                  <a16:creationId xmlns:a16="http://schemas.microsoft.com/office/drawing/2014/main" id="{CDBA0939-8AA3-4E72-B317-BBE45D1DC071}"/>
                </a:ext>
              </a:extLst>
            </p:cNvPr>
            <p:cNvSpPr txBox="1"/>
            <p:nvPr/>
          </p:nvSpPr>
          <p:spPr>
            <a:xfrm>
              <a:off x="10374997" y="3640359"/>
              <a:ext cx="608043" cy="166156"/>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Power BI</a:t>
              </a:r>
            </a:p>
          </p:txBody>
        </p:sp>
        <p:grpSp>
          <p:nvGrpSpPr>
            <p:cNvPr id="59" name="Group 58">
              <a:extLst>
                <a:ext uri="{FF2B5EF4-FFF2-40B4-BE49-F238E27FC236}">
                  <a16:creationId xmlns:a16="http://schemas.microsoft.com/office/drawing/2014/main" id="{CF0CA3EF-E4AF-48CE-A471-4C831E54EF3F}"/>
                </a:ext>
              </a:extLst>
            </p:cNvPr>
            <p:cNvGrpSpPr/>
            <p:nvPr/>
          </p:nvGrpSpPr>
          <p:grpSpPr>
            <a:xfrm>
              <a:off x="9730105" y="3501775"/>
              <a:ext cx="474506" cy="358250"/>
              <a:chOff x="2851176" y="840527"/>
              <a:chExt cx="3024388" cy="2283410"/>
            </a:xfrm>
          </p:grpSpPr>
          <p:sp>
            <p:nvSpPr>
              <p:cNvPr id="60" name="Freeform: Shape 338">
                <a:extLst>
                  <a:ext uri="{FF2B5EF4-FFF2-40B4-BE49-F238E27FC236}">
                    <a16:creationId xmlns:a16="http://schemas.microsoft.com/office/drawing/2014/main" id="{755D314E-9F9D-47B0-8CC8-7815A6387FB6}"/>
                  </a:ext>
                </a:extLst>
              </p:cNvPr>
              <p:cNvSpPr/>
              <p:nvPr/>
            </p:nvSpPr>
            <p:spPr>
              <a:xfrm>
                <a:off x="2851176" y="840527"/>
                <a:ext cx="3024388" cy="1958289"/>
              </a:xfrm>
              <a:custGeom>
                <a:avLst/>
                <a:gdLst>
                  <a:gd name="connsiteX0" fmla="*/ 61230 w 493108"/>
                  <a:gd name="connsiteY0" fmla="*/ 0 h 319287"/>
                  <a:gd name="connsiteX1" fmla="*/ 431878 w 493108"/>
                  <a:gd name="connsiteY1" fmla="*/ 0 h 319287"/>
                  <a:gd name="connsiteX2" fmla="*/ 493108 w 493108"/>
                  <a:gd name="connsiteY2" fmla="*/ 61230 h 319287"/>
                  <a:gd name="connsiteX3" fmla="*/ 493108 w 493108"/>
                  <a:gd name="connsiteY3" fmla="*/ 258057 h 319287"/>
                  <a:gd name="connsiteX4" fmla="*/ 431878 w 493108"/>
                  <a:gd name="connsiteY4" fmla="*/ 319287 h 319287"/>
                  <a:gd name="connsiteX5" fmla="*/ 425306 w 493108"/>
                  <a:gd name="connsiteY5" fmla="*/ 319287 h 319287"/>
                  <a:gd name="connsiteX6" fmla="*/ 425306 w 493108"/>
                  <a:gd name="connsiteY6" fmla="*/ 298563 h 319287"/>
                  <a:gd name="connsiteX7" fmla="*/ 434307 w 493108"/>
                  <a:gd name="connsiteY7" fmla="*/ 298563 h 319287"/>
                  <a:gd name="connsiteX8" fmla="*/ 474000 w 493108"/>
                  <a:gd name="connsiteY8" fmla="*/ 258870 h 319287"/>
                  <a:gd name="connsiteX9" fmla="*/ 474000 w 493108"/>
                  <a:gd name="connsiteY9" fmla="*/ 59417 h 319287"/>
                  <a:gd name="connsiteX10" fmla="*/ 434307 w 493108"/>
                  <a:gd name="connsiteY10" fmla="*/ 19724 h 319287"/>
                  <a:gd name="connsiteX11" fmla="*/ 60650 w 493108"/>
                  <a:gd name="connsiteY11" fmla="*/ 19724 h 319287"/>
                  <a:gd name="connsiteX12" fmla="*/ 20957 w 493108"/>
                  <a:gd name="connsiteY12" fmla="*/ 59417 h 319287"/>
                  <a:gd name="connsiteX13" fmla="*/ 20957 w 493108"/>
                  <a:gd name="connsiteY13" fmla="*/ 258870 h 319287"/>
                  <a:gd name="connsiteX14" fmla="*/ 60650 w 493108"/>
                  <a:gd name="connsiteY14" fmla="*/ 298563 h 319287"/>
                  <a:gd name="connsiteX15" fmla="*/ 69652 w 493108"/>
                  <a:gd name="connsiteY15" fmla="*/ 298563 h 319287"/>
                  <a:gd name="connsiteX16" fmla="*/ 69652 w 493108"/>
                  <a:gd name="connsiteY16" fmla="*/ 319287 h 319287"/>
                  <a:gd name="connsiteX17" fmla="*/ 61230 w 493108"/>
                  <a:gd name="connsiteY17" fmla="*/ 319287 h 319287"/>
                  <a:gd name="connsiteX18" fmla="*/ 0 w 493108"/>
                  <a:gd name="connsiteY18" fmla="*/ 258057 h 319287"/>
                  <a:gd name="connsiteX19" fmla="*/ 0 w 493108"/>
                  <a:gd name="connsiteY19" fmla="*/ 61230 h 319287"/>
                  <a:gd name="connsiteX20" fmla="*/ 61230 w 493108"/>
                  <a:gd name="connsiteY20" fmla="*/ 0 h 31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3108" h="319287">
                    <a:moveTo>
                      <a:pt x="61230" y="0"/>
                    </a:moveTo>
                    <a:lnTo>
                      <a:pt x="431878" y="0"/>
                    </a:lnTo>
                    <a:cubicBezTo>
                      <a:pt x="465695" y="0"/>
                      <a:pt x="493108" y="27414"/>
                      <a:pt x="493108" y="61230"/>
                    </a:cubicBezTo>
                    <a:lnTo>
                      <a:pt x="493108" y="258057"/>
                    </a:lnTo>
                    <a:cubicBezTo>
                      <a:pt x="493108" y="291874"/>
                      <a:pt x="465695" y="319287"/>
                      <a:pt x="431878" y="319287"/>
                    </a:cubicBezTo>
                    <a:lnTo>
                      <a:pt x="425306" y="319287"/>
                    </a:lnTo>
                    <a:lnTo>
                      <a:pt x="425306" y="298563"/>
                    </a:lnTo>
                    <a:lnTo>
                      <a:pt x="434307" y="298563"/>
                    </a:lnTo>
                    <a:cubicBezTo>
                      <a:pt x="456229" y="298563"/>
                      <a:pt x="474000" y="280792"/>
                      <a:pt x="474000" y="258870"/>
                    </a:cubicBezTo>
                    <a:lnTo>
                      <a:pt x="474000" y="59417"/>
                    </a:lnTo>
                    <a:cubicBezTo>
                      <a:pt x="474000" y="37495"/>
                      <a:pt x="456229" y="19724"/>
                      <a:pt x="434307" y="19724"/>
                    </a:cubicBezTo>
                    <a:lnTo>
                      <a:pt x="60650" y="19724"/>
                    </a:lnTo>
                    <a:cubicBezTo>
                      <a:pt x="38728" y="19724"/>
                      <a:pt x="20957" y="37495"/>
                      <a:pt x="20957" y="59417"/>
                    </a:cubicBezTo>
                    <a:lnTo>
                      <a:pt x="20957" y="258870"/>
                    </a:lnTo>
                    <a:cubicBezTo>
                      <a:pt x="20957" y="280792"/>
                      <a:pt x="38728" y="298563"/>
                      <a:pt x="60650" y="298563"/>
                    </a:cubicBezTo>
                    <a:lnTo>
                      <a:pt x="69652" y="298563"/>
                    </a:lnTo>
                    <a:lnTo>
                      <a:pt x="69652" y="319287"/>
                    </a:lnTo>
                    <a:lnTo>
                      <a:pt x="61230" y="319287"/>
                    </a:lnTo>
                    <a:cubicBezTo>
                      <a:pt x="27414" y="319287"/>
                      <a:pt x="0" y="291874"/>
                      <a:pt x="0" y="258057"/>
                    </a:cubicBezTo>
                    <a:lnTo>
                      <a:pt x="0" y="61230"/>
                    </a:lnTo>
                    <a:cubicBezTo>
                      <a:pt x="0" y="27414"/>
                      <a:pt x="27414" y="0"/>
                      <a:pt x="61230" y="0"/>
                    </a:cubicBezTo>
                    <a:close/>
                  </a:path>
                </a:pathLst>
              </a:custGeom>
              <a:solidFill>
                <a:srgbClr val="0078D7"/>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sp>
            <p:nvSpPr>
              <p:cNvPr id="61" name="Freeform: Shape 339">
                <a:extLst>
                  <a:ext uri="{FF2B5EF4-FFF2-40B4-BE49-F238E27FC236}">
                    <a16:creationId xmlns:a16="http://schemas.microsoft.com/office/drawing/2014/main" id="{37EC31AF-BED1-444B-9403-A3721206BF92}"/>
                  </a:ext>
                </a:extLst>
              </p:cNvPr>
              <p:cNvSpPr/>
              <p:nvPr/>
            </p:nvSpPr>
            <p:spPr>
              <a:xfrm>
                <a:off x="3382432" y="1335590"/>
                <a:ext cx="1959012" cy="1788347"/>
              </a:xfrm>
              <a:custGeom>
                <a:avLst/>
                <a:gdLst>
                  <a:gd name="connsiteX0" fmla="*/ 169583 w 1959012"/>
                  <a:gd name="connsiteY0" fmla="*/ 1054931 h 1788347"/>
                  <a:gd name="connsiteX1" fmla="*/ 339166 w 1959012"/>
                  <a:gd name="connsiteY1" fmla="*/ 1224514 h 1788347"/>
                  <a:gd name="connsiteX2" fmla="*/ 339166 w 1959012"/>
                  <a:gd name="connsiteY2" fmla="*/ 1618758 h 1788347"/>
                  <a:gd name="connsiteX3" fmla="*/ 169583 w 1959012"/>
                  <a:gd name="connsiteY3" fmla="*/ 1788341 h 1788347"/>
                  <a:gd name="connsiteX4" fmla="*/ 0 w 1959012"/>
                  <a:gd name="connsiteY4" fmla="*/ 1618758 h 1788347"/>
                  <a:gd name="connsiteX5" fmla="*/ 0 w 1959012"/>
                  <a:gd name="connsiteY5" fmla="*/ 1224514 h 1788347"/>
                  <a:gd name="connsiteX6" fmla="*/ 169583 w 1959012"/>
                  <a:gd name="connsiteY6" fmla="*/ 1054931 h 1788347"/>
                  <a:gd name="connsiteX7" fmla="*/ 1255480 w 1959012"/>
                  <a:gd name="connsiteY7" fmla="*/ 692010 h 1788347"/>
                  <a:gd name="connsiteX8" fmla="*/ 1425063 w 1959012"/>
                  <a:gd name="connsiteY8" fmla="*/ 861593 h 1788347"/>
                  <a:gd name="connsiteX9" fmla="*/ 1425063 w 1959012"/>
                  <a:gd name="connsiteY9" fmla="*/ 1618764 h 1788347"/>
                  <a:gd name="connsiteX10" fmla="*/ 1255480 w 1959012"/>
                  <a:gd name="connsiteY10" fmla="*/ 1788347 h 1788347"/>
                  <a:gd name="connsiteX11" fmla="*/ 1085897 w 1959012"/>
                  <a:gd name="connsiteY11" fmla="*/ 1618764 h 1788347"/>
                  <a:gd name="connsiteX12" fmla="*/ 1085897 w 1959012"/>
                  <a:gd name="connsiteY12" fmla="*/ 861593 h 1788347"/>
                  <a:gd name="connsiteX13" fmla="*/ 1255480 w 1959012"/>
                  <a:gd name="connsiteY13" fmla="*/ 692010 h 1788347"/>
                  <a:gd name="connsiteX14" fmla="*/ 712526 w 1959012"/>
                  <a:gd name="connsiteY14" fmla="*/ 438716 h 1788347"/>
                  <a:gd name="connsiteX15" fmla="*/ 882106 w 1959012"/>
                  <a:gd name="connsiteY15" fmla="*/ 608296 h 1788347"/>
                  <a:gd name="connsiteX16" fmla="*/ 882106 w 1959012"/>
                  <a:gd name="connsiteY16" fmla="*/ 1618767 h 1788347"/>
                  <a:gd name="connsiteX17" fmla="*/ 712526 w 1959012"/>
                  <a:gd name="connsiteY17" fmla="*/ 1788347 h 1788347"/>
                  <a:gd name="connsiteX18" fmla="*/ 542946 w 1959012"/>
                  <a:gd name="connsiteY18" fmla="*/ 1618767 h 1788347"/>
                  <a:gd name="connsiteX19" fmla="*/ 542946 w 1959012"/>
                  <a:gd name="connsiteY19" fmla="*/ 608296 h 1788347"/>
                  <a:gd name="connsiteX20" fmla="*/ 712526 w 1959012"/>
                  <a:gd name="connsiteY20" fmla="*/ 438716 h 1788347"/>
                  <a:gd name="connsiteX21" fmla="*/ 1789429 w 1959012"/>
                  <a:gd name="connsiteY21" fmla="*/ 0 h 1788347"/>
                  <a:gd name="connsiteX22" fmla="*/ 1959012 w 1959012"/>
                  <a:gd name="connsiteY22" fmla="*/ 169583 h 1788347"/>
                  <a:gd name="connsiteX23" fmla="*/ 1959012 w 1959012"/>
                  <a:gd name="connsiteY23" fmla="*/ 1618764 h 1788347"/>
                  <a:gd name="connsiteX24" fmla="*/ 1789429 w 1959012"/>
                  <a:gd name="connsiteY24" fmla="*/ 1788347 h 1788347"/>
                  <a:gd name="connsiteX25" fmla="*/ 1619846 w 1959012"/>
                  <a:gd name="connsiteY25" fmla="*/ 1618764 h 1788347"/>
                  <a:gd name="connsiteX26" fmla="*/ 1619846 w 1959012"/>
                  <a:gd name="connsiteY26" fmla="*/ 169583 h 1788347"/>
                  <a:gd name="connsiteX27" fmla="*/ 1789429 w 1959012"/>
                  <a:gd name="connsiteY27" fmla="*/ 0 h 178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9012" h="1788347">
                    <a:moveTo>
                      <a:pt x="169583" y="1054931"/>
                    </a:moveTo>
                    <a:cubicBezTo>
                      <a:pt x="263241" y="1054931"/>
                      <a:pt x="339166" y="1130856"/>
                      <a:pt x="339166" y="1224514"/>
                    </a:cubicBezTo>
                    <a:lnTo>
                      <a:pt x="339166" y="1618758"/>
                    </a:lnTo>
                    <a:cubicBezTo>
                      <a:pt x="339166" y="1712416"/>
                      <a:pt x="263241" y="1788341"/>
                      <a:pt x="169583" y="1788341"/>
                    </a:cubicBezTo>
                    <a:cubicBezTo>
                      <a:pt x="75925" y="1788341"/>
                      <a:pt x="0" y="1712416"/>
                      <a:pt x="0" y="1618758"/>
                    </a:cubicBezTo>
                    <a:lnTo>
                      <a:pt x="0" y="1224514"/>
                    </a:lnTo>
                    <a:cubicBezTo>
                      <a:pt x="0" y="1130856"/>
                      <a:pt x="75925" y="1054931"/>
                      <a:pt x="169583" y="1054931"/>
                    </a:cubicBezTo>
                    <a:close/>
                    <a:moveTo>
                      <a:pt x="1255480" y="692010"/>
                    </a:moveTo>
                    <a:cubicBezTo>
                      <a:pt x="1349138" y="692010"/>
                      <a:pt x="1425063" y="767935"/>
                      <a:pt x="1425063" y="861593"/>
                    </a:cubicBezTo>
                    <a:lnTo>
                      <a:pt x="1425063" y="1618764"/>
                    </a:lnTo>
                    <a:cubicBezTo>
                      <a:pt x="1425063" y="1712422"/>
                      <a:pt x="1349138" y="1788347"/>
                      <a:pt x="1255480" y="1788347"/>
                    </a:cubicBezTo>
                    <a:cubicBezTo>
                      <a:pt x="1161822" y="1788347"/>
                      <a:pt x="1085897" y="1712422"/>
                      <a:pt x="1085897" y="1618764"/>
                    </a:cubicBezTo>
                    <a:lnTo>
                      <a:pt x="1085897" y="861593"/>
                    </a:lnTo>
                    <a:cubicBezTo>
                      <a:pt x="1085897" y="767935"/>
                      <a:pt x="1161822" y="692010"/>
                      <a:pt x="1255480" y="692010"/>
                    </a:cubicBezTo>
                    <a:close/>
                    <a:moveTo>
                      <a:pt x="712526" y="438716"/>
                    </a:moveTo>
                    <a:cubicBezTo>
                      <a:pt x="806182" y="438716"/>
                      <a:pt x="882106" y="514640"/>
                      <a:pt x="882106" y="608296"/>
                    </a:cubicBezTo>
                    <a:lnTo>
                      <a:pt x="882106" y="1618767"/>
                    </a:lnTo>
                    <a:cubicBezTo>
                      <a:pt x="882106" y="1712423"/>
                      <a:pt x="806182" y="1788347"/>
                      <a:pt x="712526" y="1788347"/>
                    </a:cubicBezTo>
                    <a:cubicBezTo>
                      <a:pt x="618870" y="1788347"/>
                      <a:pt x="542946" y="1712423"/>
                      <a:pt x="542946" y="1618767"/>
                    </a:cubicBezTo>
                    <a:lnTo>
                      <a:pt x="542946" y="608296"/>
                    </a:lnTo>
                    <a:cubicBezTo>
                      <a:pt x="542946" y="514640"/>
                      <a:pt x="618870" y="438716"/>
                      <a:pt x="712526" y="438716"/>
                    </a:cubicBezTo>
                    <a:close/>
                    <a:moveTo>
                      <a:pt x="1789429" y="0"/>
                    </a:moveTo>
                    <a:cubicBezTo>
                      <a:pt x="1883087" y="0"/>
                      <a:pt x="1959012" y="75925"/>
                      <a:pt x="1959012" y="169583"/>
                    </a:cubicBezTo>
                    <a:lnTo>
                      <a:pt x="1959012" y="1618764"/>
                    </a:lnTo>
                    <a:cubicBezTo>
                      <a:pt x="1959012" y="1712422"/>
                      <a:pt x="1883087" y="1788347"/>
                      <a:pt x="1789429" y="1788347"/>
                    </a:cubicBezTo>
                    <a:cubicBezTo>
                      <a:pt x="1695771" y="1788347"/>
                      <a:pt x="1619846" y="1712422"/>
                      <a:pt x="1619846" y="1618764"/>
                    </a:cubicBezTo>
                    <a:lnTo>
                      <a:pt x="1619846" y="169583"/>
                    </a:lnTo>
                    <a:cubicBezTo>
                      <a:pt x="1619846" y="75925"/>
                      <a:pt x="1695771" y="0"/>
                      <a:pt x="1789429" y="0"/>
                    </a:cubicBezTo>
                    <a:close/>
                  </a:path>
                </a:pathLst>
              </a:custGeom>
              <a:solidFill>
                <a:srgbClr val="50E6FF"/>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grpSp>
      </p:grpSp>
      <p:grpSp>
        <p:nvGrpSpPr>
          <p:cNvPr id="49" name="Group 48">
            <a:extLst>
              <a:ext uri="{FF2B5EF4-FFF2-40B4-BE49-F238E27FC236}">
                <a16:creationId xmlns:a16="http://schemas.microsoft.com/office/drawing/2014/main" id="{21769FAF-921F-44FB-893A-FC24C7217E92}"/>
              </a:ext>
            </a:extLst>
          </p:cNvPr>
          <p:cNvGrpSpPr/>
          <p:nvPr/>
        </p:nvGrpSpPr>
        <p:grpSpPr>
          <a:xfrm>
            <a:off x="2490882" y="4089603"/>
            <a:ext cx="1575344" cy="1272327"/>
            <a:chOff x="2489294" y="4089602"/>
            <a:chExt cx="1575344" cy="1272327"/>
          </a:xfrm>
        </p:grpSpPr>
        <p:sp>
          <p:nvSpPr>
            <p:cNvPr id="52" name="Rectangle 51">
              <a:extLst>
                <a:ext uri="{FF2B5EF4-FFF2-40B4-BE49-F238E27FC236}">
                  <a16:creationId xmlns:a16="http://schemas.microsoft.com/office/drawing/2014/main" id="{E5C19CC5-8FB2-41AD-934C-7B040E690DCD}"/>
                </a:ext>
              </a:extLst>
            </p:cNvPr>
            <p:cNvSpPr/>
            <p:nvPr/>
          </p:nvSpPr>
          <p:spPr bwMode="auto">
            <a:xfrm>
              <a:off x="2489294" y="4089602"/>
              <a:ext cx="1575344"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56" name="Graphic 55">
              <a:extLst>
                <a:ext uri="{FF2B5EF4-FFF2-40B4-BE49-F238E27FC236}">
                  <a16:creationId xmlns:a16="http://schemas.microsoft.com/office/drawing/2014/main" id="{BF15B1C5-67FC-4F04-958E-68636EFED09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89519" y="4278408"/>
              <a:ext cx="360000" cy="360000"/>
            </a:xfrm>
            <a:prstGeom prst="rect">
              <a:avLst/>
            </a:prstGeom>
          </p:spPr>
        </p:pic>
        <p:sp>
          <p:nvSpPr>
            <p:cNvPr id="62" name="TextBox 61">
              <a:extLst>
                <a:ext uri="{FF2B5EF4-FFF2-40B4-BE49-F238E27FC236}">
                  <a16:creationId xmlns:a16="http://schemas.microsoft.com/office/drawing/2014/main" id="{3FCAF1D1-7EE5-4AAC-A7DF-26DC43A37148}"/>
                </a:ext>
              </a:extLst>
            </p:cNvPr>
            <p:cNvSpPr txBox="1"/>
            <p:nvPr/>
          </p:nvSpPr>
          <p:spPr>
            <a:xfrm>
              <a:off x="3085966" y="4306009"/>
              <a:ext cx="907398"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Factory</a:t>
              </a:r>
            </a:p>
          </p:txBody>
        </p:sp>
        <p:sp>
          <p:nvSpPr>
            <p:cNvPr id="63" name="TextBox 62">
              <a:extLst>
                <a:ext uri="{FF2B5EF4-FFF2-40B4-BE49-F238E27FC236}">
                  <a16:creationId xmlns:a16="http://schemas.microsoft.com/office/drawing/2014/main" id="{32A24E9F-8AD0-4A9B-809C-D5357B97075C}"/>
                </a:ext>
              </a:extLst>
            </p:cNvPr>
            <p:cNvSpPr txBox="1"/>
            <p:nvPr/>
          </p:nvSpPr>
          <p:spPr>
            <a:xfrm>
              <a:off x="3078768" y="4846326"/>
              <a:ext cx="771498"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Synapse Analytics</a:t>
              </a:r>
            </a:p>
          </p:txBody>
        </p:sp>
        <p:pic>
          <p:nvPicPr>
            <p:cNvPr id="69" name="Graphic 68">
              <a:extLst>
                <a:ext uri="{FF2B5EF4-FFF2-40B4-BE49-F238E27FC236}">
                  <a16:creationId xmlns:a16="http://schemas.microsoft.com/office/drawing/2014/main" id="{10613E7B-5CF6-463E-8EE8-E2EC9E312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18043" y="4840444"/>
              <a:ext cx="313125" cy="360000"/>
            </a:xfrm>
            <a:prstGeom prst="rect">
              <a:avLst/>
            </a:prstGeom>
          </p:spPr>
        </p:pic>
      </p:grpSp>
    </p:spTree>
    <p:extLst>
      <p:ext uri="{BB962C8B-B14F-4D97-AF65-F5344CB8AC3E}">
        <p14:creationId xmlns:p14="http://schemas.microsoft.com/office/powerpoint/2010/main" val="340911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10F707AF-EF2C-4504-86E5-3AB052D4B381}"/>
              </a:ext>
            </a:extLst>
          </p:cNvPr>
          <p:cNvSpPr/>
          <p:nvPr/>
        </p:nvSpPr>
        <p:spPr bwMode="auto">
          <a:xfrm>
            <a:off x="0" y="4408714"/>
            <a:ext cx="12192000" cy="24492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368909" y="685800"/>
            <a:ext cx="10658320" cy="2819400"/>
          </a:xfrm>
        </p:spPr>
        <p:txBody>
          <a:bodyPr/>
          <a:lstStyle/>
          <a:p>
            <a:r>
              <a:rPr lang="en-US" sz="4400" dirty="0">
                <a:gradFill>
                  <a:gsLst>
                    <a:gs pos="0">
                      <a:schemeClr val="accent5"/>
                    </a:gs>
                    <a:gs pos="100000">
                      <a:schemeClr val="accent4"/>
                    </a:gs>
                  </a:gsLst>
                  <a:lin ang="2700000" scaled="1"/>
                </a:gradFill>
              </a:rPr>
              <a:t>Demo: </a:t>
            </a:r>
            <a:r>
              <a:rPr lang="en-US" b="1" dirty="0"/>
              <a:t>Identify anomalies by routing data via IoT Hub to a built-in ML model in Azure Stream Analytics</a:t>
            </a:r>
            <a:br>
              <a:rPr lang="en-US" b="1" dirty="0"/>
            </a:br>
            <a:br>
              <a:rPr lang="en-US" b="1" dirty="0"/>
            </a:br>
            <a:endParaRPr lang="en-US" sz="4400" dirty="0">
              <a:gradFill>
                <a:gsLst>
                  <a:gs pos="0">
                    <a:schemeClr val="accent5"/>
                  </a:gs>
                  <a:gs pos="100000">
                    <a:schemeClr val="accent4"/>
                  </a:gs>
                </a:gsLst>
                <a:lin ang="2700000" scaled="1"/>
              </a:gradFill>
            </a:endParaRPr>
          </a:p>
        </p:txBody>
      </p:sp>
      <p:sp>
        <p:nvSpPr>
          <p:cNvPr id="7" name="TextBox 6">
            <a:extLst>
              <a:ext uri="{FF2B5EF4-FFF2-40B4-BE49-F238E27FC236}">
                <a16:creationId xmlns:a16="http://schemas.microsoft.com/office/drawing/2014/main" id="{775DE0B0-6887-40B4-943C-B6AB84AE4554}"/>
              </a:ext>
            </a:extLst>
          </p:cNvPr>
          <p:cNvSpPr txBox="1"/>
          <p:nvPr/>
        </p:nvSpPr>
        <p:spPr>
          <a:xfrm>
            <a:off x="168728" y="2707154"/>
            <a:ext cx="11228615" cy="1938992"/>
          </a:xfrm>
          <a:prstGeom prst="rect">
            <a:avLst/>
          </a:prstGeom>
          <a:noFill/>
        </p:spPr>
        <p:txBody>
          <a:bodyPr wrap="square">
            <a:spAutoFit/>
          </a:bodyPr>
          <a:lstStyle/>
          <a:p>
            <a:pPr marL="342900" indent="-342900">
              <a:buFont typeface="+mj-lt"/>
              <a:buAutoNum type="arabicPeriod"/>
            </a:pPr>
            <a:r>
              <a:rPr lang="en-US" sz="1400" dirty="0"/>
              <a:t>Create an Azure IoT Hub, using the Azure portal</a:t>
            </a:r>
          </a:p>
          <a:p>
            <a:pPr marL="342900" indent="-342900">
              <a:buFont typeface="+mj-lt"/>
              <a:buAutoNum type="arabicPeriod"/>
            </a:pPr>
            <a:r>
              <a:rPr lang="en-US" sz="1400" dirty="0"/>
              <a:t>Create an Azure IoT Hub device identity, using the Azure portal</a:t>
            </a:r>
          </a:p>
          <a:p>
            <a:pPr marL="342900" indent="-342900">
              <a:buFont typeface="+mj-lt"/>
              <a:buAutoNum type="arabicPeriod"/>
            </a:pPr>
            <a:r>
              <a:rPr lang="en-US" sz="1400" dirty="0"/>
              <a:t>Create a C# app to send device telemetry to the IoT Hub, using Visual Studio or Visual Studio code</a:t>
            </a:r>
          </a:p>
          <a:p>
            <a:pPr marL="342900" indent="-342900">
              <a:buFont typeface="+mj-lt"/>
              <a:buAutoNum type="arabicPeriod"/>
            </a:pPr>
            <a:r>
              <a:rPr lang="en-US" sz="1400" dirty="0"/>
              <a:t>Create a message route, through to storage, using the Azure portal</a:t>
            </a:r>
          </a:p>
          <a:p>
            <a:pPr marL="342900" indent="-342900">
              <a:buFont typeface="+mj-lt"/>
              <a:buAutoNum type="arabicPeriod"/>
            </a:pPr>
            <a:r>
              <a:rPr lang="en-US" sz="1400" dirty="0"/>
              <a:t>Create a second message route, through to an Azure Analytics job, using the Azure portal</a:t>
            </a:r>
          </a:p>
          <a:p>
            <a:pPr marL="342900" indent="-342900">
              <a:buFont typeface="+mj-lt"/>
              <a:buAutoNum type="arabicPeriod"/>
            </a:pPr>
            <a:r>
              <a:rPr lang="en-US" sz="1400" dirty="0"/>
              <a:t>Create a dashboard to visualize data anomalies, using Power BI</a:t>
            </a:r>
            <a:br>
              <a:rPr lang="en-US" dirty="0"/>
            </a:br>
            <a:br>
              <a:rPr lang="en-US" b="1" dirty="0"/>
            </a:br>
            <a:endParaRPr lang="en-US" dirty="0"/>
          </a:p>
        </p:txBody>
      </p:sp>
      <p:grpSp>
        <p:nvGrpSpPr>
          <p:cNvPr id="8" name="Group 7">
            <a:extLst>
              <a:ext uri="{FF2B5EF4-FFF2-40B4-BE49-F238E27FC236}">
                <a16:creationId xmlns:a16="http://schemas.microsoft.com/office/drawing/2014/main" id="{96803F30-114E-401B-9A85-ADCE0E225652}"/>
              </a:ext>
            </a:extLst>
          </p:cNvPr>
          <p:cNvGrpSpPr/>
          <p:nvPr/>
        </p:nvGrpSpPr>
        <p:grpSpPr>
          <a:xfrm>
            <a:off x="801466" y="5156008"/>
            <a:ext cx="1760581" cy="720000"/>
            <a:chOff x="3750310" y="2963895"/>
            <a:chExt cx="1760581" cy="720000"/>
          </a:xfrm>
        </p:grpSpPr>
        <p:sp>
          <p:nvSpPr>
            <p:cNvPr id="9" name="TextBox 8">
              <a:extLst>
                <a:ext uri="{FF2B5EF4-FFF2-40B4-BE49-F238E27FC236}">
                  <a16:creationId xmlns:a16="http://schemas.microsoft.com/office/drawing/2014/main" id="{99495DE2-85C6-48A0-8CE0-3014E42CFEDC}"/>
                </a:ext>
              </a:extLst>
            </p:cNvPr>
            <p:cNvSpPr txBox="1"/>
            <p:nvPr/>
          </p:nvSpPr>
          <p:spPr>
            <a:xfrm>
              <a:off x="4632938" y="3157739"/>
              <a:ext cx="877953" cy="332312"/>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IoT Hub</a:t>
              </a:r>
            </a:p>
          </p:txBody>
        </p:sp>
        <p:pic>
          <p:nvPicPr>
            <p:cNvPr id="10" name="Graphic 9">
              <a:extLst>
                <a:ext uri="{FF2B5EF4-FFF2-40B4-BE49-F238E27FC236}">
                  <a16:creationId xmlns:a16="http://schemas.microsoft.com/office/drawing/2014/main" id="{A5BFE4F8-038D-42E7-8404-9E175A88EE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50310" y="2963895"/>
              <a:ext cx="720000" cy="720000"/>
            </a:xfrm>
            <a:prstGeom prst="rect">
              <a:avLst/>
            </a:prstGeom>
          </p:spPr>
        </p:pic>
      </p:grpSp>
      <p:sp>
        <p:nvSpPr>
          <p:cNvPr id="11" name="Rectangle 10">
            <a:extLst>
              <a:ext uri="{FF2B5EF4-FFF2-40B4-BE49-F238E27FC236}">
                <a16:creationId xmlns:a16="http://schemas.microsoft.com/office/drawing/2014/main" id="{22F60611-5491-4FED-9C47-8878DDC8A2FD}"/>
              </a:ext>
            </a:extLst>
          </p:cNvPr>
          <p:cNvSpPr/>
          <p:nvPr/>
        </p:nvSpPr>
        <p:spPr bwMode="auto">
          <a:xfrm>
            <a:off x="3745994" y="4877702"/>
            <a:ext cx="3108256" cy="1286689"/>
          </a:xfrm>
          <a:prstGeom prst="rect">
            <a:avLst/>
          </a:prstGeom>
          <a:solidFill>
            <a:schemeClr val="tx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cxnSp>
        <p:nvCxnSpPr>
          <p:cNvPr id="12" name="Straight Arrow Connector 11">
            <a:extLst>
              <a:ext uri="{FF2B5EF4-FFF2-40B4-BE49-F238E27FC236}">
                <a16:creationId xmlns:a16="http://schemas.microsoft.com/office/drawing/2014/main" id="{4CCF4D85-29F4-426C-915F-15A4CBAF8D19}"/>
              </a:ext>
            </a:extLst>
          </p:cNvPr>
          <p:cNvCxnSpPr>
            <a:cxnSpLocks/>
          </p:cNvCxnSpPr>
          <p:nvPr/>
        </p:nvCxnSpPr>
        <p:spPr>
          <a:xfrm>
            <a:off x="2562046" y="5528251"/>
            <a:ext cx="1183948" cy="0"/>
          </a:xfrm>
          <a:prstGeom prst="straightConnector1">
            <a:avLst/>
          </a:prstGeom>
          <a:noFill/>
          <a:ln w="19050" cap="flat" cmpd="sng" algn="ctr">
            <a:solidFill>
              <a:srgbClr val="000000"/>
            </a:solidFill>
            <a:prstDash val="solid"/>
            <a:headEnd type="none" w="lg" len="med"/>
            <a:tailEnd type="triangle" w="med" len="med"/>
          </a:ln>
          <a:effectLst/>
        </p:spPr>
      </p:cxnSp>
      <p:grpSp>
        <p:nvGrpSpPr>
          <p:cNvPr id="13" name="Group 12">
            <a:extLst>
              <a:ext uri="{FF2B5EF4-FFF2-40B4-BE49-F238E27FC236}">
                <a16:creationId xmlns:a16="http://schemas.microsoft.com/office/drawing/2014/main" id="{B1F29144-C12E-4FF6-BEFB-9850EAEC115D}"/>
              </a:ext>
            </a:extLst>
          </p:cNvPr>
          <p:cNvGrpSpPr/>
          <p:nvPr/>
        </p:nvGrpSpPr>
        <p:grpSpPr>
          <a:xfrm>
            <a:off x="4219368" y="5339762"/>
            <a:ext cx="2112254" cy="360000"/>
            <a:chOff x="4910405" y="3132520"/>
            <a:chExt cx="2112254" cy="360000"/>
          </a:xfrm>
        </p:grpSpPr>
        <p:pic>
          <p:nvPicPr>
            <p:cNvPr id="14" name="Graphic 13">
              <a:extLst>
                <a:ext uri="{FF2B5EF4-FFF2-40B4-BE49-F238E27FC236}">
                  <a16:creationId xmlns:a16="http://schemas.microsoft.com/office/drawing/2014/main" id="{4AEC17DD-2474-4F10-A6D4-041C0BEF6D7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0405" y="3132520"/>
              <a:ext cx="360000" cy="360000"/>
            </a:xfrm>
            <a:prstGeom prst="rect">
              <a:avLst/>
            </a:prstGeom>
          </p:spPr>
        </p:pic>
        <p:sp>
          <p:nvSpPr>
            <p:cNvPr id="15" name="TextBox 14">
              <a:extLst>
                <a:ext uri="{FF2B5EF4-FFF2-40B4-BE49-F238E27FC236}">
                  <a16:creationId xmlns:a16="http://schemas.microsoft.com/office/drawing/2014/main" id="{D86E3BB3-F378-435C-B5CA-C98C12E718B8}"/>
                </a:ext>
              </a:extLst>
            </p:cNvPr>
            <p:cNvSpPr txBox="1"/>
            <p:nvPr/>
          </p:nvSpPr>
          <p:spPr>
            <a:xfrm>
              <a:off x="5435055" y="3142567"/>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tream Analytics</a:t>
              </a:r>
            </a:p>
          </p:txBody>
        </p:sp>
      </p:grpSp>
      <p:sp>
        <p:nvSpPr>
          <p:cNvPr id="26" name="Rectangle 25">
            <a:extLst>
              <a:ext uri="{FF2B5EF4-FFF2-40B4-BE49-F238E27FC236}">
                <a16:creationId xmlns:a16="http://schemas.microsoft.com/office/drawing/2014/main" id="{52986168-9360-496D-8089-92A8435AD4E1}"/>
              </a:ext>
            </a:extLst>
          </p:cNvPr>
          <p:cNvSpPr/>
          <p:nvPr/>
        </p:nvSpPr>
        <p:spPr bwMode="auto">
          <a:xfrm>
            <a:off x="8385750" y="4778344"/>
            <a:ext cx="1841930" cy="1496419"/>
          </a:xfrm>
          <a:prstGeom prst="rect">
            <a:avLst/>
          </a:prstGeom>
          <a:solidFill>
            <a:schemeClr val="tx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7" name="Group 26">
            <a:extLst>
              <a:ext uri="{FF2B5EF4-FFF2-40B4-BE49-F238E27FC236}">
                <a16:creationId xmlns:a16="http://schemas.microsoft.com/office/drawing/2014/main" id="{B8A43E3E-3E70-4222-91A4-BDD793600528}"/>
              </a:ext>
            </a:extLst>
          </p:cNvPr>
          <p:cNvGrpSpPr/>
          <p:nvPr/>
        </p:nvGrpSpPr>
        <p:grpSpPr>
          <a:xfrm>
            <a:off x="8684530" y="5394695"/>
            <a:ext cx="1252935" cy="358250"/>
            <a:chOff x="9730105" y="3501775"/>
            <a:chExt cx="1252935" cy="358250"/>
          </a:xfrm>
        </p:grpSpPr>
        <p:sp>
          <p:nvSpPr>
            <p:cNvPr id="28" name="TextBox 27">
              <a:extLst>
                <a:ext uri="{FF2B5EF4-FFF2-40B4-BE49-F238E27FC236}">
                  <a16:creationId xmlns:a16="http://schemas.microsoft.com/office/drawing/2014/main" id="{F7153A82-0E01-49C9-8CA1-95FBD9308BAB}"/>
                </a:ext>
              </a:extLst>
            </p:cNvPr>
            <p:cNvSpPr txBox="1"/>
            <p:nvPr/>
          </p:nvSpPr>
          <p:spPr>
            <a:xfrm>
              <a:off x="10374997" y="3640359"/>
              <a:ext cx="608043" cy="166156"/>
            </a:xfrm>
            <a:prstGeom prst="rect">
              <a:avLst/>
            </a:prstGeom>
            <a:noFill/>
            <a:ln>
              <a:noFill/>
            </a:ln>
          </p:spPr>
          <p:txBody>
            <a:bodyPr wrap="square" lIns="0" tIns="0" rIns="0" bIns="0" rtlCol="0">
              <a:spAutoFit/>
            </a:bodyPr>
            <a:lstStyle/>
            <a:p>
              <a:pPr defTabSz="914093">
                <a:lnSpc>
                  <a:spcPct val="90000"/>
                </a:lnSpc>
                <a:defRPr/>
              </a:pPr>
              <a:r>
                <a:rPr lang="en-US" sz="1200" dirty="0">
                  <a:solidFill>
                    <a:srgbClr val="000000"/>
                  </a:solidFill>
                  <a:latin typeface="Segoe UI Semibold"/>
                  <a:sym typeface="Segoe UI Semibold"/>
                </a:rPr>
                <a:t>Power BI</a:t>
              </a:r>
            </a:p>
          </p:txBody>
        </p:sp>
        <p:grpSp>
          <p:nvGrpSpPr>
            <p:cNvPr id="29" name="Group 28">
              <a:extLst>
                <a:ext uri="{FF2B5EF4-FFF2-40B4-BE49-F238E27FC236}">
                  <a16:creationId xmlns:a16="http://schemas.microsoft.com/office/drawing/2014/main" id="{A3F2E71F-16CC-458C-AECA-D9AAA736B260}"/>
                </a:ext>
              </a:extLst>
            </p:cNvPr>
            <p:cNvGrpSpPr/>
            <p:nvPr/>
          </p:nvGrpSpPr>
          <p:grpSpPr>
            <a:xfrm>
              <a:off x="9730105" y="3501775"/>
              <a:ext cx="474506" cy="358250"/>
              <a:chOff x="2851176" y="840527"/>
              <a:chExt cx="3024388" cy="2283410"/>
            </a:xfrm>
          </p:grpSpPr>
          <p:sp>
            <p:nvSpPr>
              <p:cNvPr id="30" name="Freeform: Shape 338">
                <a:extLst>
                  <a:ext uri="{FF2B5EF4-FFF2-40B4-BE49-F238E27FC236}">
                    <a16:creationId xmlns:a16="http://schemas.microsoft.com/office/drawing/2014/main" id="{F10F714E-AAAC-4F5E-A117-C9722BE235DC}"/>
                  </a:ext>
                </a:extLst>
              </p:cNvPr>
              <p:cNvSpPr/>
              <p:nvPr/>
            </p:nvSpPr>
            <p:spPr>
              <a:xfrm>
                <a:off x="2851176" y="840527"/>
                <a:ext cx="3024388" cy="1958289"/>
              </a:xfrm>
              <a:custGeom>
                <a:avLst/>
                <a:gdLst>
                  <a:gd name="connsiteX0" fmla="*/ 61230 w 493108"/>
                  <a:gd name="connsiteY0" fmla="*/ 0 h 319287"/>
                  <a:gd name="connsiteX1" fmla="*/ 431878 w 493108"/>
                  <a:gd name="connsiteY1" fmla="*/ 0 h 319287"/>
                  <a:gd name="connsiteX2" fmla="*/ 493108 w 493108"/>
                  <a:gd name="connsiteY2" fmla="*/ 61230 h 319287"/>
                  <a:gd name="connsiteX3" fmla="*/ 493108 w 493108"/>
                  <a:gd name="connsiteY3" fmla="*/ 258057 h 319287"/>
                  <a:gd name="connsiteX4" fmla="*/ 431878 w 493108"/>
                  <a:gd name="connsiteY4" fmla="*/ 319287 h 319287"/>
                  <a:gd name="connsiteX5" fmla="*/ 425306 w 493108"/>
                  <a:gd name="connsiteY5" fmla="*/ 319287 h 319287"/>
                  <a:gd name="connsiteX6" fmla="*/ 425306 w 493108"/>
                  <a:gd name="connsiteY6" fmla="*/ 298563 h 319287"/>
                  <a:gd name="connsiteX7" fmla="*/ 434307 w 493108"/>
                  <a:gd name="connsiteY7" fmla="*/ 298563 h 319287"/>
                  <a:gd name="connsiteX8" fmla="*/ 474000 w 493108"/>
                  <a:gd name="connsiteY8" fmla="*/ 258870 h 319287"/>
                  <a:gd name="connsiteX9" fmla="*/ 474000 w 493108"/>
                  <a:gd name="connsiteY9" fmla="*/ 59417 h 319287"/>
                  <a:gd name="connsiteX10" fmla="*/ 434307 w 493108"/>
                  <a:gd name="connsiteY10" fmla="*/ 19724 h 319287"/>
                  <a:gd name="connsiteX11" fmla="*/ 60650 w 493108"/>
                  <a:gd name="connsiteY11" fmla="*/ 19724 h 319287"/>
                  <a:gd name="connsiteX12" fmla="*/ 20957 w 493108"/>
                  <a:gd name="connsiteY12" fmla="*/ 59417 h 319287"/>
                  <a:gd name="connsiteX13" fmla="*/ 20957 w 493108"/>
                  <a:gd name="connsiteY13" fmla="*/ 258870 h 319287"/>
                  <a:gd name="connsiteX14" fmla="*/ 60650 w 493108"/>
                  <a:gd name="connsiteY14" fmla="*/ 298563 h 319287"/>
                  <a:gd name="connsiteX15" fmla="*/ 69652 w 493108"/>
                  <a:gd name="connsiteY15" fmla="*/ 298563 h 319287"/>
                  <a:gd name="connsiteX16" fmla="*/ 69652 w 493108"/>
                  <a:gd name="connsiteY16" fmla="*/ 319287 h 319287"/>
                  <a:gd name="connsiteX17" fmla="*/ 61230 w 493108"/>
                  <a:gd name="connsiteY17" fmla="*/ 319287 h 319287"/>
                  <a:gd name="connsiteX18" fmla="*/ 0 w 493108"/>
                  <a:gd name="connsiteY18" fmla="*/ 258057 h 319287"/>
                  <a:gd name="connsiteX19" fmla="*/ 0 w 493108"/>
                  <a:gd name="connsiteY19" fmla="*/ 61230 h 319287"/>
                  <a:gd name="connsiteX20" fmla="*/ 61230 w 493108"/>
                  <a:gd name="connsiteY20" fmla="*/ 0 h 31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3108" h="319287">
                    <a:moveTo>
                      <a:pt x="61230" y="0"/>
                    </a:moveTo>
                    <a:lnTo>
                      <a:pt x="431878" y="0"/>
                    </a:lnTo>
                    <a:cubicBezTo>
                      <a:pt x="465695" y="0"/>
                      <a:pt x="493108" y="27414"/>
                      <a:pt x="493108" y="61230"/>
                    </a:cubicBezTo>
                    <a:lnTo>
                      <a:pt x="493108" y="258057"/>
                    </a:lnTo>
                    <a:cubicBezTo>
                      <a:pt x="493108" y="291874"/>
                      <a:pt x="465695" y="319287"/>
                      <a:pt x="431878" y="319287"/>
                    </a:cubicBezTo>
                    <a:lnTo>
                      <a:pt x="425306" y="319287"/>
                    </a:lnTo>
                    <a:lnTo>
                      <a:pt x="425306" y="298563"/>
                    </a:lnTo>
                    <a:lnTo>
                      <a:pt x="434307" y="298563"/>
                    </a:lnTo>
                    <a:cubicBezTo>
                      <a:pt x="456229" y="298563"/>
                      <a:pt x="474000" y="280792"/>
                      <a:pt x="474000" y="258870"/>
                    </a:cubicBezTo>
                    <a:lnTo>
                      <a:pt x="474000" y="59417"/>
                    </a:lnTo>
                    <a:cubicBezTo>
                      <a:pt x="474000" y="37495"/>
                      <a:pt x="456229" y="19724"/>
                      <a:pt x="434307" y="19724"/>
                    </a:cubicBezTo>
                    <a:lnTo>
                      <a:pt x="60650" y="19724"/>
                    </a:lnTo>
                    <a:cubicBezTo>
                      <a:pt x="38728" y="19724"/>
                      <a:pt x="20957" y="37495"/>
                      <a:pt x="20957" y="59417"/>
                    </a:cubicBezTo>
                    <a:lnTo>
                      <a:pt x="20957" y="258870"/>
                    </a:lnTo>
                    <a:cubicBezTo>
                      <a:pt x="20957" y="280792"/>
                      <a:pt x="38728" y="298563"/>
                      <a:pt x="60650" y="298563"/>
                    </a:cubicBezTo>
                    <a:lnTo>
                      <a:pt x="69652" y="298563"/>
                    </a:lnTo>
                    <a:lnTo>
                      <a:pt x="69652" y="319287"/>
                    </a:lnTo>
                    <a:lnTo>
                      <a:pt x="61230" y="319287"/>
                    </a:lnTo>
                    <a:cubicBezTo>
                      <a:pt x="27414" y="319287"/>
                      <a:pt x="0" y="291874"/>
                      <a:pt x="0" y="258057"/>
                    </a:cubicBezTo>
                    <a:lnTo>
                      <a:pt x="0" y="61230"/>
                    </a:lnTo>
                    <a:cubicBezTo>
                      <a:pt x="0" y="27414"/>
                      <a:pt x="27414" y="0"/>
                      <a:pt x="61230" y="0"/>
                    </a:cubicBezTo>
                    <a:close/>
                  </a:path>
                </a:pathLst>
              </a:custGeom>
              <a:solidFill>
                <a:srgbClr val="0078D7"/>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sp>
            <p:nvSpPr>
              <p:cNvPr id="31" name="Freeform: Shape 339">
                <a:extLst>
                  <a:ext uri="{FF2B5EF4-FFF2-40B4-BE49-F238E27FC236}">
                    <a16:creationId xmlns:a16="http://schemas.microsoft.com/office/drawing/2014/main" id="{A702E057-7C83-4F9A-A649-10FB9A49E9A4}"/>
                  </a:ext>
                </a:extLst>
              </p:cNvPr>
              <p:cNvSpPr/>
              <p:nvPr/>
            </p:nvSpPr>
            <p:spPr>
              <a:xfrm>
                <a:off x="3382432" y="1335590"/>
                <a:ext cx="1959012" cy="1788347"/>
              </a:xfrm>
              <a:custGeom>
                <a:avLst/>
                <a:gdLst>
                  <a:gd name="connsiteX0" fmla="*/ 169583 w 1959012"/>
                  <a:gd name="connsiteY0" fmla="*/ 1054931 h 1788347"/>
                  <a:gd name="connsiteX1" fmla="*/ 339166 w 1959012"/>
                  <a:gd name="connsiteY1" fmla="*/ 1224514 h 1788347"/>
                  <a:gd name="connsiteX2" fmla="*/ 339166 w 1959012"/>
                  <a:gd name="connsiteY2" fmla="*/ 1618758 h 1788347"/>
                  <a:gd name="connsiteX3" fmla="*/ 169583 w 1959012"/>
                  <a:gd name="connsiteY3" fmla="*/ 1788341 h 1788347"/>
                  <a:gd name="connsiteX4" fmla="*/ 0 w 1959012"/>
                  <a:gd name="connsiteY4" fmla="*/ 1618758 h 1788347"/>
                  <a:gd name="connsiteX5" fmla="*/ 0 w 1959012"/>
                  <a:gd name="connsiteY5" fmla="*/ 1224514 h 1788347"/>
                  <a:gd name="connsiteX6" fmla="*/ 169583 w 1959012"/>
                  <a:gd name="connsiteY6" fmla="*/ 1054931 h 1788347"/>
                  <a:gd name="connsiteX7" fmla="*/ 1255480 w 1959012"/>
                  <a:gd name="connsiteY7" fmla="*/ 692010 h 1788347"/>
                  <a:gd name="connsiteX8" fmla="*/ 1425063 w 1959012"/>
                  <a:gd name="connsiteY8" fmla="*/ 861593 h 1788347"/>
                  <a:gd name="connsiteX9" fmla="*/ 1425063 w 1959012"/>
                  <a:gd name="connsiteY9" fmla="*/ 1618764 h 1788347"/>
                  <a:gd name="connsiteX10" fmla="*/ 1255480 w 1959012"/>
                  <a:gd name="connsiteY10" fmla="*/ 1788347 h 1788347"/>
                  <a:gd name="connsiteX11" fmla="*/ 1085897 w 1959012"/>
                  <a:gd name="connsiteY11" fmla="*/ 1618764 h 1788347"/>
                  <a:gd name="connsiteX12" fmla="*/ 1085897 w 1959012"/>
                  <a:gd name="connsiteY12" fmla="*/ 861593 h 1788347"/>
                  <a:gd name="connsiteX13" fmla="*/ 1255480 w 1959012"/>
                  <a:gd name="connsiteY13" fmla="*/ 692010 h 1788347"/>
                  <a:gd name="connsiteX14" fmla="*/ 712526 w 1959012"/>
                  <a:gd name="connsiteY14" fmla="*/ 438716 h 1788347"/>
                  <a:gd name="connsiteX15" fmla="*/ 882106 w 1959012"/>
                  <a:gd name="connsiteY15" fmla="*/ 608296 h 1788347"/>
                  <a:gd name="connsiteX16" fmla="*/ 882106 w 1959012"/>
                  <a:gd name="connsiteY16" fmla="*/ 1618767 h 1788347"/>
                  <a:gd name="connsiteX17" fmla="*/ 712526 w 1959012"/>
                  <a:gd name="connsiteY17" fmla="*/ 1788347 h 1788347"/>
                  <a:gd name="connsiteX18" fmla="*/ 542946 w 1959012"/>
                  <a:gd name="connsiteY18" fmla="*/ 1618767 h 1788347"/>
                  <a:gd name="connsiteX19" fmla="*/ 542946 w 1959012"/>
                  <a:gd name="connsiteY19" fmla="*/ 608296 h 1788347"/>
                  <a:gd name="connsiteX20" fmla="*/ 712526 w 1959012"/>
                  <a:gd name="connsiteY20" fmla="*/ 438716 h 1788347"/>
                  <a:gd name="connsiteX21" fmla="*/ 1789429 w 1959012"/>
                  <a:gd name="connsiteY21" fmla="*/ 0 h 1788347"/>
                  <a:gd name="connsiteX22" fmla="*/ 1959012 w 1959012"/>
                  <a:gd name="connsiteY22" fmla="*/ 169583 h 1788347"/>
                  <a:gd name="connsiteX23" fmla="*/ 1959012 w 1959012"/>
                  <a:gd name="connsiteY23" fmla="*/ 1618764 h 1788347"/>
                  <a:gd name="connsiteX24" fmla="*/ 1789429 w 1959012"/>
                  <a:gd name="connsiteY24" fmla="*/ 1788347 h 1788347"/>
                  <a:gd name="connsiteX25" fmla="*/ 1619846 w 1959012"/>
                  <a:gd name="connsiteY25" fmla="*/ 1618764 h 1788347"/>
                  <a:gd name="connsiteX26" fmla="*/ 1619846 w 1959012"/>
                  <a:gd name="connsiteY26" fmla="*/ 169583 h 1788347"/>
                  <a:gd name="connsiteX27" fmla="*/ 1789429 w 1959012"/>
                  <a:gd name="connsiteY27" fmla="*/ 0 h 178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9012" h="1788347">
                    <a:moveTo>
                      <a:pt x="169583" y="1054931"/>
                    </a:moveTo>
                    <a:cubicBezTo>
                      <a:pt x="263241" y="1054931"/>
                      <a:pt x="339166" y="1130856"/>
                      <a:pt x="339166" y="1224514"/>
                    </a:cubicBezTo>
                    <a:lnTo>
                      <a:pt x="339166" y="1618758"/>
                    </a:lnTo>
                    <a:cubicBezTo>
                      <a:pt x="339166" y="1712416"/>
                      <a:pt x="263241" y="1788341"/>
                      <a:pt x="169583" y="1788341"/>
                    </a:cubicBezTo>
                    <a:cubicBezTo>
                      <a:pt x="75925" y="1788341"/>
                      <a:pt x="0" y="1712416"/>
                      <a:pt x="0" y="1618758"/>
                    </a:cubicBezTo>
                    <a:lnTo>
                      <a:pt x="0" y="1224514"/>
                    </a:lnTo>
                    <a:cubicBezTo>
                      <a:pt x="0" y="1130856"/>
                      <a:pt x="75925" y="1054931"/>
                      <a:pt x="169583" y="1054931"/>
                    </a:cubicBezTo>
                    <a:close/>
                    <a:moveTo>
                      <a:pt x="1255480" y="692010"/>
                    </a:moveTo>
                    <a:cubicBezTo>
                      <a:pt x="1349138" y="692010"/>
                      <a:pt x="1425063" y="767935"/>
                      <a:pt x="1425063" y="861593"/>
                    </a:cubicBezTo>
                    <a:lnTo>
                      <a:pt x="1425063" y="1618764"/>
                    </a:lnTo>
                    <a:cubicBezTo>
                      <a:pt x="1425063" y="1712422"/>
                      <a:pt x="1349138" y="1788347"/>
                      <a:pt x="1255480" y="1788347"/>
                    </a:cubicBezTo>
                    <a:cubicBezTo>
                      <a:pt x="1161822" y="1788347"/>
                      <a:pt x="1085897" y="1712422"/>
                      <a:pt x="1085897" y="1618764"/>
                    </a:cubicBezTo>
                    <a:lnTo>
                      <a:pt x="1085897" y="861593"/>
                    </a:lnTo>
                    <a:cubicBezTo>
                      <a:pt x="1085897" y="767935"/>
                      <a:pt x="1161822" y="692010"/>
                      <a:pt x="1255480" y="692010"/>
                    </a:cubicBezTo>
                    <a:close/>
                    <a:moveTo>
                      <a:pt x="712526" y="438716"/>
                    </a:moveTo>
                    <a:cubicBezTo>
                      <a:pt x="806182" y="438716"/>
                      <a:pt x="882106" y="514640"/>
                      <a:pt x="882106" y="608296"/>
                    </a:cubicBezTo>
                    <a:lnTo>
                      <a:pt x="882106" y="1618767"/>
                    </a:lnTo>
                    <a:cubicBezTo>
                      <a:pt x="882106" y="1712423"/>
                      <a:pt x="806182" y="1788347"/>
                      <a:pt x="712526" y="1788347"/>
                    </a:cubicBezTo>
                    <a:cubicBezTo>
                      <a:pt x="618870" y="1788347"/>
                      <a:pt x="542946" y="1712423"/>
                      <a:pt x="542946" y="1618767"/>
                    </a:cubicBezTo>
                    <a:lnTo>
                      <a:pt x="542946" y="608296"/>
                    </a:lnTo>
                    <a:cubicBezTo>
                      <a:pt x="542946" y="514640"/>
                      <a:pt x="618870" y="438716"/>
                      <a:pt x="712526" y="438716"/>
                    </a:cubicBezTo>
                    <a:close/>
                    <a:moveTo>
                      <a:pt x="1789429" y="0"/>
                    </a:moveTo>
                    <a:cubicBezTo>
                      <a:pt x="1883087" y="0"/>
                      <a:pt x="1959012" y="75925"/>
                      <a:pt x="1959012" y="169583"/>
                    </a:cubicBezTo>
                    <a:lnTo>
                      <a:pt x="1959012" y="1618764"/>
                    </a:lnTo>
                    <a:cubicBezTo>
                      <a:pt x="1959012" y="1712422"/>
                      <a:pt x="1883087" y="1788347"/>
                      <a:pt x="1789429" y="1788347"/>
                    </a:cubicBezTo>
                    <a:cubicBezTo>
                      <a:pt x="1695771" y="1788347"/>
                      <a:pt x="1619846" y="1712422"/>
                      <a:pt x="1619846" y="1618764"/>
                    </a:cubicBezTo>
                    <a:lnTo>
                      <a:pt x="1619846" y="169583"/>
                    </a:lnTo>
                    <a:cubicBezTo>
                      <a:pt x="1619846" y="75925"/>
                      <a:pt x="1695771" y="0"/>
                      <a:pt x="1789429" y="0"/>
                    </a:cubicBezTo>
                    <a:close/>
                  </a:path>
                </a:pathLst>
              </a:custGeom>
              <a:solidFill>
                <a:srgbClr val="50E6FF"/>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grpSp>
      </p:grpSp>
      <p:cxnSp>
        <p:nvCxnSpPr>
          <p:cNvPr id="6" name="Straight Arrow Connector 5">
            <a:extLst>
              <a:ext uri="{FF2B5EF4-FFF2-40B4-BE49-F238E27FC236}">
                <a16:creationId xmlns:a16="http://schemas.microsoft.com/office/drawing/2014/main" id="{FA821363-BE3F-4424-A4C7-AC8BC92D7AA1}"/>
              </a:ext>
            </a:extLst>
          </p:cNvPr>
          <p:cNvCxnSpPr>
            <a:cxnSpLocks/>
          </p:cNvCxnSpPr>
          <p:nvPr/>
        </p:nvCxnSpPr>
        <p:spPr>
          <a:xfrm>
            <a:off x="6970760" y="5528251"/>
            <a:ext cx="1073783" cy="0"/>
          </a:xfrm>
          <a:prstGeom prst="straightConnector1">
            <a:avLst/>
          </a:prstGeom>
          <a:noFill/>
          <a:ln w="19050" cap="flat" cmpd="sng" algn="ctr">
            <a:solidFill>
              <a:srgbClr val="000000"/>
            </a:solidFill>
            <a:prstDash val="solid"/>
            <a:headEnd type="none" w="lg" len="med"/>
            <a:tailEnd type="triangle" w="med" len="med"/>
          </a:ln>
          <a:effectLst/>
        </p:spPr>
      </p:cxnSp>
    </p:spTree>
    <p:extLst>
      <p:ext uri="{BB962C8B-B14F-4D97-AF65-F5344CB8AC3E}">
        <p14:creationId xmlns:p14="http://schemas.microsoft.com/office/powerpoint/2010/main" val="1176857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2.29167E-6 4.44444E-6 L 2.29167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3154507"/>
            <a:ext cx="9339516" cy="548985"/>
          </a:xfrm>
        </p:spPr>
        <p:txBody>
          <a:bodyPr/>
          <a:lstStyle/>
          <a:p>
            <a:r>
              <a:rPr lang="en-US" sz="4400" dirty="0">
                <a:gradFill>
                  <a:gsLst>
                    <a:gs pos="0">
                      <a:schemeClr val="accent5"/>
                    </a:gs>
                    <a:gs pos="100000">
                      <a:schemeClr val="accent4"/>
                    </a:gs>
                  </a:gsLst>
                  <a:lin ang="2700000" scaled="1"/>
                </a:gradFill>
              </a:rPr>
              <a:t>Realtime actions with Logic App</a:t>
            </a:r>
          </a:p>
        </p:txBody>
      </p:sp>
    </p:spTree>
    <p:extLst>
      <p:ext uri="{BB962C8B-B14F-4D97-AF65-F5344CB8AC3E}">
        <p14:creationId xmlns:p14="http://schemas.microsoft.com/office/powerpoint/2010/main" val="3756915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2.5E-6 0 L -2.5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553E51F-762F-486F-A331-043298F3D038}"/>
              </a:ext>
            </a:extLst>
          </p:cNvPr>
          <p:cNvPicPr>
            <a:picLocks noChangeAspect="1"/>
          </p:cNvPicPr>
          <p:nvPr/>
        </p:nvPicPr>
        <p:blipFill>
          <a:blip r:embed="rId3"/>
          <a:stretch>
            <a:fillRect/>
          </a:stretch>
        </p:blipFill>
        <p:spPr>
          <a:xfrm>
            <a:off x="585437" y="1914954"/>
            <a:ext cx="6175850" cy="3306808"/>
          </a:xfrm>
          <a:prstGeom prst="rect">
            <a:avLst/>
          </a:prstGeom>
          <a:ln>
            <a:solidFill>
              <a:schemeClr val="bg2"/>
            </a:solidFill>
          </a:ln>
        </p:spPr>
      </p:pic>
      <p:sp>
        <p:nvSpPr>
          <p:cNvPr id="2" name="Title 1">
            <a:extLst>
              <a:ext uri="{FF2B5EF4-FFF2-40B4-BE49-F238E27FC236}">
                <a16:creationId xmlns:a16="http://schemas.microsoft.com/office/drawing/2014/main" id="{912621F7-19CD-6B4A-8900-FB4BCB77EC8A}"/>
              </a:ext>
            </a:extLst>
          </p:cNvPr>
          <p:cNvSpPr>
            <a:spLocks noGrp="1"/>
          </p:cNvSpPr>
          <p:nvPr>
            <p:ph type="title"/>
          </p:nvPr>
        </p:nvSpPr>
        <p:spPr/>
        <p:txBody>
          <a:bodyPr/>
          <a:lstStyle/>
          <a:p>
            <a:r>
              <a:rPr lang="en-US"/>
              <a:t>IoT empowers immediate action</a:t>
            </a:r>
          </a:p>
        </p:txBody>
      </p:sp>
      <p:pic>
        <p:nvPicPr>
          <p:cNvPr id="14" name="Picture 13">
            <a:extLst>
              <a:ext uri="{FF2B5EF4-FFF2-40B4-BE49-F238E27FC236}">
                <a16:creationId xmlns:a16="http://schemas.microsoft.com/office/drawing/2014/main" id="{F754D189-1508-4C68-8CEE-5F044C4D74F7}"/>
              </a:ext>
            </a:extLst>
          </p:cNvPr>
          <p:cNvPicPr>
            <a:picLocks noChangeAspect="1"/>
          </p:cNvPicPr>
          <p:nvPr/>
        </p:nvPicPr>
        <p:blipFill>
          <a:blip r:embed="rId4"/>
          <a:stretch>
            <a:fillRect/>
          </a:stretch>
        </p:blipFill>
        <p:spPr>
          <a:xfrm>
            <a:off x="4463932" y="1499414"/>
            <a:ext cx="7562029" cy="4142743"/>
          </a:xfrm>
          <a:prstGeom prst="rect">
            <a:avLst/>
          </a:prstGeom>
        </p:spPr>
      </p:pic>
    </p:spTree>
    <p:extLst>
      <p:ext uri="{BB962C8B-B14F-4D97-AF65-F5344CB8AC3E}">
        <p14:creationId xmlns:p14="http://schemas.microsoft.com/office/powerpoint/2010/main" val="4753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21F7-19CD-6B4A-8900-FB4BCB77EC8A}"/>
              </a:ext>
            </a:extLst>
          </p:cNvPr>
          <p:cNvSpPr>
            <a:spLocks noGrp="1"/>
          </p:cNvSpPr>
          <p:nvPr>
            <p:ph type="title" idx="4294967295"/>
          </p:nvPr>
        </p:nvSpPr>
        <p:spPr>
          <a:xfrm>
            <a:off x="433357" y="192924"/>
            <a:ext cx="11023600" cy="430213"/>
          </a:xfrm>
        </p:spPr>
        <p:txBody>
          <a:bodyPr/>
          <a:lstStyle/>
          <a:p>
            <a:r>
              <a:rPr lang="en-US" dirty="0"/>
              <a:t>Using IoT as an operational Data Source</a:t>
            </a:r>
          </a:p>
        </p:txBody>
      </p:sp>
      <p:sp>
        <p:nvSpPr>
          <p:cNvPr id="50" name="Rectangle 49">
            <a:extLst>
              <a:ext uri="{FF2B5EF4-FFF2-40B4-BE49-F238E27FC236}">
                <a16:creationId xmlns:a16="http://schemas.microsoft.com/office/drawing/2014/main" id="{908E8CE3-58BA-479A-96E7-A5E5823D85DA}"/>
              </a:ext>
            </a:extLst>
          </p:cNvPr>
          <p:cNvSpPr/>
          <p:nvPr/>
        </p:nvSpPr>
        <p:spPr bwMode="auto">
          <a:xfrm>
            <a:off x="688094" y="1468438"/>
            <a:ext cx="1430084" cy="3529351"/>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12" name="Group 11">
            <a:extLst>
              <a:ext uri="{FF2B5EF4-FFF2-40B4-BE49-F238E27FC236}">
                <a16:creationId xmlns:a16="http://schemas.microsoft.com/office/drawing/2014/main" id="{591E005E-A937-42D5-BD02-53B35F544AFC}"/>
              </a:ext>
            </a:extLst>
          </p:cNvPr>
          <p:cNvGrpSpPr/>
          <p:nvPr/>
        </p:nvGrpSpPr>
        <p:grpSpPr>
          <a:xfrm>
            <a:off x="843491" y="2888789"/>
            <a:ext cx="1459797" cy="360000"/>
            <a:chOff x="4051094" y="3143895"/>
            <a:chExt cx="1459797" cy="360000"/>
          </a:xfrm>
        </p:grpSpPr>
        <p:sp>
          <p:nvSpPr>
            <p:cNvPr id="53" name="TextBox 52">
              <a:extLst>
                <a:ext uri="{FF2B5EF4-FFF2-40B4-BE49-F238E27FC236}">
                  <a16:creationId xmlns:a16="http://schemas.microsoft.com/office/drawing/2014/main" id="{0E30BD84-8BF0-4944-88C0-C34DAE64AD03}"/>
                </a:ext>
              </a:extLst>
            </p:cNvPr>
            <p:cNvSpPr txBox="1"/>
            <p:nvPr/>
          </p:nvSpPr>
          <p:spPr>
            <a:xfrm>
              <a:off x="4632938" y="3157739"/>
              <a:ext cx="877953" cy="332312"/>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IoT Hub</a:t>
              </a:r>
            </a:p>
          </p:txBody>
        </p:sp>
        <p:pic>
          <p:nvPicPr>
            <p:cNvPr id="54" name="Graphic 53">
              <a:extLst>
                <a:ext uri="{FF2B5EF4-FFF2-40B4-BE49-F238E27FC236}">
                  <a16:creationId xmlns:a16="http://schemas.microsoft.com/office/drawing/2014/main" id="{0B5D69B3-9DA5-42A7-A352-E348B834EA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1094" y="3143895"/>
              <a:ext cx="360000" cy="360000"/>
            </a:xfrm>
            <a:prstGeom prst="rect">
              <a:avLst/>
            </a:prstGeom>
          </p:spPr>
        </p:pic>
      </p:grpSp>
      <p:sp>
        <p:nvSpPr>
          <p:cNvPr id="62" name="Rectangle 61">
            <a:extLst>
              <a:ext uri="{FF2B5EF4-FFF2-40B4-BE49-F238E27FC236}">
                <a16:creationId xmlns:a16="http://schemas.microsoft.com/office/drawing/2014/main" id="{0AC160C8-D4B2-4EC7-A14A-BBFE16394F29}"/>
              </a:ext>
            </a:extLst>
          </p:cNvPr>
          <p:cNvSpPr/>
          <p:nvPr/>
        </p:nvSpPr>
        <p:spPr bwMode="auto">
          <a:xfrm>
            <a:off x="9519366" y="1653058"/>
            <a:ext cx="1841930" cy="1060428"/>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52" name="Group 51">
            <a:extLst>
              <a:ext uri="{FF2B5EF4-FFF2-40B4-BE49-F238E27FC236}">
                <a16:creationId xmlns:a16="http://schemas.microsoft.com/office/drawing/2014/main" id="{D853985D-7CDB-45B5-B002-36FE52C4BD9D}"/>
              </a:ext>
            </a:extLst>
          </p:cNvPr>
          <p:cNvGrpSpPr/>
          <p:nvPr/>
        </p:nvGrpSpPr>
        <p:grpSpPr>
          <a:xfrm>
            <a:off x="9819103" y="1988591"/>
            <a:ext cx="1242459" cy="360000"/>
            <a:chOff x="9902123" y="1988591"/>
            <a:chExt cx="1242459" cy="360000"/>
          </a:xfrm>
        </p:grpSpPr>
        <p:sp>
          <p:nvSpPr>
            <p:cNvPr id="63" name="TextBox 62">
              <a:extLst>
                <a:ext uri="{FF2B5EF4-FFF2-40B4-BE49-F238E27FC236}">
                  <a16:creationId xmlns:a16="http://schemas.microsoft.com/office/drawing/2014/main" id="{A743F278-6B81-41D3-85A1-0782B7F99DAC}"/>
                </a:ext>
              </a:extLst>
            </p:cNvPr>
            <p:cNvSpPr txBox="1"/>
            <p:nvPr/>
          </p:nvSpPr>
          <p:spPr>
            <a:xfrm>
              <a:off x="10536539" y="2117360"/>
              <a:ext cx="608043" cy="166156"/>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Teams</a:t>
              </a:r>
            </a:p>
          </p:txBody>
        </p:sp>
        <p:pic>
          <p:nvPicPr>
            <p:cNvPr id="27" name="Picture 2" descr="Afficher l’image source">
              <a:extLst>
                <a:ext uri="{FF2B5EF4-FFF2-40B4-BE49-F238E27FC236}">
                  <a16:creationId xmlns:a16="http://schemas.microsoft.com/office/drawing/2014/main" id="{CCE219AC-2501-4419-86D3-4A0A0C76CAC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02123" y="1988591"/>
              <a:ext cx="360000" cy="360000"/>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Rectangle 64">
            <a:extLst>
              <a:ext uri="{FF2B5EF4-FFF2-40B4-BE49-F238E27FC236}">
                <a16:creationId xmlns:a16="http://schemas.microsoft.com/office/drawing/2014/main" id="{9DFC749E-EDE3-4735-8DB5-98C9D73CB2F5}"/>
              </a:ext>
            </a:extLst>
          </p:cNvPr>
          <p:cNvSpPr/>
          <p:nvPr/>
        </p:nvSpPr>
        <p:spPr bwMode="auto">
          <a:xfrm>
            <a:off x="2886838" y="1466811"/>
            <a:ext cx="3108256"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28" name="Graphic 27">
            <a:extLst>
              <a:ext uri="{FF2B5EF4-FFF2-40B4-BE49-F238E27FC236}">
                <a16:creationId xmlns:a16="http://schemas.microsoft.com/office/drawing/2014/main" id="{58D08A55-172F-4321-B76E-5FF84B9ECF0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0212" y="1928871"/>
            <a:ext cx="360000" cy="360000"/>
          </a:xfrm>
          <a:prstGeom prst="rect">
            <a:avLst/>
          </a:prstGeom>
        </p:spPr>
      </p:pic>
      <p:sp>
        <p:nvSpPr>
          <p:cNvPr id="69" name="Rectangle 68">
            <a:extLst>
              <a:ext uri="{FF2B5EF4-FFF2-40B4-BE49-F238E27FC236}">
                <a16:creationId xmlns:a16="http://schemas.microsoft.com/office/drawing/2014/main" id="{DF385D95-BC04-42BC-A6B2-DB69687A130E}"/>
              </a:ext>
            </a:extLst>
          </p:cNvPr>
          <p:cNvSpPr/>
          <p:nvPr/>
        </p:nvSpPr>
        <p:spPr bwMode="auto">
          <a:xfrm>
            <a:off x="9519366" y="296712"/>
            <a:ext cx="1841930" cy="1010743"/>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49" name="Group 48">
            <a:extLst>
              <a:ext uri="{FF2B5EF4-FFF2-40B4-BE49-F238E27FC236}">
                <a16:creationId xmlns:a16="http://schemas.microsoft.com/office/drawing/2014/main" id="{8D9DD90E-D3E5-452A-A6C2-5985319E0E96}"/>
              </a:ext>
            </a:extLst>
          </p:cNvPr>
          <p:cNvGrpSpPr/>
          <p:nvPr/>
        </p:nvGrpSpPr>
        <p:grpSpPr>
          <a:xfrm>
            <a:off x="9809642" y="653904"/>
            <a:ext cx="1261378" cy="371176"/>
            <a:chOff x="9809144" y="653904"/>
            <a:chExt cx="1261378" cy="371176"/>
          </a:xfrm>
        </p:grpSpPr>
        <p:sp>
          <p:nvSpPr>
            <p:cNvPr id="70" name="TextBox 69">
              <a:extLst>
                <a:ext uri="{FF2B5EF4-FFF2-40B4-BE49-F238E27FC236}">
                  <a16:creationId xmlns:a16="http://schemas.microsoft.com/office/drawing/2014/main" id="{0104E137-30D3-4D40-819B-566D0CAAF136}"/>
                </a:ext>
              </a:extLst>
            </p:cNvPr>
            <p:cNvSpPr txBox="1"/>
            <p:nvPr/>
          </p:nvSpPr>
          <p:spPr>
            <a:xfrm>
              <a:off x="10387856" y="692768"/>
              <a:ext cx="682666" cy="332312"/>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Business services</a:t>
              </a:r>
            </a:p>
          </p:txBody>
        </p:sp>
        <p:grpSp>
          <p:nvGrpSpPr>
            <p:cNvPr id="71" name="Group 70">
              <a:extLst>
                <a:ext uri="{FF2B5EF4-FFF2-40B4-BE49-F238E27FC236}">
                  <a16:creationId xmlns:a16="http://schemas.microsoft.com/office/drawing/2014/main" id="{72937D55-903A-4C79-B80C-10B5E2D54216}"/>
                </a:ext>
              </a:extLst>
            </p:cNvPr>
            <p:cNvGrpSpPr/>
            <p:nvPr/>
          </p:nvGrpSpPr>
          <p:grpSpPr>
            <a:xfrm>
              <a:off x="9809144" y="653904"/>
              <a:ext cx="427872" cy="363981"/>
              <a:chOff x="265316" y="5131089"/>
              <a:chExt cx="793593" cy="675092"/>
            </a:xfrm>
          </p:grpSpPr>
          <p:grpSp>
            <p:nvGrpSpPr>
              <p:cNvPr id="72" name="Group 71">
                <a:extLst>
                  <a:ext uri="{FF2B5EF4-FFF2-40B4-BE49-F238E27FC236}">
                    <a16:creationId xmlns:a16="http://schemas.microsoft.com/office/drawing/2014/main" id="{DBE8FD0A-2208-41DE-BB90-46F76E440EE8}"/>
                  </a:ext>
                </a:extLst>
              </p:cNvPr>
              <p:cNvGrpSpPr/>
              <p:nvPr/>
            </p:nvGrpSpPr>
            <p:grpSpPr>
              <a:xfrm>
                <a:off x="265316" y="5131089"/>
                <a:ext cx="793593" cy="675092"/>
                <a:chOff x="2107244" y="1575258"/>
                <a:chExt cx="310993" cy="264555"/>
              </a:xfrm>
            </p:grpSpPr>
            <p:sp>
              <p:nvSpPr>
                <p:cNvPr id="78" name="Rectangle 9">
                  <a:extLst>
                    <a:ext uri="{FF2B5EF4-FFF2-40B4-BE49-F238E27FC236}">
                      <a16:creationId xmlns:a16="http://schemas.microsoft.com/office/drawing/2014/main" id="{ED0185CF-75F6-4AD2-831D-41C9572A8225}"/>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grpSp>
              <p:nvGrpSpPr>
                <p:cNvPr id="79" name="Group 78">
                  <a:extLst>
                    <a:ext uri="{FF2B5EF4-FFF2-40B4-BE49-F238E27FC236}">
                      <a16:creationId xmlns:a16="http://schemas.microsoft.com/office/drawing/2014/main" id="{25D74247-B316-4204-8663-4140A9C8BE23}"/>
                    </a:ext>
                  </a:extLst>
                </p:cNvPr>
                <p:cNvGrpSpPr/>
                <p:nvPr/>
              </p:nvGrpSpPr>
              <p:grpSpPr>
                <a:xfrm>
                  <a:off x="2219774" y="1683758"/>
                  <a:ext cx="104220" cy="99334"/>
                  <a:chOff x="2219774" y="1683758"/>
                  <a:chExt cx="104220" cy="99334"/>
                </a:xfrm>
              </p:grpSpPr>
              <p:sp>
                <p:nvSpPr>
                  <p:cNvPr id="80" name="Freeform 14">
                    <a:extLst>
                      <a:ext uri="{FF2B5EF4-FFF2-40B4-BE49-F238E27FC236}">
                        <a16:creationId xmlns:a16="http://schemas.microsoft.com/office/drawing/2014/main" id="{10F36D5E-BBBA-492D-BC43-71501DBA459D}"/>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sp>
                <p:nvSpPr>
                  <p:cNvPr id="81" name="Line 15">
                    <a:extLst>
                      <a:ext uri="{FF2B5EF4-FFF2-40B4-BE49-F238E27FC236}">
                        <a16:creationId xmlns:a16="http://schemas.microsoft.com/office/drawing/2014/main" id="{5E3ACB78-C336-4253-A1BD-E8EDD8162DC1}"/>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grpSp>
          </p:grpSp>
          <p:sp>
            <p:nvSpPr>
              <p:cNvPr id="73" name="Rectangle 72">
                <a:extLst>
                  <a:ext uri="{FF2B5EF4-FFF2-40B4-BE49-F238E27FC236}">
                    <a16:creationId xmlns:a16="http://schemas.microsoft.com/office/drawing/2014/main" id="{8560E36F-314D-44AB-B88E-93E971E97927}"/>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Segoe UI"/>
                  <a:ea typeface="Segoe UI" pitchFamily="34" charset="0"/>
                  <a:cs typeface="Segoe UI" pitchFamily="34" charset="0"/>
                  <a:sym typeface="Segoe UI Semibold"/>
                </a:endParaRPr>
              </a:p>
            </p:txBody>
          </p:sp>
          <p:grpSp>
            <p:nvGrpSpPr>
              <p:cNvPr id="74" name="Group 73">
                <a:extLst>
                  <a:ext uri="{FF2B5EF4-FFF2-40B4-BE49-F238E27FC236}">
                    <a16:creationId xmlns:a16="http://schemas.microsoft.com/office/drawing/2014/main" id="{3168D619-9736-47B4-A33C-212E1213A3F3}"/>
                  </a:ext>
                </a:extLst>
              </p:cNvPr>
              <p:cNvGrpSpPr/>
              <p:nvPr/>
            </p:nvGrpSpPr>
            <p:grpSpPr>
              <a:xfrm>
                <a:off x="750755" y="5171384"/>
                <a:ext cx="242719" cy="60681"/>
                <a:chOff x="722201" y="5189927"/>
                <a:chExt cx="242719" cy="60681"/>
              </a:xfrm>
            </p:grpSpPr>
            <p:sp>
              <p:nvSpPr>
                <p:cNvPr id="75" name="Oval 11">
                  <a:extLst>
                    <a:ext uri="{FF2B5EF4-FFF2-40B4-BE49-F238E27FC236}">
                      <a16:creationId xmlns:a16="http://schemas.microsoft.com/office/drawing/2014/main" id="{A4C086C1-CD2B-49FD-8BD8-9607EB66E4F2}"/>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sp>
              <p:nvSpPr>
                <p:cNvPr id="76" name="Oval 12">
                  <a:extLst>
                    <a:ext uri="{FF2B5EF4-FFF2-40B4-BE49-F238E27FC236}">
                      <a16:creationId xmlns:a16="http://schemas.microsoft.com/office/drawing/2014/main" id="{5BCF4DAA-2567-4AB2-A90A-DFC736FBA6CF}"/>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sp>
              <p:nvSpPr>
                <p:cNvPr id="77" name="Oval 13">
                  <a:extLst>
                    <a:ext uri="{FF2B5EF4-FFF2-40B4-BE49-F238E27FC236}">
                      <a16:creationId xmlns:a16="http://schemas.microsoft.com/office/drawing/2014/main" id="{1F4ABDFE-13BC-4581-8015-256981F5B45A}"/>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16" tIns="45708" rIns="91416" bIns="45708" numCol="1" anchor="t" anchorCtr="0" compatLnSpc="1">
                  <a:prstTxWarp prst="textNoShape">
                    <a:avLst/>
                  </a:prstTxWarp>
                </a:bodyPr>
                <a:lstStyle/>
                <a:p>
                  <a:pPr defTabSz="932462">
                    <a:defRPr/>
                  </a:pPr>
                  <a:endParaRPr lang="en-US" sz="1799" kern="0">
                    <a:solidFill>
                      <a:srgbClr val="3F3F3F"/>
                    </a:solidFill>
                    <a:latin typeface="Segoe UI"/>
                    <a:sym typeface="Segoe UI Semibold"/>
                  </a:endParaRPr>
                </a:p>
              </p:txBody>
            </p:sp>
          </p:grpSp>
        </p:grpSp>
      </p:grpSp>
      <p:sp>
        <p:nvSpPr>
          <p:cNvPr id="82" name="Rectangle 81">
            <a:extLst>
              <a:ext uri="{FF2B5EF4-FFF2-40B4-BE49-F238E27FC236}">
                <a16:creationId xmlns:a16="http://schemas.microsoft.com/office/drawing/2014/main" id="{66B08E33-17BA-49F8-A915-252A71824752}"/>
              </a:ext>
            </a:extLst>
          </p:cNvPr>
          <p:cNvSpPr/>
          <p:nvPr/>
        </p:nvSpPr>
        <p:spPr bwMode="auto">
          <a:xfrm>
            <a:off x="6536735" y="1490434"/>
            <a:ext cx="720000" cy="720000"/>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sp>
        <p:nvSpPr>
          <p:cNvPr id="83" name="Rectangle 82">
            <a:extLst>
              <a:ext uri="{FF2B5EF4-FFF2-40B4-BE49-F238E27FC236}">
                <a16:creationId xmlns:a16="http://schemas.microsoft.com/office/drawing/2014/main" id="{559A000E-F334-46BC-9912-17CBB8A06D8E}"/>
              </a:ext>
            </a:extLst>
          </p:cNvPr>
          <p:cNvSpPr/>
          <p:nvPr/>
        </p:nvSpPr>
        <p:spPr bwMode="auto">
          <a:xfrm>
            <a:off x="7866299" y="1512276"/>
            <a:ext cx="720000" cy="720000"/>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30" name="Graphic 29">
            <a:extLst>
              <a:ext uri="{FF2B5EF4-FFF2-40B4-BE49-F238E27FC236}">
                <a16:creationId xmlns:a16="http://schemas.microsoft.com/office/drawing/2014/main" id="{FB9AB600-0B93-4585-8198-DC7584CD91A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8516" y="1670434"/>
            <a:ext cx="360000" cy="360000"/>
          </a:xfrm>
          <a:prstGeom prst="rect">
            <a:avLst/>
          </a:prstGeom>
        </p:spPr>
      </p:pic>
      <p:pic>
        <p:nvPicPr>
          <p:cNvPr id="31" name="Graphic 30">
            <a:extLst>
              <a:ext uri="{FF2B5EF4-FFF2-40B4-BE49-F238E27FC236}">
                <a16:creationId xmlns:a16="http://schemas.microsoft.com/office/drawing/2014/main" id="{89895D92-D5AE-48D5-9BA4-C0CBAAC527E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55182" y="1692276"/>
            <a:ext cx="360000" cy="360000"/>
          </a:xfrm>
          <a:prstGeom prst="rect">
            <a:avLst/>
          </a:prstGeom>
        </p:spPr>
      </p:pic>
      <p:cxnSp>
        <p:nvCxnSpPr>
          <p:cNvPr id="2048" name="Straight Arrow Connector 2047">
            <a:extLst>
              <a:ext uri="{FF2B5EF4-FFF2-40B4-BE49-F238E27FC236}">
                <a16:creationId xmlns:a16="http://schemas.microsoft.com/office/drawing/2014/main" id="{48FC0D36-3860-47C4-888F-562A99353B64}"/>
              </a:ext>
            </a:extLst>
          </p:cNvPr>
          <p:cNvCxnSpPr>
            <a:cxnSpLocks/>
          </p:cNvCxnSpPr>
          <p:nvPr/>
        </p:nvCxnSpPr>
        <p:spPr>
          <a:xfrm>
            <a:off x="1547052" y="4997788"/>
            <a:ext cx="0" cy="876068"/>
          </a:xfrm>
          <a:prstGeom prst="straightConnector1">
            <a:avLst/>
          </a:prstGeom>
          <a:noFill/>
          <a:ln w="19050" cap="flat" cmpd="sng" algn="ctr">
            <a:solidFill>
              <a:srgbClr val="000000"/>
            </a:solidFill>
            <a:prstDash val="solid"/>
            <a:headEnd type="none" w="lg" len="med"/>
            <a:tailEnd type="triangle" w="med" len="med"/>
          </a:ln>
          <a:effectLst/>
        </p:spPr>
      </p:cxnSp>
      <p:grpSp>
        <p:nvGrpSpPr>
          <p:cNvPr id="2078" name="Group 2077">
            <a:extLst>
              <a:ext uri="{FF2B5EF4-FFF2-40B4-BE49-F238E27FC236}">
                <a16:creationId xmlns:a16="http://schemas.microsoft.com/office/drawing/2014/main" id="{F2780D3B-3E3D-4C7B-BA1F-C0FF339D8A51}"/>
              </a:ext>
            </a:extLst>
          </p:cNvPr>
          <p:cNvGrpSpPr/>
          <p:nvPr/>
        </p:nvGrpSpPr>
        <p:grpSpPr>
          <a:xfrm>
            <a:off x="688095" y="5881927"/>
            <a:ext cx="8254704" cy="791308"/>
            <a:chOff x="686507" y="6142892"/>
            <a:chExt cx="8254704" cy="791308"/>
          </a:xfrm>
        </p:grpSpPr>
        <p:sp>
          <p:nvSpPr>
            <p:cNvPr id="55" name="Rectangle 54">
              <a:extLst>
                <a:ext uri="{FF2B5EF4-FFF2-40B4-BE49-F238E27FC236}">
                  <a16:creationId xmlns:a16="http://schemas.microsoft.com/office/drawing/2014/main" id="{C06EF729-EA3D-4610-99C8-C942AF45A401}"/>
                </a:ext>
              </a:extLst>
            </p:cNvPr>
            <p:cNvSpPr/>
            <p:nvPr/>
          </p:nvSpPr>
          <p:spPr bwMode="auto">
            <a:xfrm>
              <a:off x="686507" y="6142892"/>
              <a:ext cx="8254704" cy="791308"/>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55" name="Group 2054">
              <a:extLst>
                <a:ext uri="{FF2B5EF4-FFF2-40B4-BE49-F238E27FC236}">
                  <a16:creationId xmlns:a16="http://schemas.microsoft.com/office/drawing/2014/main" id="{7EA480AF-11E2-4F28-8D26-F88C28BFD7EE}"/>
                </a:ext>
              </a:extLst>
            </p:cNvPr>
            <p:cNvGrpSpPr/>
            <p:nvPr/>
          </p:nvGrpSpPr>
          <p:grpSpPr>
            <a:xfrm>
              <a:off x="3704638" y="6358546"/>
              <a:ext cx="2218443" cy="367641"/>
              <a:chOff x="3476723" y="5710846"/>
              <a:chExt cx="2218443" cy="367641"/>
            </a:xfrm>
          </p:grpSpPr>
          <p:pic>
            <p:nvPicPr>
              <p:cNvPr id="18" name="Graphic 17">
                <a:extLst>
                  <a:ext uri="{FF2B5EF4-FFF2-40B4-BE49-F238E27FC236}">
                    <a16:creationId xmlns:a16="http://schemas.microsoft.com/office/drawing/2014/main" id="{36942917-ADCB-4A69-9BE2-9DD4E7BAA87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476723" y="5710846"/>
                <a:ext cx="360000" cy="360000"/>
              </a:xfrm>
              <a:prstGeom prst="rect">
                <a:avLst/>
              </a:prstGeom>
            </p:spPr>
          </p:pic>
          <p:sp>
            <p:nvSpPr>
              <p:cNvPr id="2054" name="TextBox 2053">
                <a:extLst>
                  <a:ext uri="{FF2B5EF4-FFF2-40B4-BE49-F238E27FC236}">
                    <a16:creationId xmlns:a16="http://schemas.microsoft.com/office/drawing/2014/main" id="{7200BAAA-A6E8-473D-96F7-96017DDF7517}"/>
                  </a:ext>
                </a:extLst>
              </p:cNvPr>
              <p:cNvSpPr txBox="1"/>
              <p:nvPr/>
            </p:nvSpPr>
            <p:spPr>
              <a:xfrm>
                <a:off x="4107562" y="5746088"/>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Lake Gen 2</a:t>
                </a:r>
              </a:p>
            </p:txBody>
          </p:sp>
        </p:grpSp>
      </p:grpSp>
      <p:cxnSp>
        <p:nvCxnSpPr>
          <p:cNvPr id="2059" name="Straight Arrow Connector 2058">
            <a:extLst>
              <a:ext uri="{FF2B5EF4-FFF2-40B4-BE49-F238E27FC236}">
                <a16:creationId xmlns:a16="http://schemas.microsoft.com/office/drawing/2014/main" id="{83E466FE-227B-4755-A92C-80A50BCDB1C6}"/>
              </a:ext>
            </a:extLst>
          </p:cNvPr>
          <p:cNvCxnSpPr>
            <a:cxnSpLocks/>
          </p:cNvCxnSpPr>
          <p:nvPr/>
        </p:nvCxnSpPr>
        <p:spPr>
          <a:xfrm>
            <a:off x="2118178" y="2117360"/>
            <a:ext cx="768660" cy="0"/>
          </a:xfrm>
          <a:prstGeom prst="straightConnector1">
            <a:avLst/>
          </a:prstGeom>
          <a:noFill/>
          <a:ln w="19050" cap="flat" cmpd="sng" algn="ctr">
            <a:solidFill>
              <a:srgbClr val="000000"/>
            </a:solidFill>
            <a:prstDash val="solid"/>
            <a:headEnd type="none" w="lg" len="med"/>
            <a:tailEnd type="triangle" w="med" len="med"/>
          </a:ln>
          <a:effectLst/>
        </p:spPr>
      </p:cxnSp>
      <p:sp>
        <p:nvSpPr>
          <p:cNvPr id="2062" name="TextBox 2061">
            <a:extLst>
              <a:ext uri="{FF2B5EF4-FFF2-40B4-BE49-F238E27FC236}">
                <a16:creationId xmlns:a16="http://schemas.microsoft.com/office/drawing/2014/main" id="{8D493B05-F15E-4599-95EE-34A9445E1381}"/>
              </a:ext>
            </a:extLst>
          </p:cNvPr>
          <p:cNvSpPr txBox="1"/>
          <p:nvPr/>
        </p:nvSpPr>
        <p:spPr>
          <a:xfrm>
            <a:off x="3884862" y="1938919"/>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tream Analytics</a:t>
            </a:r>
          </a:p>
        </p:txBody>
      </p:sp>
      <p:sp>
        <p:nvSpPr>
          <p:cNvPr id="106" name="TextBox 105">
            <a:extLst>
              <a:ext uri="{FF2B5EF4-FFF2-40B4-BE49-F238E27FC236}">
                <a16:creationId xmlns:a16="http://schemas.microsoft.com/office/drawing/2014/main" id="{2EE8F954-7726-47DE-9ADE-C6C42278610B}"/>
              </a:ext>
            </a:extLst>
          </p:cNvPr>
          <p:cNvSpPr txBox="1"/>
          <p:nvPr/>
        </p:nvSpPr>
        <p:spPr>
          <a:xfrm>
            <a:off x="6698516" y="2360043"/>
            <a:ext cx="605610"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Event Hubs</a:t>
            </a:r>
          </a:p>
        </p:txBody>
      </p:sp>
      <p:sp>
        <p:nvSpPr>
          <p:cNvPr id="107" name="TextBox 106">
            <a:extLst>
              <a:ext uri="{FF2B5EF4-FFF2-40B4-BE49-F238E27FC236}">
                <a16:creationId xmlns:a16="http://schemas.microsoft.com/office/drawing/2014/main" id="{CAC8D8EB-589A-4934-A330-E3BC434FE4E4}"/>
              </a:ext>
            </a:extLst>
          </p:cNvPr>
          <p:cNvSpPr txBox="1"/>
          <p:nvPr/>
        </p:nvSpPr>
        <p:spPr>
          <a:xfrm>
            <a:off x="7827503" y="2444528"/>
            <a:ext cx="719999" cy="1661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Logic App</a:t>
            </a:r>
          </a:p>
        </p:txBody>
      </p:sp>
      <p:cxnSp>
        <p:nvCxnSpPr>
          <p:cNvPr id="4" name="Connector: Elbow 3">
            <a:extLst>
              <a:ext uri="{FF2B5EF4-FFF2-40B4-BE49-F238E27FC236}">
                <a16:creationId xmlns:a16="http://schemas.microsoft.com/office/drawing/2014/main" id="{E6150BA3-DB40-4E5F-9E4C-E144A03A6CAB}"/>
              </a:ext>
            </a:extLst>
          </p:cNvPr>
          <p:cNvCxnSpPr>
            <a:cxnSpLocks/>
            <a:stCxn id="82" idx="3"/>
            <a:endCxn id="69" idx="1"/>
          </p:cNvCxnSpPr>
          <p:nvPr/>
        </p:nvCxnSpPr>
        <p:spPr>
          <a:xfrm flipV="1">
            <a:off x="7256736" y="802084"/>
            <a:ext cx="2262631" cy="1048351"/>
          </a:xfrm>
          <a:prstGeom prst="bentConnector3">
            <a:avLst>
              <a:gd name="adj1" fmla="val 16374"/>
            </a:avLst>
          </a:prstGeom>
          <a:noFill/>
          <a:ln w="19050" cap="flat" cmpd="sng" algn="ctr">
            <a:solidFill>
              <a:schemeClr val="accent3">
                <a:lumMod val="60000"/>
                <a:lumOff val="40000"/>
              </a:schemeClr>
            </a:solidFill>
            <a:prstDash val="solid"/>
            <a:headEnd type="none" w="lg" len="med"/>
            <a:tailEnd type="triangle" w="med" len="med"/>
          </a:ln>
          <a:effectLst/>
        </p:spPr>
      </p:cxnSp>
      <p:cxnSp>
        <p:nvCxnSpPr>
          <p:cNvPr id="7" name="Straight Arrow Connector 6">
            <a:extLst>
              <a:ext uri="{FF2B5EF4-FFF2-40B4-BE49-F238E27FC236}">
                <a16:creationId xmlns:a16="http://schemas.microsoft.com/office/drawing/2014/main" id="{8AD94DBA-43C9-4C23-BDE0-71F844D0B7DD}"/>
              </a:ext>
            </a:extLst>
          </p:cNvPr>
          <p:cNvCxnSpPr/>
          <p:nvPr/>
        </p:nvCxnSpPr>
        <p:spPr>
          <a:xfrm>
            <a:off x="5984171" y="1850434"/>
            <a:ext cx="552565" cy="0"/>
          </a:xfrm>
          <a:prstGeom prst="straightConnector1">
            <a:avLst/>
          </a:prstGeom>
          <a:noFill/>
          <a:ln w="19050" cap="flat" cmpd="sng" algn="ctr">
            <a:solidFill>
              <a:schemeClr val="accent3">
                <a:lumMod val="60000"/>
                <a:lumOff val="40000"/>
              </a:schemeClr>
            </a:solidFill>
            <a:prstDash val="solid"/>
            <a:headEnd type="none" w="lg" len="med"/>
            <a:tailEnd type="triangle" w="med" len="med"/>
          </a:ln>
          <a:effectLst/>
        </p:spPr>
      </p:cxnSp>
      <p:cxnSp>
        <p:nvCxnSpPr>
          <p:cNvPr id="9" name="Straight Arrow Connector 8">
            <a:extLst>
              <a:ext uri="{FF2B5EF4-FFF2-40B4-BE49-F238E27FC236}">
                <a16:creationId xmlns:a16="http://schemas.microsoft.com/office/drawing/2014/main" id="{A444263F-E2DB-4BD5-A260-0F4B9EBD5DD0}"/>
              </a:ext>
            </a:extLst>
          </p:cNvPr>
          <p:cNvCxnSpPr>
            <a:cxnSpLocks/>
          </p:cNvCxnSpPr>
          <p:nvPr/>
        </p:nvCxnSpPr>
        <p:spPr>
          <a:xfrm>
            <a:off x="7279076" y="1857414"/>
            <a:ext cx="548427" cy="0"/>
          </a:xfrm>
          <a:prstGeom prst="straightConnector1">
            <a:avLst/>
          </a:prstGeom>
          <a:noFill/>
          <a:ln w="19050" cap="flat" cmpd="sng" algn="ctr">
            <a:solidFill>
              <a:schemeClr val="accent3">
                <a:lumMod val="60000"/>
                <a:lumOff val="40000"/>
              </a:schemeClr>
            </a:solidFill>
            <a:prstDash val="solid"/>
            <a:headEnd type="none" w="lg" len="med"/>
            <a:tailEnd type="triangle" w="med" len="med"/>
          </a:ln>
          <a:effectLst/>
        </p:spPr>
      </p:cxnSp>
      <p:cxnSp>
        <p:nvCxnSpPr>
          <p:cNvPr id="64" name="Straight Arrow Connector 63">
            <a:extLst>
              <a:ext uri="{FF2B5EF4-FFF2-40B4-BE49-F238E27FC236}">
                <a16:creationId xmlns:a16="http://schemas.microsoft.com/office/drawing/2014/main" id="{2AA32156-55C4-4B88-9000-217C358FC6A6}"/>
              </a:ext>
            </a:extLst>
          </p:cNvPr>
          <p:cNvCxnSpPr>
            <a:cxnSpLocks/>
          </p:cNvCxnSpPr>
          <p:nvPr/>
        </p:nvCxnSpPr>
        <p:spPr>
          <a:xfrm flipH="1">
            <a:off x="3011284" y="5352795"/>
            <a:ext cx="4130" cy="506539"/>
          </a:xfrm>
          <a:prstGeom prst="straightConnector1">
            <a:avLst/>
          </a:prstGeom>
          <a:noFill/>
          <a:ln w="19050" cap="flat" cmpd="sng" algn="ctr">
            <a:solidFill>
              <a:srgbClr val="000000"/>
            </a:solidFill>
            <a:prstDash val="solid"/>
            <a:headEnd type="none" w="lg" len="med"/>
            <a:tailEnd type="triangle" w="med" len="med"/>
          </a:ln>
          <a:effectLst/>
        </p:spPr>
      </p:cxnSp>
      <p:cxnSp>
        <p:nvCxnSpPr>
          <p:cNvPr id="66" name="Straight Arrow Connector 65">
            <a:extLst>
              <a:ext uri="{FF2B5EF4-FFF2-40B4-BE49-F238E27FC236}">
                <a16:creationId xmlns:a16="http://schemas.microsoft.com/office/drawing/2014/main" id="{FD919623-A86A-457C-AAC0-3B1E725F0C3F}"/>
              </a:ext>
            </a:extLst>
          </p:cNvPr>
          <p:cNvCxnSpPr>
            <a:cxnSpLocks/>
          </p:cNvCxnSpPr>
          <p:nvPr/>
        </p:nvCxnSpPr>
        <p:spPr>
          <a:xfrm>
            <a:off x="3772121" y="5361930"/>
            <a:ext cx="0" cy="485727"/>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3" name="Group 92">
            <a:extLst>
              <a:ext uri="{FF2B5EF4-FFF2-40B4-BE49-F238E27FC236}">
                <a16:creationId xmlns:a16="http://schemas.microsoft.com/office/drawing/2014/main" id="{49B82087-B0BC-4848-B112-E4935CA6B607}"/>
              </a:ext>
            </a:extLst>
          </p:cNvPr>
          <p:cNvGrpSpPr/>
          <p:nvPr/>
        </p:nvGrpSpPr>
        <p:grpSpPr>
          <a:xfrm>
            <a:off x="5505798" y="4088613"/>
            <a:ext cx="3445565" cy="1286689"/>
            <a:chOff x="5495646" y="4424851"/>
            <a:chExt cx="3445565" cy="1286689"/>
          </a:xfrm>
        </p:grpSpPr>
        <p:sp>
          <p:nvSpPr>
            <p:cNvPr id="67" name="Rectangle 66">
              <a:extLst>
                <a:ext uri="{FF2B5EF4-FFF2-40B4-BE49-F238E27FC236}">
                  <a16:creationId xmlns:a16="http://schemas.microsoft.com/office/drawing/2014/main" id="{82929D9A-DEFC-4BC0-9A8D-289C9895D81D}"/>
                </a:ext>
              </a:extLst>
            </p:cNvPr>
            <p:cNvSpPr/>
            <p:nvPr/>
          </p:nvSpPr>
          <p:spPr bwMode="auto">
            <a:xfrm>
              <a:off x="5495646" y="4424851"/>
              <a:ext cx="3445565"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68" name="Group 2067">
              <a:extLst>
                <a:ext uri="{FF2B5EF4-FFF2-40B4-BE49-F238E27FC236}">
                  <a16:creationId xmlns:a16="http://schemas.microsoft.com/office/drawing/2014/main" id="{E19B705F-9126-4E4C-AB43-6379A32256CE}"/>
                </a:ext>
              </a:extLst>
            </p:cNvPr>
            <p:cNvGrpSpPr/>
            <p:nvPr/>
          </p:nvGrpSpPr>
          <p:grpSpPr>
            <a:xfrm>
              <a:off x="7372981" y="4931855"/>
              <a:ext cx="1537924" cy="360000"/>
              <a:chOff x="7249867" y="4208717"/>
              <a:chExt cx="1537924" cy="360000"/>
            </a:xfrm>
          </p:grpSpPr>
          <p:sp>
            <p:nvSpPr>
              <p:cNvPr id="2063" name="TextBox 2062">
                <a:extLst>
                  <a:ext uri="{FF2B5EF4-FFF2-40B4-BE49-F238E27FC236}">
                    <a16:creationId xmlns:a16="http://schemas.microsoft.com/office/drawing/2014/main" id="{951F593A-492A-4445-8CF9-895D09A17915}"/>
                  </a:ext>
                </a:extLst>
              </p:cNvPr>
              <p:cNvSpPr txBox="1"/>
              <p:nvPr/>
            </p:nvSpPr>
            <p:spPr>
              <a:xfrm>
                <a:off x="7635212" y="4215984"/>
                <a:ext cx="1152579"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ynapse Analytics</a:t>
                </a:r>
              </a:p>
            </p:txBody>
          </p:sp>
          <p:pic>
            <p:nvPicPr>
              <p:cNvPr id="2064" name="Graphic 2063">
                <a:extLst>
                  <a:ext uri="{FF2B5EF4-FFF2-40B4-BE49-F238E27FC236}">
                    <a16:creationId xmlns:a16="http://schemas.microsoft.com/office/drawing/2014/main" id="{DE92E9C4-4494-4B98-9DD4-A14CF475FCC2}"/>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49867" y="4208717"/>
                <a:ext cx="313125" cy="360000"/>
              </a:xfrm>
              <a:prstGeom prst="rect">
                <a:avLst/>
              </a:prstGeom>
            </p:spPr>
          </p:pic>
        </p:grpSp>
        <p:grpSp>
          <p:nvGrpSpPr>
            <p:cNvPr id="2069" name="Group 2068">
              <a:extLst>
                <a:ext uri="{FF2B5EF4-FFF2-40B4-BE49-F238E27FC236}">
                  <a16:creationId xmlns:a16="http://schemas.microsoft.com/office/drawing/2014/main" id="{62D1B794-9A5A-4BD5-BF98-D4F751817994}"/>
                </a:ext>
              </a:extLst>
            </p:cNvPr>
            <p:cNvGrpSpPr/>
            <p:nvPr/>
          </p:nvGrpSpPr>
          <p:grpSpPr>
            <a:xfrm>
              <a:off x="5575782" y="4916599"/>
              <a:ext cx="1570303" cy="360000"/>
              <a:chOff x="5378138" y="4179766"/>
              <a:chExt cx="1570303" cy="360000"/>
            </a:xfrm>
          </p:grpSpPr>
          <p:pic>
            <p:nvPicPr>
              <p:cNvPr id="29" name="Graphic 28">
                <a:extLst>
                  <a:ext uri="{FF2B5EF4-FFF2-40B4-BE49-F238E27FC236}">
                    <a16:creationId xmlns:a16="http://schemas.microsoft.com/office/drawing/2014/main" id="{7A78BD5A-0E7A-4CE8-B21C-B7D8CAEC1EE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78138" y="4179766"/>
                <a:ext cx="360000" cy="360000"/>
              </a:xfrm>
              <a:prstGeom prst="rect">
                <a:avLst/>
              </a:prstGeom>
            </p:spPr>
          </p:pic>
          <p:sp>
            <p:nvSpPr>
              <p:cNvPr id="68" name="TextBox 67">
                <a:extLst>
                  <a:ext uri="{FF2B5EF4-FFF2-40B4-BE49-F238E27FC236}">
                    <a16:creationId xmlns:a16="http://schemas.microsoft.com/office/drawing/2014/main" id="{D83A5F90-DABC-45C6-A5BD-DD16332B37EC}"/>
                  </a:ext>
                </a:extLst>
              </p:cNvPr>
              <p:cNvSpPr txBox="1"/>
              <p:nvPr/>
            </p:nvSpPr>
            <p:spPr>
              <a:xfrm>
                <a:off x="5795862" y="4206117"/>
                <a:ext cx="1152579" cy="332399"/>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QL Datawarehouse</a:t>
                </a:r>
              </a:p>
            </p:txBody>
          </p:sp>
        </p:grpSp>
      </p:grpSp>
      <p:cxnSp>
        <p:nvCxnSpPr>
          <p:cNvPr id="84" name="Straight Arrow Connector 83">
            <a:extLst>
              <a:ext uri="{FF2B5EF4-FFF2-40B4-BE49-F238E27FC236}">
                <a16:creationId xmlns:a16="http://schemas.microsoft.com/office/drawing/2014/main" id="{8420B9F6-867E-4A2C-8F59-7D0BEAF51070}"/>
              </a:ext>
            </a:extLst>
          </p:cNvPr>
          <p:cNvCxnSpPr>
            <a:cxnSpLocks/>
          </p:cNvCxnSpPr>
          <p:nvPr/>
        </p:nvCxnSpPr>
        <p:spPr>
          <a:xfrm>
            <a:off x="5831570" y="2753500"/>
            <a:ext cx="0" cy="1281029"/>
          </a:xfrm>
          <a:prstGeom prst="straightConnector1">
            <a:avLst/>
          </a:prstGeom>
          <a:noFill/>
          <a:ln w="19050" cap="flat" cmpd="sng" algn="ctr">
            <a:solidFill>
              <a:srgbClr val="000000"/>
            </a:solidFill>
            <a:prstDash val="solid"/>
            <a:headEnd type="none" w="lg" len="med"/>
            <a:tailEnd type="triangle" w="med" len="med"/>
          </a:ln>
          <a:effectLst/>
        </p:spPr>
      </p:cxnSp>
      <p:cxnSp>
        <p:nvCxnSpPr>
          <p:cNvPr id="85" name="Straight Arrow Connector 84">
            <a:extLst>
              <a:ext uri="{FF2B5EF4-FFF2-40B4-BE49-F238E27FC236}">
                <a16:creationId xmlns:a16="http://schemas.microsoft.com/office/drawing/2014/main" id="{F5102098-353B-4C88-86B7-9FAA84A7E80A}"/>
              </a:ext>
            </a:extLst>
          </p:cNvPr>
          <p:cNvCxnSpPr>
            <a:cxnSpLocks/>
          </p:cNvCxnSpPr>
          <p:nvPr/>
        </p:nvCxnSpPr>
        <p:spPr>
          <a:xfrm>
            <a:off x="7048963" y="5398798"/>
            <a:ext cx="0" cy="483922"/>
          </a:xfrm>
          <a:prstGeom prst="straightConnector1">
            <a:avLst/>
          </a:prstGeom>
          <a:noFill/>
          <a:ln w="19050" cap="flat" cmpd="sng" algn="ctr">
            <a:solidFill>
              <a:srgbClr val="000000"/>
            </a:solidFill>
            <a:prstDash val="solid"/>
            <a:headEnd type="none" w="lg" len="med"/>
            <a:tailEnd type="triangle" w="med" len="med"/>
          </a:ln>
          <a:effectLst/>
        </p:spPr>
      </p:cxnSp>
      <p:cxnSp>
        <p:nvCxnSpPr>
          <p:cNvPr id="86" name="Straight Arrow Connector 85">
            <a:extLst>
              <a:ext uri="{FF2B5EF4-FFF2-40B4-BE49-F238E27FC236}">
                <a16:creationId xmlns:a16="http://schemas.microsoft.com/office/drawing/2014/main" id="{D9846E3A-2378-4E97-90D9-2DA48D546DD6}"/>
              </a:ext>
            </a:extLst>
          </p:cNvPr>
          <p:cNvCxnSpPr>
            <a:cxnSpLocks/>
          </p:cNvCxnSpPr>
          <p:nvPr/>
        </p:nvCxnSpPr>
        <p:spPr>
          <a:xfrm>
            <a:off x="7521358" y="5375302"/>
            <a:ext cx="0" cy="507419"/>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2" name="Group 91">
            <a:extLst>
              <a:ext uri="{FF2B5EF4-FFF2-40B4-BE49-F238E27FC236}">
                <a16:creationId xmlns:a16="http://schemas.microsoft.com/office/drawing/2014/main" id="{F96AB8BA-5C0C-4FB2-99F7-6EF5F43C2647}"/>
              </a:ext>
            </a:extLst>
          </p:cNvPr>
          <p:cNvGrpSpPr/>
          <p:nvPr/>
        </p:nvGrpSpPr>
        <p:grpSpPr>
          <a:xfrm>
            <a:off x="4356624" y="4091404"/>
            <a:ext cx="906891" cy="1272327"/>
            <a:chOff x="4346472" y="4427642"/>
            <a:chExt cx="906891" cy="1272327"/>
          </a:xfrm>
        </p:grpSpPr>
        <p:sp>
          <p:nvSpPr>
            <p:cNvPr id="87" name="Rectangle 86">
              <a:extLst>
                <a:ext uri="{FF2B5EF4-FFF2-40B4-BE49-F238E27FC236}">
                  <a16:creationId xmlns:a16="http://schemas.microsoft.com/office/drawing/2014/main" id="{C93BDA40-2B2A-42B7-8798-4CC7E1FA647A}"/>
                </a:ext>
              </a:extLst>
            </p:cNvPr>
            <p:cNvSpPr/>
            <p:nvPr/>
          </p:nvSpPr>
          <p:spPr bwMode="auto">
            <a:xfrm>
              <a:off x="4346472" y="4427642"/>
              <a:ext cx="906891"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13" name="Graphic 12">
              <a:extLst>
                <a:ext uri="{FF2B5EF4-FFF2-40B4-BE49-F238E27FC236}">
                  <a16:creationId xmlns:a16="http://schemas.microsoft.com/office/drawing/2014/main" id="{B6EE4014-0BC6-4208-8F16-730663E254A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604869" y="4792328"/>
              <a:ext cx="360000" cy="360000"/>
            </a:xfrm>
            <a:prstGeom prst="rect">
              <a:avLst/>
            </a:prstGeom>
          </p:spPr>
        </p:pic>
        <p:sp>
          <p:nvSpPr>
            <p:cNvPr id="89" name="TextBox 88">
              <a:extLst>
                <a:ext uri="{FF2B5EF4-FFF2-40B4-BE49-F238E27FC236}">
                  <a16:creationId xmlns:a16="http://schemas.microsoft.com/office/drawing/2014/main" id="{D1E29D12-C807-437F-AC78-383EEE5CA250}"/>
                </a:ext>
              </a:extLst>
            </p:cNvPr>
            <p:cNvSpPr txBox="1"/>
            <p:nvPr/>
          </p:nvSpPr>
          <p:spPr>
            <a:xfrm>
              <a:off x="4522733" y="5251656"/>
              <a:ext cx="524271" cy="332399"/>
            </a:xfrm>
            <a:prstGeom prst="rect">
              <a:avLst/>
            </a:prstGeom>
            <a:noFill/>
          </p:spPr>
          <p:txBody>
            <a:bodyPr wrap="square" lIns="0" tIns="0" rIns="0" bIns="0" rtlCol="0">
              <a:spAutoFit/>
            </a:bodyPr>
            <a:lstStyle/>
            <a:p>
              <a:pPr algn="ct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QL</a:t>
              </a:r>
            </a:p>
          </p:txBody>
        </p:sp>
      </p:grpSp>
      <p:cxnSp>
        <p:nvCxnSpPr>
          <p:cNvPr id="91" name="Straight Arrow Connector 90">
            <a:extLst>
              <a:ext uri="{FF2B5EF4-FFF2-40B4-BE49-F238E27FC236}">
                <a16:creationId xmlns:a16="http://schemas.microsoft.com/office/drawing/2014/main" id="{2E7AE7E5-DEA3-4EF8-9075-5F49F793A41D}"/>
              </a:ext>
            </a:extLst>
          </p:cNvPr>
          <p:cNvCxnSpPr>
            <a:cxnSpLocks/>
          </p:cNvCxnSpPr>
          <p:nvPr/>
        </p:nvCxnSpPr>
        <p:spPr>
          <a:xfrm>
            <a:off x="4696106" y="2753500"/>
            <a:ext cx="0" cy="1335113"/>
          </a:xfrm>
          <a:prstGeom prst="straightConnector1">
            <a:avLst/>
          </a:prstGeom>
          <a:noFill/>
          <a:ln w="19050" cap="flat" cmpd="sng" algn="ctr">
            <a:solidFill>
              <a:srgbClr val="000000"/>
            </a:solidFill>
            <a:prstDash val="solid"/>
            <a:headEnd type="none" w="lg" len="med"/>
            <a:tailEnd type="triangle" w="med" len="med"/>
          </a:ln>
          <a:effectLst/>
        </p:spPr>
      </p:cxnSp>
      <p:cxnSp>
        <p:nvCxnSpPr>
          <p:cNvPr id="103" name="Straight Arrow Connector 102">
            <a:extLst>
              <a:ext uri="{FF2B5EF4-FFF2-40B4-BE49-F238E27FC236}">
                <a16:creationId xmlns:a16="http://schemas.microsoft.com/office/drawing/2014/main" id="{B3F3BD21-2B59-419B-BCE9-95D3092075A3}"/>
              </a:ext>
            </a:extLst>
          </p:cNvPr>
          <p:cNvCxnSpPr>
            <a:cxnSpLocks/>
            <a:stCxn id="83" idx="3"/>
          </p:cNvCxnSpPr>
          <p:nvPr/>
        </p:nvCxnSpPr>
        <p:spPr>
          <a:xfrm flipV="1">
            <a:off x="8586299" y="1865640"/>
            <a:ext cx="885676" cy="6636"/>
          </a:xfrm>
          <a:prstGeom prst="straightConnector1">
            <a:avLst/>
          </a:prstGeom>
          <a:noFill/>
          <a:ln w="19050" cap="flat" cmpd="sng" algn="ctr">
            <a:solidFill>
              <a:schemeClr val="accent3">
                <a:lumMod val="60000"/>
                <a:lumOff val="40000"/>
              </a:schemeClr>
            </a:solidFill>
            <a:prstDash val="solid"/>
            <a:headEnd type="none" w="lg" len="med"/>
            <a:tailEnd type="triangle" w="med" len="med"/>
          </a:ln>
          <a:effectLst/>
        </p:spPr>
      </p:cxnSp>
      <p:cxnSp>
        <p:nvCxnSpPr>
          <p:cNvPr id="2053" name="Straight Arrow Connector 2052">
            <a:extLst>
              <a:ext uri="{FF2B5EF4-FFF2-40B4-BE49-F238E27FC236}">
                <a16:creationId xmlns:a16="http://schemas.microsoft.com/office/drawing/2014/main" id="{49553682-7F22-421A-82E4-92A710564538}"/>
              </a:ext>
            </a:extLst>
          </p:cNvPr>
          <p:cNvCxnSpPr/>
          <p:nvPr/>
        </p:nvCxnSpPr>
        <p:spPr>
          <a:xfrm flipH="1">
            <a:off x="8942800" y="4236265"/>
            <a:ext cx="576567" cy="0"/>
          </a:xfrm>
          <a:prstGeom prst="straightConnector1">
            <a:avLst/>
          </a:prstGeom>
          <a:noFill/>
          <a:ln w="19050" cap="flat" cmpd="sng" algn="ctr">
            <a:solidFill>
              <a:srgbClr val="000000"/>
            </a:solidFill>
            <a:prstDash val="solid"/>
            <a:headEnd type="none" w="lg" len="med"/>
            <a:tailEnd type="triangle" w="med" len="med"/>
          </a:ln>
          <a:effectLst/>
        </p:spPr>
      </p:cxnSp>
      <p:cxnSp>
        <p:nvCxnSpPr>
          <p:cNvPr id="111" name="Straight Arrow Connector 110">
            <a:extLst>
              <a:ext uri="{FF2B5EF4-FFF2-40B4-BE49-F238E27FC236}">
                <a16:creationId xmlns:a16="http://schemas.microsoft.com/office/drawing/2014/main" id="{BDE5A235-E5BA-4014-9748-ACA9B679D902}"/>
              </a:ext>
            </a:extLst>
          </p:cNvPr>
          <p:cNvCxnSpPr>
            <a:cxnSpLocks/>
          </p:cNvCxnSpPr>
          <p:nvPr/>
        </p:nvCxnSpPr>
        <p:spPr>
          <a:xfrm>
            <a:off x="4966457" y="3860026"/>
            <a:ext cx="0" cy="228587"/>
          </a:xfrm>
          <a:prstGeom prst="straightConnector1">
            <a:avLst/>
          </a:prstGeom>
          <a:noFill/>
          <a:ln w="19050" cap="flat" cmpd="sng" algn="ctr">
            <a:solidFill>
              <a:srgbClr val="000000"/>
            </a:solidFill>
            <a:prstDash val="solid"/>
            <a:headEnd type="none" w="lg" len="med"/>
            <a:tailEnd type="triangle" w="med" len="med"/>
          </a:ln>
          <a:effectLst/>
        </p:spPr>
      </p:cxnSp>
      <p:cxnSp>
        <p:nvCxnSpPr>
          <p:cNvPr id="2061" name="Straight Connector 2060">
            <a:extLst>
              <a:ext uri="{FF2B5EF4-FFF2-40B4-BE49-F238E27FC236}">
                <a16:creationId xmlns:a16="http://schemas.microsoft.com/office/drawing/2014/main" id="{1AD6DD68-D4F3-4C80-BC92-2C38DE9AC9AE}"/>
              </a:ext>
            </a:extLst>
          </p:cNvPr>
          <p:cNvCxnSpPr>
            <a:cxnSpLocks/>
          </p:cNvCxnSpPr>
          <p:nvPr/>
        </p:nvCxnSpPr>
        <p:spPr>
          <a:xfrm>
            <a:off x="4975021" y="3864788"/>
            <a:ext cx="4552909" cy="0"/>
          </a:xfrm>
          <a:prstGeom prst="line">
            <a:avLst/>
          </a:prstGeom>
          <a:noFill/>
          <a:ln w="19050" cap="flat" cmpd="sng" algn="ctr">
            <a:solidFill>
              <a:srgbClr val="000000"/>
            </a:solidFill>
            <a:prstDash val="solid"/>
            <a:headEnd type="none" w="med" len="med"/>
            <a:tailEnd type="none" w="med" len="med"/>
          </a:ln>
          <a:effectLst/>
        </p:spPr>
      </p:cxnSp>
      <p:grpSp>
        <p:nvGrpSpPr>
          <p:cNvPr id="95" name="Group 94">
            <a:extLst>
              <a:ext uri="{FF2B5EF4-FFF2-40B4-BE49-F238E27FC236}">
                <a16:creationId xmlns:a16="http://schemas.microsoft.com/office/drawing/2014/main" id="{9C80676B-4525-4D77-B1DE-CBA5D10209FF}"/>
              </a:ext>
            </a:extLst>
          </p:cNvPr>
          <p:cNvGrpSpPr/>
          <p:nvPr/>
        </p:nvGrpSpPr>
        <p:grpSpPr>
          <a:xfrm>
            <a:off x="2893449" y="3036082"/>
            <a:ext cx="3052481" cy="754007"/>
            <a:chOff x="2885249" y="3163451"/>
            <a:chExt cx="3052481" cy="754007"/>
          </a:xfrm>
        </p:grpSpPr>
        <p:sp>
          <p:nvSpPr>
            <p:cNvPr id="116" name="Rectangle 115">
              <a:extLst>
                <a:ext uri="{FF2B5EF4-FFF2-40B4-BE49-F238E27FC236}">
                  <a16:creationId xmlns:a16="http://schemas.microsoft.com/office/drawing/2014/main" id="{8071C4AA-F47E-4433-BD73-06B070257543}"/>
                </a:ext>
              </a:extLst>
            </p:cNvPr>
            <p:cNvSpPr/>
            <p:nvPr/>
          </p:nvSpPr>
          <p:spPr bwMode="auto">
            <a:xfrm>
              <a:off x="2885249" y="3163451"/>
              <a:ext cx="3052481" cy="75400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94" name="Group 93">
              <a:extLst>
                <a:ext uri="{FF2B5EF4-FFF2-40B4-BE49-F238E27FC236}">
                  <a16:creationId xmlns:a16="http://schemas.microsoft.com/office/drawing/2014/main" id="{876F4413-D318-4761-97B8-8C4F7BAD7CB2}"/>
                </a:ext>
              </a:extLst>
            </p:cNvPr>
            <p:cNvGrpSpPr/>
            <p:nvPr/>
          </p:nvGrpSpPr>
          <p:grpSpPr>
            <a:xfrm>
              <a:off x="3763922" y="3345781"/>
              <a:ext cx="1334847" cy="360000"/>
              <a:chOff x="3763922" y="3345781"/>
              <a:chExt cx="1334847" cy="360000"/>
            </a:xfrm>
          </p:grpSpPr>
          <p:pic>
            <p:nvPicPr>
              <p:cNvPr id="2066" name="Graphic 2065">
                <a:extLst>
                  <a:ext uri="{FF2B5EF4-FFF2-40B4-BE49-F238E27FC236}">
                    <a16:creationId xmlns:a16="http://schemas.microsoft.com/office/drawing/2014/main" id="{A4108ED1-9D20-4D51-BC42-883D25CEF99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763922" y="3345781"/>
                <a:ext cx="360000" cy="360000"/>
              </a:xfrm>
              <a:prstGeom prst="rect">
                <a:avLst/>
              </a:prstGeom>
            </p:spPr>
          </p:pic>
          <p:sp>
            <p:nvSpPr>
              <p:cNvPr id="119" name="TextBox 118">
                <a:extLst>
                  <a:ext uri="{FF2B5EF4-FFF2-40B4-BE49-F238E27FC236}">
                    <a16:creationId xmlns:a16="http://schemas.microsoft.com/office/drawing/2014/main" id="{40691262-3D00-43E0-9970-139F05CC36E1}"/>
                  </a:ext>
                </a:extLst>
              </p:cNvPr>
              <p:cNvSpPr txBox="1"/>
              <p:nvPr/>
            </p:nvSpPr>
            <p:spPr>
              <a:xfrm>
                <a:off x="4191371" y="3364575"/>
                <a:ext cx="907398"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Time Series Insights</a:t>
                </a:r>
              </a:p>
            </p:txBody>
          </p:sp>
        </p:grpSp>
      </p:grpSp>
      <p:cxnSp>
        <p:nvCxnSpPr>
          <p:cNvPr id="122" name="Straight Arrow Connector 121">
            <a:extLst>
              <a:ext uri="{FF2B5EF4-FFF2-40B4-BE49-F238E27FC236}">
                <a16:creationId xmlns:a16="http://schemas.microsoft.com/office/drawing/2014/main" id="{79B296E7-F04C-40A9-A445-185261CA1C3E}"/>
              </a:ext>
            </a:extLst>
          </p:cNvPr>
          <p:cNvCxnSpPr>
            <a:cxnSpLocks/>
          </p:cNvCxnSpPr>
          <p:nvPr/>
        </p:nvCxnSpPr>
        <p:spPr>
          <a:xfrm>
            <a:off x="2124788" y="3446338"/>
            <a:ext cx="768660" cy="0"/>
          </a:xfrm>
          <a:prstGeom prst="straightConnector1">
            <a:avLst/>
          </a:prstGeom>
          <a:noFill/>
          <a:ln w="19050" cap="flat" cmpd="sng" algn="ctr">
            <a:solidFill>
              <a:srgbClr val="000000"/>
            </a:solidFill>
            <a:prstDash val="solid"/>
            <a:headEnd type="none" w="lg" len="med"/>
            <a:tailEnd type="triangle" w="med" len="med"/>
          </a:ln>
          <a:effectLst/>
        </p:spPr>
      </p:cxnSp>
      <p:cxnSp>
        <p:nvCxnSpPr>
          <p:cNvPr id="123" name="Straight Arrow Connector 122">
            <a:extLst>
              <a:ext uri="{FF2B5EF4-FFF2-40B4-BE49-F238E27FC236}">
                <a16:creationId xmlns:a16="http://schemas.microsoft.com/office/drawing/2014/main" id="{21236C44-E393-48C3-B012-17DCB4E595C8}"/>
              </a:ext>
            </a:extLst>
          </p:cNvPr>
          <p:cNvCxnSpPr>
            <a:cxnSpLocks/>
          </p:cNvCxnSpPr>
          <p:nvPr/>
        </p:nvCxnSpPr>
        <p:spPr>
          <a:xfrm flipH="1" flipV="1">
            <a:off x="5945157" y="3416429"/>
            <a:ext cx="3580424" cy="6981"/>
          </a:xfrm>
          <a:prstGeom prst="straightConnector1">
            <a:avLst/>
          </a:prstGeom>
          <a:noFill/>
          <a:ln w="19050" cap="flat" cmpd="sng" algn="ctr">
            <a:solidFill>
              <a:srgbClr val="000000"/>
            </a:solidFill>
            <a:prstDash val="solid"/>
            <a:headEnd type="none" w="lg" len="med"/>
            <a:tailEnd type="triangle" w="med" len="med"/>
          </a:ln>
          <a:effectLst/>
        </p:spPr>
      </p:cxnSp>
      <p:sp>
        <p:nvSpPr>
          <p:cNvPr id="57" name="Rectangle 56">
            <a:extLst>
              <a:ext uri="{FF2B5EF4-FFF2-40B4-BE49-F238E27FC236}">
                <a16:creationId xmlns:a16="http://schemas.microsoft.com/office/drawing/2014/main" id="{4E948A42-7075-4281-AB6C-9F32A4F37310}"/>
              </a:ext>
            </a:extLst>
          </p:cNvPr>
          <p:cNvSpPr/>
          <p:nvPr/>
        </p:nvSpPr>
        <p:spPr bwMode="auto">
          <a:xfrm>
            <a:off x="9519366" y="2994612"/>
            <a:ext cx="1841930" cy="149641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51" name="Group 50">
            <a:extLst>
              <a:ext uri="{FF2B5EF4-FFF2-40B4-BE49-F238E27FC236}">
                <a16:creationId xmlns:a16="http://schemas.microsoft.com/office/drawing/2014/main" id="{A4AC3279-830A-4628-931B-931C9B9DD62E}"/>
              </a:ext>
            </a:extLst>
          </p:cNvPr>
          <p:cNvGrpSpPr/>
          <p:nvPr/>
        </p:nvGrpSpPr>
        <p:grpSpPr>
          <a:xfrm>
            <a:off x="9818146" y="3610963"/>
            <a:ext cx="1252935" cy="358250"/>
            <a:chOff x="9730105" y="3501775"/>
            <a:chExt cx="1252935" cy="358250"/>
          </a:xfrm>
        </p:grpSpPr>
        <p:sp>
          <p:nvSpPr>
            <p:cNvPr id="58" name="TextBox 57">
              <a:extLst>
                <a:ext uri="{FF2B5EF4-FFF2-40B4-BE49-F238E27FC236}">
                  <a16:creationId xmlns:a16="http://schemas.microsoft.com/office/drawing/2014/main" id="{CDBA0939-8AA3-4E72-B317-BBE45D1DC071}"/>
                </a:ext>
              </a:extLst>
            </p:cNvPr>
            <p:cNvSpPr txBox="1"/>
            <p:nvPr/>
          </p:nvSpPr>
          <p:spPr>
            <a:xfrm>
              <a:off x="10374997" y="3640359"/>
              <a:ext cx="608043" cy="166156"/>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Power BI</a:t>
              </a:r>
            </a:p>
          </p:txBody>
        </p:sp>
        <p:grpSp>
          <p:nvGrpSpPr>
            <p:cNvPr id="59" name="Group 58">
              <a:extLst>
                <a:ext uri="{FF2B5EF4-FFF2-40B4-BE49-F238E27FC236}">
                  <a16:creationId xmlns:a16="http://schemas.microsoft.com/office/drawing/2014/main" id="{CF0CA3EF-E4AF-48CE-A471-4C831E54EF3F}"/>
                </a:ext>
              </a:extLst>
            </p:cNvPr>
            <p:cNvGrpSpPr/>
            <p:nvPr/>
          </p:nvGrpSpPr>
          <p:grpSpPr>
            <a:xfrm>
              <a:off x="9730105" y="3501775"/>
              <a:ext cx="474506" cy="358250"/>
              <a:chOff x="2851176" y="840527"/>
              <a:chExt cx="3024388" cy="2283410"/>
            </a:xfrm>
          </p:grpSpPr>
          <p:sp>
            <p:nvSpPr>
              <p:cNvPr id="60" name="Freeform: Shape 338">
                <a:extLst>
                  <a:ext uri="{FF2B5EF4-FFF2-40B4-BE49-F238E27FC236}">
                    <a16:creationId xmlns:a16="http://schemas.microsoft.com/office/drawing/2014/main" id="{755D314E-9F9D-47B0-8CC8-7815A6387FB6}"/>
                  </a:ext>
                </a:extLst>
              </p:cNvPr>
              <p:cNvSpPr/>
              <p:nvPr/>
            </p:nvSpPr>
            <p:spPr>
              <a:xfrm>
                <a:off x="2851176" y="840527"/>
                <a:ext cx="3024388" cy="1958289"/>
              </a:xfrm>
              <a:custGeom>
                <a:avLst/>
                <a:gdLst>
                  <a:gd name="connsiteX0" fmla="*/ 61230 w 493108"/>
                  <a:gd name="connsiteY0" fmla="*/ 0 h 319287"/>
                  <a:gd name="connsiteX1" fmla="*/ 431878 w 493108"/>
                  <a:gd name="connsiteY1" fmla="*/ 0 h 319287"/>
                  <a:gd name="connsiteX2" fmla="*/ 493108 w 493108"/>
                  <a:gd name="connsiteY2" fmla="*/ 61230 h 319287"/>
                  <a:gd name="connsiteX3" fmla="*/ 493108 w 493108"/>
                  <a:gd name="connsiteY3" fmla="*/ 258057 h 319287"/>
                  <a:gd name="connsiteX4" fmla="*/ 431878 w 493108"/>
                  <a:gd name="connsiteY4" fmla="*/ 319287 h 319287"/>
                  <a:gd name="connsiteX5" fmla="*/ 425306 w 493108"/>
                  <a:gd name="connsiteY5" fmla="*/ 319287 h 319287"/>
                  <a:gd name="connsiteX6" fmla="*/ 425306 w 493108"/>
                  <a:gd name="connsiteY6" fmla="*/ 298563 h 319287"/>
                  <a:gd name="connsiteX7" fmla="*/ 434307 w 493108"/>
                  <a:gd name="connsiteY7" fmla="*/ 298563 h 319287"/>
                  <a:gd name="connsiteX8" fmla="*/ 474000 w 493108"/>
                  <a:gd name="connsiteY8" fmla="*/ 258870 h 319287"/>
                  <a:gd name="connsiteX9" fmla="*/ 474000 w 493108"/>
                  <a:gd name="connsiteY9" fmla="*/ 59417 h 319287"/>
                  <a:gd name="connsiteX10" fmla="*/ 434307 w 493108"/>
                  <a:gd name="connsiteY10" fmla="*/ 19724 h 319287"/>
                  <a:gd name="connsiteX11" fmla="*/ 60650 w 493108"/>
                  <a:gd name="connsiteY11" fmla="*/ 19724 h 319287"/>
                  <a:gd name="connsiteX12" fmla="*/ 20957 w 493108"/>
                  <a:gd name="connsiteY12" fmla="*/ 59417 h 319287"/>
                  <a:gd name="connsiteX13" fmla="*/ 20957 w 493108"/>
                  <a:gd name="connsiteY13" fmla="*/ 258870 h 319287"/>
                  <a:gd name="connsiteX14" fmla="*/ 60650 w 493108"/>
                  <a:gd name="connsiteY14" fmla="*/ 298563 h 319287"/>
                  <a:gd name="connsiteX15" fmla="*/ 69652 w 493108"/>
                  <a:gd name="connsiteY15" fmla="*/ 298563 h 319287"/>
                  <a:gd name="connsiteX16" fmla="*/ 69652 w 493108"/>
                  <a:gd name="connsiteY16" fmla="*/ 319287 h 319287"/>
                  <a:gd name="connsiteX17" fmla="*/ 61230 w 493108"/>
                  <a:gd name="connsiteY17" fmla="*/ 319287 h 319287"/>
                  <a:gd name="connsiteX18" fmla="*/ 0 w 493108"/>
                  <a:gd name="connsiteY18" fmla="*/ 258057 h 319287"/>
                  <a:gd name="connsiteX19" fmla="*/ 0 w 493108"/>
                  <a:gd name="connsiteY19" fmla="*/ 61230 h 319287"/>
                  <a:gd name="connsiteX20" fmla="*/ 61230 w 493108"/>
                  <a:gd name="connsiteY20" fmla="*/ 0 h 31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3108" h="319287">
                    <a:moveTo>
                      <a:pt x="61230" y="0"/>
                    </a:moveTo>
                    <a:lnTo>
                      <a:pt x="431878" y="0"/>
                    </a:lnTo>
                    <a:cubicBezTo>
                      <a:pt x="465695" y="0"/>
                      <a:pt x="493108" y="27414"/>
                      <a:pt x="493108" y="61230"/>
                    </a:cubicBezTo>
                    <a:lnTo>
                      <a:pt x="493108" y="258057"/>
                    </a:lnTo>
                    <a:cubicBezTo>
                      <a:pt x="493108" y="291874"/>
                      <a:pt x="465695" y="319287"/>
                      <a:pt x="431878" y="319287"/>
                    </a:cubicBezTo>
                    <a:lnTo>
                      <a:pt x="425306" y="319287"/>
                    </a:lnTo>
                    <a:lnTo>
                      <a:pt x="425306" y="298563"/>
                    </a:lnTo>
                    <a:lnTo>
                      <a:pt x="434307" y="298563"/>
                    </a:lnTo>
                    <a:cubicBezTo>
                      <a:pt x="456229" y="298563"/>
                      <a:pt x="474000" y="280792"/>
                      <a:pt x="474000" y="258870"/>
                    </a:cubicBezTo>
                    <a:lnTo>
                      <a:pt x="474000" y="59417"/>
                    </a:lnTo>
                    <a:cubicBezTo>
                      <a:pt x="474000" y="37495"/>
                      <a:pt x="456229" y="19724"/>
                      <a:pt x="434307" y="19724"/>
                    </a:cubicBezTo>
                    <a:lnTo>
                      <a:pt x="60650" y="19724"/>
                    </a:lnTo>
                    <a:cubicBezTo>
                      <a:pt x="38728" y="19724"/>
                      <a:pt x="20957" y="37495"/>
                      <a:pt x="20957" y="59417"/>
                    </a:cubicBezTo>
                    <a:lnTo>
                      <a:pt x="20957" y="258870"/>
                    </a:lnTo>
                    <a:cubicBezTo>
                      <a:pt x="20957" y="280792"/>
                      <a:pt x="38728" y="298563"/>
                      <a:pt x="60650" y="298563"/>
                    </a:cubicBezTo>
                    <a:lnTo>
                      <a:pt x="69652" y="298563"/>
                    </a:lnTo>
                    <a:lnTo>
                      <a:pt x="69652" y="319287"/>
                    </a:lnTo>
                    <a:lnTo>
                      <a:pt x="61230" y="319287"/>
                    </a:lnTo>
                    <a:cubicBezTo>
                      <a:pt x="27414" y="319287"/>
                      <a:pt x="0" y="291874"/>
                      <a:pt x="0" y="258057"/>
                    </a:cubicBezTo>
                    <a:lnTo>
                      <a:pt x="0" y="61230"/>
                    </a:lnTo>
                    <a:cubicBezTo>
                      <a:pt x="0" y="27414"/>
                      <a:pt x="27414" y="0"/>
                      <a:pt x="61230" y="0"/>
                    </a:cubicBezTo>
                    <a:close/>
                  </a:path>
                </a:pathLst>
              </a:custGeom>
              <a:solidFill>
                <a:srgbClr val="0078D7"/>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sp>
            <p:nvSpPr>
              <p:cNvPr id="61" name="Freeform: Shape 339">
                <a:extLst>
                  <a:ext uri="{FF2B5EF4-FFF2-40B4-BE49-F238E27FC236}">
                    <a16:creationId xmlns:a16="http://schemas.microsoft.com/office/drawing/2014/main" id="{37EC31AF-BED1-444B-9403-A3721206BF92}"/>
                  </a:ext>
                </a:extLst>
              </p:cNvPr>
              <p:cNvSpPr/>
              <p:nvPr/>
            </p:nvSpPr>
            <p:spPr>
              <a:xfrm>
                <a:off x="3382432" y="1335590"/>
                <a:ext cx="1959012" cy="1788347"/>
              </a:xfrm>
              <a:custGeom>
                <a:avLst/>
                <a:gdLst>
                  <a:gd name="connsiteX0" fmla="*/ 169583 w 1959012"/>
                  <a:gd name="connsiteY0" fmla="*/ 1054931 h 1788347"/>
                  <a:gd name="connsiteX1" fmla="*/ 339166 w 1959012"/>
                  <a:gd name="connsiteY1" fmla="*/ 1224514 h 1788347"/>
                  <a:gd name="connsiteX2" fmla="*/ 339166 w 1959012"/>
                  <a:gd name="connsiteY2" fmla="*/ 1618758 h 1788347"/>
                  <a:gd name="connsiteX3" fmla="*/ 169583 w 1959012"/>
                  <a:gd name="connsiteY3" fmla="*/ 1788341 h 1788347"/>
                  <a:gd name="connsiteX4" fmla="*/ 0 w 1959012"/>
                  <a:gd name="connsiteY4" fmla="*/ 1618758 h 1788347"/>
                  <a:gd name="connsiteX5" fmla="*/ 0 w 1959012"/>
                  <a:gd name="connsiteY5" fmla="*/ 1224514 h 1788347"/>
                  <a:gd name="connsiteX6" fmla="*/ 169583 w 1959012"/>
                  <a:gd name="connsiteY6" fmla="*/ 1054931 h 1788347"/>
                  <a:gd name="connsiteX7" fmla="*/ 1255480 w 1959012"/>
                  <a:gd name="connsiteY7" fmla="*/ 692010 h 1788347"/>
                  <a:gd name="connsiteX8" fmla="*/ 1425063 w 1959012"/>
                  <a:gd name="connsiteY8" fmla="*/ 861593 h 1788347"/>
                  <a:gd name="connsiteX9" fmla="*/ 1425063 w 1959012"/>
                  <a:gd name="connsiteY9" fmla="*/ 1618764 h 1788347"/>
                  <a:gd name="connsiteX10" fmla="*/ 1255480 w 1959012"/>
                  <a:gd name="connsiteY10" fmla="*/ 1788347 h 1788347"/>
                  <a:gd name="connsiteX11" fmla="*/ 1085897 w 1959012"/>
                  <a:gd name="connsiteY11" fmla="*/ 1618764 h 1788347"/>
                  <a:gd name="connsiteX12" fmla="*/ 1085897 w 1959012"/>
                  <a:gd name="connsiteY12" fmla="*/ 861593 h 1788347"/>
                  <a:gd name="connsiteX13" fmla="*/ 1255480 w 1959012"/>
                  <a:gd name="connsiteY13" fmla="*/ 692010 h 1788347"/>
                  <a:gd name="connsiteX14" fmla="*/ 712526 w 1959012"/>
                  <a:gd name="connsiteY14" fmla="*/ 438716 h 1788347"/>
                  <a:gd name="connsiteX15" fmla="*/ 882106 w 1959012"/>
                  <a:gd name="connsiteY15" fmla="*/ 608296 h 1788347"/>
                  <a:gd name="connsiteX16" fmla="*/ 882106 w 1959012"/>
                  <a:gd name="connsiteY16" fmla="*/ 1618767 h 1788347"/>
                  <a:gd name="connsiteX17" fmla="*/ 712526 w 1959012"/>
                  <a:gd name="connsiteY17" fmla="*/ 1788347 h 1788347"/>
                  <a:gd name="connsiteX18" fmla="*/ 542946 w 1959012"/>
                  <a:gd name="connsiteY18" fmla="*/ 1618767 h 1788347"/>
                  <a:gd name="connsiteX19" fmla="*/ 542946 w 1959012"/>
                  <a:gd name="connsiteY19" fmla="*/ 608296 h 1788347"/>
                  <a:gd name="connsiteX20" fmla="*/ 712526 w 1959012"/>
                  <a:gd name="connsiteY20" fmla="*/ 438716 h 1788347"/>
                  <a:gd name="connsiteX21" fmla="*/ 1789429 w 1959012"/>
                  <a:gd name="connsiteY21" fmla="*/ 0 h 1788347"/>
                  <a:gd name="connsiteX22" fmla="*/ 1959012 w 1959012"/>
                  <a:gd name="connsiteY22" fmla="*/ 169583 h 1788347"/>
                  <a:gd name="connsiteX23" fmla="*/ 1959012 w 1959012"/>
                  <a:gd name="connsiteY23" fmla="*/ 1618764 h 1788347"/>
                  <a:gd name="connsiteX24" fmla="*/ 1789429 w 1959012"/>
                  <a:gd name="connsiteY24" fmla="*/ 1788347 h 1788347"/>
                  <a:gd name="connsiteX25" fmla="*/ 1619846 w 1959012"/>
                  <a:gd name="connsiteY25" fmla="*/ 1618764 h 1788347"/>
                  <a:gd name="connsiteX26" fmla="*/ 1619846 w 1959012"/>
                  <a:gd name="connsiteY26" fmla="*/ 169583 h 1788347"/>
                  <a:gd name="connsiteX27" fmla="*/ 1789429 w 1959012"/>
                  <a:gd name="connsiteY27" fmla="*/ 0 h 178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9012" h="1788347">
                    <a:moveTo>
                      <a:pt x="169583" y="1054931"/>
                    </a:moveTo>
                    <a:cubicBezTo>
                      <a:pt x="263241" y="1054931"/>
                      <a:pt x="339166" y="1130856"/>
                      <a:pt x="339166" y="1224514"/>
                    </a:cubicBezTo>
                    <a:lnTo>
                      <a:pt x="339166" y="1618758"/>
                    </a:lnTo>
                    <a:cubicBezTo>
                      <a:pt x="339166" y="1712416"/>
                      <a:pt x="263241" y="1788341"/>
                      <a:pt x="169583" y="1788341"/>
                    </a:cubicBezTo>
                    <a:cubicBezTo>
                      <a:pt x="75925" y="1788341"/>
                      <a:pt x="0" y="1712416"/>
                      <a:pt x="0" y="1618758"/>
                    </a:cubicBezTo>
                    <a:lnTo>
                      <a:pt x="0" y="1224514"/>
                    </a:lnTo>
                    <a:cubicBezTo>
                      <a:pt x="0" y="1130856"/>
                      <a:pt x="75925" y="1054931"/>
                      <a:pt x="169583" y="1054931"/>
                    </a:cubicBezTo>
                    <a:close/>
                    <a:moveTo>
                      <a:pt x="1255480" y="692010"/>
                    </a:moveTo>
                    <a:cubicBezTo>
                      <a:pt x="1349138" y="692010"/>
                      <a:pt x="1425063" y="767935"/>
                      <a:pt x="1425063" y="861593"/>
                    </a:cubicBezTo>
                    <a:lnTo>
                      <a:pt x="1425063" y="1618764"/>
                    </a:lnTo>
                    <a:cubicBezTo>
                      <a:pt x="1425063" y="1712422"/>
                      <a:pt x="1349138" y="1788347"/>
                      <a:pt x="1255480" y="1788347"/>
                    </a:cubicBezTo>
                    <a:cubicBezTo>
                      <a:pt x="1161822" y="1788347"/>
                      <a:pt x="1085897" y="1712422"/>
                      <a:pt x="1085897" y="1618764"/>
                    </a:cubicBezTo>
                    <a:lnTo>
                      <a:pt x="1085897" y="861593"/>
                    </a:lnTo>
                    <a:cubicBezTo>
                      <a:pt x="1085897" y="767935"/>
                      <a:pt x="1161822" y="692010"/>
                      <a:pt x="1255480" y="692010"/>
                    </a:cubicBezTo>
                    <a:close/>
                    <a:moveTo>
                      <a:pt x="712526" y="438716"/>
                    </a:moveTo>
                    <a:cubicBezTo>
                      <a:pt x="806182" y="438716"/>
                      <a:pt x="882106" y="514640"/>
                      <a:pt x="882106" y="608296"/>
                    </a:cubicBezTo>
                    <a:lnTo>
                      <a:pt x="882106" y="1618767"/>
                    </a:lnTo>
                    <a:cubicBezTo>
                      <a:pt x="882106" y="1712423"/>
                      <a:pt x="806182" y="1788347"/>
                      <a:pt x="712526" y="1788347"/>
                    </a:cubicBezTo>
                    <a:cubicBezTo>
                      <a:pt x="618870" y="1788347"/>
                      <a:pt x="542946" y="1712423"/>
                      <a:pt x="542946" y="1618767"/>
                    </a:cubicBezTo>
                    <a:lnTo>
                      <a:pt x="542946" y="608296"/>
                    </a:lnTo>
                    <a:cubicBezTo>
                      <a:pt x="542946" y="514640"/>
                      <a:pt x="618870" y="438716"/>
                      <a:pt x="712526" y="438716"/>
                    </a:cubicBezTo>
                    <a:close/>
                    <a:moveTo>
                      <a:pt x="1789429" y="0"/>
                    </a:moveTo>
                    <a:cubicBezTo>
                      <a:pt x="1883087" y="0"/>
                      <a:pt x="1959012" y="75925"/>
                      <a:pt x="1959012" y="169583"/>
                    </a:cubicBezTo>
                    <a:lnTo>
                      <a:pt x="1959012" y="1618764"/>
                    </a:lnTo>
                    <a:cubicBezTo>
                      <a:pt x="1959012" y="1712422"/>
                      <a:pt x="1883087" y="1788347"/>
                      <a:pt x="1789429" y="1788347"/>
                    </a:cubicBezTo>
                    <a:cubicBezTo>
                      <a:pt x="1695771" y="1788347"/>
                      <a:pt x="1619846" y="1712422"/>
                      <a:pt x="1619846" y="1618764"/>
                    </a:cubicBezTo>
                    <a:lnTo>
                      <a:pt x="1619846" y="169583"/>
                    </a:lnTo>
                    <a:cubicBezTo>
                      <a:pt x="1619846" y="75925"/>
                      <a:pt x="1695771" y="0"/>
                      <a:pt x="1789429" y="0"/>
                    </a:cubicBezTo>
                    <a:close/>
                  </a:path>
                </a:pathLst>
              </a:custGeom>
              <a:solidFill>
                <a:srgbClr val="50E6FF"/>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grpSp>
      </p:grpSp>
      <p:grpSp>
        <p:nvGrpSpPr>
          <p:cNvPr id="88" name="Group 87">
            <a:extLst>
              <a:ext uri="{FF2B5EF4-FFF2-40B4-BE49-F238E27FC236}">
                <a16:creationId xmlns:a16="http://schemas.microsoft.com/office/drawing/2014/main" id="{854C39FA-609C-401B-87E3-8DD47A4202C8}"/>
              </a:ext>
            </a:extLst>
          </p:cNvPr>
          <p:cNvGrpSpPr/>
          <p:nvPr/>
        </p:nvGrpSpPr>
        <p:grpSpPr>
          <a:xfrm>
            <a:off x="2490882" y="4089603"/>
            <a:ext cx="1575344" cy="1272327"/>
            <a:chOff x="2489294" y="4089602"/>
            <a:chExt cx="1575344" cy="1272327"/>
          </a:xfrm>
        </p:grpSpPr>
        <p:sp>
          <p:nvSpPr>
            <p:cNvPr id="96" name="Rectangle 95">
              <a:extLst>
                <a:ext uri="{FF2B5EF4-FFF2-40B4-BE49-F238E27FC236}">
                  <a16:creationId xmlns:a16="http://schemas.microsoft.com/office/drawing/2014/main" id="{E58E37C9-2C00-4AEF-BE81-2772A2572DC1}"/>
                </a:ext>
              </a:extLst>
            </p:cNvPr>
            <p:cNvSpPr/>
            <p:nvPr/>
          </p:nvSpPr>
          <p:spPr bwMode="auto">
            <a:xfrm>
              <a:off x="2489294" y="4089602"/>
              <a:ext cx="1575344"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97" name="Graphic 96">
              <a:extLst>
                <a:ext uri="{FF2B5EF4-FFF2-40B4-BE49-F238E27FC236}">
                  <a16:creationId xmlns:a16="http://schemas.microsoft.com/office/drawing/2014/main" id="{04BAAE05-75D5-4189-B004-3A529241760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589519" y="4278408"/>
              <a:ext cx="360000" cy="360000"/>
            </a:xfrm>
            <a:prstGeom prst="rect">
              <a:avLst/>
            </a:prstGeom>
          </p:spPr>
        </p:pic>
        <p:sp>
          <p:nvSpPr>
            <p:cNvPr id="98" name="TextBox 97">
              <a:extLst>
                <a:ext uri="{FF2B5EF4-FFF2-40B4-BE49-F238E27FC236}">
                  <a16:creationId xmlns:a16="http://schemas.microsoft.com/office/drawing/2014/main" id="{DFE975CF-47C7-43CE-A885-6D44F9AC3ACA}"/>
                </a:ext>
              </a:extLst>
            </p:cNvPr>
            <p:cNvSpPr txBox="1"/>
            <p:nvPr/>
          </p:nvSpPr>
          <p:spPr>
            <a:xfrm>
              <a:off x="3085966" y="4306009"/>
              <a:ext cx="907398"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Factory</a:t>
              </a:r>
            </a:p>
          </p:txBody>
        </p:sp>
        <p:sp>
          <p:nvSpPr>
            <p:cNvPr id="99" name="TextBox 98">
              <a:extLst>
                <a:ext uri="{FF2B5EF4-FFF2-40B4-BE49-F238E27FC236}">
                  <a16:creationId xmlns:a16="http://schemas.microsoft.com/office/drawing/2014/main" id="{9B0F34B2-6ABA-46D1-83DF-49ECC3A760FD}"/>
                </a:ext>
              </a:extLst>
            </p:cNvPr>
            <p:cNvSpPr txBox="1"/>
            <p:nvPr/>
          </p:nvSpPr>
          <p:spPr>
            <a:xfrm>
              <a:off x="3078768" y="4846326"/>
              <a:ext cx="771498"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Synapse Analytics</a:t>
              </a:r>
            </a:p>
          </p:txBody>
        </p:sp>
        <p:pic>
          <p:nvPicPr>
            <p:cNvPr id="100" name="Graphic 99">
              <a:extLst>
                <a:ext uri="{FF2B5EF4-FFF2-40B4-BE49-F238E27FC236}">
                  <a16:creationId xmlns:a16="http://schemas.microsoft.com/office/drawing/2014/main" id="{2F0836BC-333A-4E6F-BEC0-91A16B7E43D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18043" y="4840444"/>
              <a:ext cx="313125" cy="360000"/>
            </a:xfrm>
            <a:prstGeom prst="rect">
              <a:avLst/>
            </a:prstGeom>
          </p:spPr>
        </p:pic>
      </p:grpSp>
    </p:spTree>
    <p:extLst>
      <p:ext uri="{BB962C8B-B14F-4D97-AF65-F5344CB8AC3E}">
        <p14:creationId xmlns:p14="http://schemas.microsoft.com/office/powerpoint/2010/main" val="2090246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21F7-19CD-6B4A-8900-FB4BCB77EC8A}"/>
              </a:ext>
            </a:extLst>
          </p:cNvPr>
          <p:cNvSpPr>
            <a:spLocks noGrp="1"/>
          </p:cNvSpPr>
          <p:nvPr>
            <p:ph type="title"/>
          </p:nvPr>
        </p:nvSpPr>
        <p:spPr/>
        <p:txBody>
          <a:bodyPr/>
          <a:lstStyle/>
          <a:p>
            <a:r>
              <a:rPr lang="en-US"/>
              <a:t>Going further with IoT Edge and SQL Edge</a:t>
            </a:r>
          </a:p>
        </p:txBody>
      </p:sp>
      <p:sp>
        <p:nvSpPr>
          <p:cNvPr id="50" name="Rectangle 49">
            <a:extLst>
              <a:ext uri="{FF2B5EF4-FFF2-40B4-BE49-F238E27FC236}">
                <a16:creationId xmlns:a16="http://schemas.microsoft.com/office/drawing/2014/main" id="{908E8CE3-58BA-479A-96E7-A5E5823D85DA}"/>
              </a:ext>
            </a:extLst>
          </p:cNvPr>
          <p:cNvSpPr/>
          <p:nvPr/>
        </p:nvSpPr>
        <p:spPr bwMode="auto">
          <a:xfrm>
            <a:off x="3355094" y="1468438"/>
            <a:ext cx="1430084" cy="3529351"/>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12" name="Group 11">
            <a:extLst>
              <a:ext uri="{FF2B5EF4-FFF2-40B4-BE49-F238E27FC236}">
                <a16:creationId xmlns:a16="http://schemas.microsoft.com/office/drawing/2014/main" id="{591E005E-A937-42D5-BD02-53B35F544AFC}"/>
              </a:ext>
            </a:extLst>
          </p:cNvPr>
          <p:cNvGrpSpPr/>
          <p:nvPr/>
        </p:nvGrpSpPr>
        <p:grpSpPr>
          <a:xfrm>
            <a:off x="3510491" y="2888789"/>
            <a:ext cx="1459797" cy="360000"/>
            <a:chOff x="4051094" y="3143895"/>
            <a:chExt cx="1459797" cy="360000"/>
          </a:xfrm>
        </p:grpSpPr>
        <p:sp>
          <p:nvSpPr>
            <p:cNvPr id="53" name="TextBox 52">
              <a:extLst>
                <a:ext uri="{FF2B5EF4-FFF2-40B4-BE49-F238E27FC236}">
                  <a16:creationId xmlns:a16="http://schemas.microsoft.com/office/drawing/2014/main" id="{0E30BD84-8BF0-4944-88C0-C34DAE64AD03}"/>
                </a:ext>
              </a:extLst>
            </p:cNvPr>
            <p:cNvSpPr txBox="1"/>
            <p:nvPr/>
          </p:nvSpPr>
          <p:spPr>
            <a:xfrm>
              <a:off x="4632938" y="3157739"/>
              <a:ext cx="877953" cy="332312"/>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IoT Hub</a:t>
              </a:r>
            </a:p>
          </p:txBody>
        </p:sp>
        <p:pic>
          <p:nvPicPr>
            <p:cNvPr id="54" name="Graphic 53">
              <a:extLst>
                <a:ext uri="{FF2B5EF4-FFF2-40B4-BE49-F238E27FC236}">
                  <a16:creationId xmlns:a16="http://schemas.microsoft.com/office/drawing/2014/main" id="{0B5D69B3-9DA5-42A7-A352-E348B834EA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1094" y="3143895"/>
              <a:ext cx="360000" cy="360000"/>
            </a:xfrm>
            <a:prstGeom prst="rect">
              <a:avLst/>
            </a:prstGeom>
          </p:spPr>
        </p:pic>
      </p:grpSp>
      <p:sp>
        <p:nvSpPr>
          <p:cNvPr id="65" name="Rectangle 64">
            <a:extLst>
              <a:ext uri="{FF2B5EF4-FFF2-40B4-BE49-F238E27FC236}">
                <a16:creationId xmlns:a16="http://schemas.microsoft.com/office/drawing/2014/main" id="{9DFC749E-EDE3-4735-8DB5-98C9D73CB2F5}"/>
              </a:ext>
            </a:extLst>
          </p:cNvPr>
          <p:cNvSpPr/>
          <p:nvPr/>
        </p:nvSpPr>
        <p:spPr bwMode="auto">
          <a:xfrm>
            <a:off x="5553838" y="1466811"/>
            <a:ext cx="3108256"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28" name="Graphic 27">
            <a:extLst>
              <a:ext uri="{FF2B5EF4-FFF2-40B4-BE49-F238E27FC236}">
                <a16:creationId xmlns:a16="http://schemas.microsoft.com/office/drawing/2014/main" id="{58D08A55-172F-4321-B76E-5FF84B9ECF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27212" y="1928871"/>
            <a:ext cx="360000" cy="360000"/>
          </a:xfrm>
          <a:prstGeom prst="rect">
            <a:avLst/>
          </a:prstGeom>
        </p:spPr>
      </p:pic>
      <p:cxnSp>
        <p:nvCxnSpPr>
          <p:cNvPr id="2048" name="Straight Arrow Connector 2047">
            <a:extLst>
              <a:ext uri="{FF2B5EF4-FFF2-40B4-BE49-F238E27FC236}">
                <a16:creationId xmlns:a16="http://schemas.microsoft.com/office/drawing/2014/main" id="{48FC0D36-3860-47C4-888F-562A99353B64}"/>
              </a:ext>
            </a:extLst>
          </p:cNvPr>
          <p:cNvCxnSpPr>
            <a:cxnSpLocks/>
          </p:cNvCxnSpPr>
          <p:nvPr/>
        </p:nvCxnSpPr>
        <p:spPr>
          <a:xfrm>
            <a:off x="4214052" y="4997788"/>
            <a:ext cx="0" cy="876068"/>
          </a:xfrm>
          <a:prstGeom prst="straightConnector1">
            <a:avLst/>
          </a:prstGeom>
          <a:noFill/>
          <a:ln w="19050" cap="flat" cmpd="sng" algn="ctr">
            <a:solidFill>
              <a:srgbClr val="000000"/>
            </a:solidFill>
            <a:prstDash val="solid"/>
            <a:headEnd type="none" w="lg" len="med"/>
            <a:tailEnd type="triangle" w="med" len="med"/>
          </a:ln>
          <a:effectLst/>
        </p:spPr>
      </p:cxnSp>
      <p:grpSp>
        <p:nvGrpSpPr>
          <p:cNvPr id="2078" name="Group 2077">
            <a:extLst>
              <a:ext uri="{FF2B5EF4-FFF2-40B4-BE49-F238E27FC236}">
                <a16:creationId xmlns:a16="http://schemas.microsoft.com/office/drawing/2014/main" id="{F2780D3B-3E3D-4C7B-BA1F-C0FF339D8A51}"/>
              </a:ext>
            </a:extLst>
          </p:cNvPr>
          <p:cNvGrpSpPr/>
          <p:nvPr/>
        </p:nvGrpSpPr>
        <p:grpSpPr>
          <a:xfrm>
            <a:off x="3355095" y="5881927"/>
            <a:ext cx="8254704" cy="791308"/>
            <a:chOff x="686507" y="6142892"/>
            <a:chExt cx="8254704" cy="791308"/>
          </a:xfrm>
        </p:grpSpPr>
        <p:sp>
          <p:nvSpPr>
            <p:cNvPr id="55" name="Rectangle 54">
              <a:extLst>
                <a:ext uri="{FF2B5EF4-FFF2-40B4-BE49-F238E27FC236}">
                  <a16:creationId xmlns:a16="http://schemas.microsoft.com/office/drawing/2014/main" id="{C06EF729-EA3D-4610-99C8-C942AF45A401}"/>
                </a:ext>
              </a:extLst>
            </p:cNvPr>
            <p:cNvSpPr/>
            <p:nvPr/>
          </p:nvSpPr>
          <p:spPr bwMode="auto">
            <a:xfrm>
              <a:off x="686507" y="6142892"/>
              <a:ext cx="8254704" cy="791308"/>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55" name="Group 2054">
              <a:extLst>
                <a:ext uri="{FF2B5EF4-FFF2-40B4-BE49-F238E27FC236}">
                  <a16:creationId xmlns:a16="http://schemas.microsoft.com/office/drawing/2014/main" id="{7EA480AF-11E2-4F28-8D26-F88C28BFD7EE}"/>
                </a:ext>
              </a:extLst>
            </p:cNvPr>
            <p:cNvGrpSpPr/>
            <p:nvPr/>
          </p:nvGrpSpPr>
          <p:grpSpPr>
            <a:xfrm>
              <a:off x="3704638" y="6358546"/>
              <a:ext cx="2218443" cy="367641"/>
              <a:chOff x="3476723" y="5710846"/>
              <a:chExt cx="2218443" cy="367641"/>
            </a:xfrm>
          </p:grpSpPr>
          <p:pic>
            <p:nvPicPr>
              <p:cNvPr id="18" name="Graphic 17">
                <a:extLst>
                  <a:ext uri="{FF2B5EF4-FFF2-40B4-BE49-F238E27FC236}">
                    <a16:creationId xmlns:a16="http://schemas.microsoft.com/office/drawing/2014/main" id="{36942917-ADCB-4A69-9BE2-9DD4E7BAA8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76723" y="5710846"/>
                <a:ext cx="360000" cy="360000"/>
              </a:xfrm>
              <a:prstGeom prst="rect">
                <a:avLst/>
              </a:prstGeom>
            </p:spPr>
          </p:pic>
          <p:sp>
            <p:nvSpPr>
              <p:cNvPr id="2054" name="TextBox 2053">
                <a:extLst>
                  <a:ext uri="{FF2B5EF4-FFF2-40B4-BE49-F238E27FC236}">
                    <a16:creationId xmlns:a16="http://schemas.microsoft.com/office/drawing/2014/main" id="{7200BAAA-A6E8-473D-96F7-96017DDF7517}"/>
                  </a:ext>
                </a:extLst>
              </p:cNvPr>
              <p:cNvSpPr txBox="1"/>
              <p:nvPr/>
            </p:nvSpPr>
            <p:spPr>
              <a:xfrm>
                <a:off x="4107562" y="5746088"/>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Lake Gen 2</a:t>
                </a:r>
              </a:p>
            </p:txBody>
          </p:sp>
        </p:grpSp>
      </p:grpSp>
      <p:cxnSp>
        <p:nvCxnSpPr>
          <p:cNvPr id="2059" name="Straight Arrow Connector 2058">
            <a:extLst>
              <a:ext uri="{FF2B5EF4-FFF2-40B4-BE49-F238E27FC236}">
                <a16:creationId xmlns:a16="http://schemas.microsoft.com/office/drawing/2014/main" id="{83E466FE-227B-4755-A92C-80A50BCDB1C6}"/>
              </a:ext>
            </a:extLst>
          </p:cNvPr>
          <p:cNvCxnSpPr>
            <a:cxnSpLocks/>
          </p:cNvCxnSpPr>
          <p:nvPr/>
        </p:nvCxnSpPr>
        <p:spPr>
          <a:xfrm>
            <a:off x="4785178" y="2117360"/>
            <a:ext cx="768660" cy="0"/>
          </a:xfrm>
          <a:prstGeom prst="straightConnector1">
            <a:avLst/>
          </a:prstGeom>
          <a:noFill/>
          <a:ln w="19050" cap="flat" cmpd="sng" algn="ctr">
            <a:solidFill>
              <a:srgbClr val="000000"/>
            </a:solidFill>
            <a:prstDash val="solid"/>
            <a:headEnd type="none" w="lg" len="med"/>
            <a:tailEnd type="triangle" w="med" len="med"/>
          </a:ln>
          <a:effectLst/>
        </p:spPr>
      </p:cxnSp>
      <p:sp>
        <p:nvSpPr>
          <p:cNvPr id="2062" name="TextBox 2061">
            <a:extLst>
              <a:ext uri="{FF2B5EF4-FFF2-40B4-BE49-F238E27FC236}">
                <a16:creationId xmlns:a16="http://schemas.microsoft.com/office/drawing/2014/main" id="{8D493B05-F15E-4599-95EE-34A9445E1381}"/>
              </a:ext>
            </a:extLst>
          </p:cNvPr>
          <p:cNvSpPr txBox="1"/>
          <p:nvPr/>
        </p:nvSpPr>
        <p:spPr>
          <a:xfrm>
            <a:off x="6551862" y="1938919"/>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tream Analytics</a:t>
            </a:r>
          </a:p>
        </p:txBody>
      </p:sp>
      <p:cxnSp>
        <p:nvCxnSpPr>
          <p:cNvPr id="64" name="Straight Arrow Connector 63">
            <a:extLst>
              <a:ext uri="{FF2B5EF4-FFF2-40B4-BE49-F238E27FC236}">
                <a16:creationId xmlns:a16="http://schemas.microsoft.com/office/drawing/2014/main" id="{2AA32156-55C4-4B88-9000-217C358FC6A6}"/>
              </a:ext>
            </a:extLst>
          </p:cNvPr>
          <p:cNvCxnSpPr>
            <a:cxnSpLocks/>
          </p:cNvCxnSpPr>
          <p:nvPr/>
        </p:nvCxnSpPr>
        <p:spPr>
          <a:xfrm flipH="1">
            <a:off x="5678284" y="5352795"/>
            <a:ext cx="4130" cy="506539"/>
          </a:xfrm>
          <a:prstGeom prst="straightConnector1">
            <a:avLst/>
          </a:prstGeom>
          <a:noFill/>
          <a:ln w="19050" cap="flat" cmpd="sng" algn="ctr">
            <a:solidFill>
              <a:srgbClr val="000000"/>
            </a:solidFill>
            <a:prstDash val="solid"/>
            <a:headEnd type="none" w="lg" len="med"/>
            <a:tailEnd type="triangle" w="med" len="med"/>
          </a:ln>
          <a:effectLst/>
        </p:spPr>
      </p:cxnSp>
      <p:cxnSp>
        <p:nvCxnSpPr>
          <p:cNvPr id="66" name="Straight Arrow Connector 65">
            <a:extLst>
              <a:ext uri="{FF2B5EF4-FFF2-40B4-BE49-F238E27FC236}">
                <a16:creationId xmlns:a16="http://schemas.microsoft.com/office/drawing/2014/main" id="{FD919623-A86A-457C-AAC0-3B1E725F0C3F}"/>
              </a:ext>
            </a:extLst>
          </p:cNvPr>
          <p:cNvCxnSpPr>
            <a:cxnSpLocks/>
          </p:cNvCxnSpPr>
          <p:nvPr/>
        </p:nvCxnSpPr>
        <p:spPr>
          <a:xfrm>
            <a:off x="6439121" y="5361930"/>
            <a:ext cx="0" cy="485727"/>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3" name="Group 92">
            <a:extLst>
              <a:ext uri="{FF2B5EF4-FFF2-40B4-BE49-F238E27FC236}">
                <a16:creationId xmlns:a16="http://schemas.microsoft.com/office/drawing/2014/main" id="{49B82087-B0BC-4848-B112-E4935CA6B607}"/>
              </a:ext>
            </a:extLst>
          </p:cNvPr>
          <p:cNvGrpSpPr/>
          <p:nvPr/>
        </p:nvGrpSpPr>
        <p:grpSpPr>
          <a:xfrm>
            <a:off x="8172798" y="4088613"/>
            <a:ext cx="3445565" cy="1286689"/>
            <a:chOff x="5495646" y="4424851"/>
            <a:chExt cx="3445565" cy="1286689"/>
          </a:xfrm>
        </p:grpSpPr>
        <p:sp>
          <p:nvSpPr>
            <p:cNvPr id="67" name="Rectangle 66">
              <a:extLst>
                <a:ext uri="{FF2B5EF4-FFF2-40B4-BE49-F238E27FC236}">
                  <a16:creationId xmlns:a16="http://schemas.microsoft.com/office/drawing/2014/main" id="{82929D9A-DEFC-4BC0-9A8D-289C9895D81D}"/>
                </a:ext>
              </a:extLst>
            </p:cNvPr>
            <p:cNvSpPr/>
            <p:nvPr/>
          </p:nvSpPr>
          <p:spPr bwMode="auto">
            <a:xfrm>
              <a:off x="5495646" y="4424851"/>
              <a:ext cx="3445565" cy="1286689"/>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2068" name="Group 2067">
              <a:extLst>
                <a:ext uri="{FF2B5EF4-FFF2-40B4-BE49-F238E27FC236}">
                  <a16:creationId xmlns:a16="http://schemas.microsoft.com/office/drawing/2014/main" id="{E19B705F-9126-4E4C-AB43-6379A32256CE}"/>
                </a:ext>
              </a:extLst>
            </p:cNvPr>
            <p:cNvGrpSpPr/>
            <p:nvPr/>
          </p:nvGrpSpPr>
          <p:grpSpPr>
            <a:xfrm>
              <a:off x="7372981" y="4931855"/>
              <a:ext cx="1537924" cy="360000"/>
              <a:chOff x="7249867" y="4208717"/>
              <a:chExt cx="1537924" cy="360000"/>
            </a:xfrm>
          </p:grpSpPr>
          <p:sp>
            <p:nvSpPr>
              <p:cNvPr id="2063" name="TextBox 2062">
                <a:extLst>
                  <a:ext uri="{FF2B5EF4-FFF2-40B4-BE49-F238E27FC236}">
                    <a16:creationId xmlns:a16="http://schemas.microsoft.com/office/drawing/2014/main" id="{951F593A-492A-4445-8CF9-895D09A17915}"/>
                  </a:ext>
                </a:extLst>
              </p:cNvPr>
              <p:cNvSpPr txBox="1"/>
              <p:nvPr/>
            </p:nvSpPr>
            <p:spPr>
              <a:xfrm>
                <a:off x="7635212" y="4215984"/>
                <a:ext cx="1152579"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ynapse Analytics</a:t>
                </a:r>
              </a:p>
            </p:txBody>
          </p:sp>
          <p:pic>
            <p:nvPicPr>
              <p:cNvPr id="2064" name="Graphic 2063">
                <a:extLst>
                  <a:ext uri="{FF2B5EF4-FFF2-40B4-BE49-F238E27FC236}">
                    <a16:creationId xmlns:a16="http://schemas.microsoft.com/office/drawing/2014/main" id="{DE92E9C4-4494-4B98-9DD4-A14CF475FCC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49867" y="4208717"/>
                <a:ext cx="313125" cy="360000"/>
              </a:xfrm>
              <a:prstGeom prst="rect">
                <a:avLst/>
              </a:prstGeom>
            </p:spPr>
          </p:pic>
        </p:grpSp>
        <p:grpSp>
          <p:nvGrpSpPr>
            <p:cNvPr id="2069" name="Group 2068">
              <a:extLst>
                <a:ext uri="{FF2B5EF4-FFF2-40B4-BE49-F238E27FC236}">
                  <a16:creationId xmlns:a16="http://schemas.microsoft.com/office/drawing/2014/main" id="{62D1B794-9A5A-4BD5-BF98-D4F751817994}"/>
                </a:ext>
              </a:extLst>
            </p:cNvPr>
            <p:cNvGrpSpPr/>
            <p:nvPr/>
          </p:nvGrpSpPr>
          <p:grpSpPr>
            <a:xfrm>
              <a:off x="5575782" y="4916599"/>
              <a:ext cx="1570303" cy="360000"/>
              <a:chOff x="5378138" y="4179766"/>
              <a:chExt cx="1570303" cy="360000"/>
            </a:xfrm>
          </p:grpSpPr>
          <p:pic>
            <p:nvPicPr>
              <p:cNvPr id="29" name="Graphic 28">
                <a:extLst>
                  <a:ext uri="{FF2B5EF4-FFF2-40B4-BE49-F238E27FC236}">
                    <a16:creationId xmlns:a16="http://schemas.microsoft.com/office/drawing/2014/main" id="{7A78BD5A-0E7A-4CE8-B21C-B7D8CAEC1E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78138" y="4179766"/>
                <a:ext cx="360000" cy="360000"/>
              </a:xfrm>
              <a:prstGeom prst="rect">
                <a:avLst/>
              </a:prstGeom>
            </p:spPr>
          </p:pic>
          <p:sp>
            <p:nvSpPr>
              <p:cNvPr id="68" name="TextBox 67">
                <a:extLst>
                  <a:ext uri="{FF2B5EF4-FFF2-40B4-BE49-F238E27FC236}">
                    <a16:creationId xmlns:a16="http://schemas.microsoft.com/office/drawing/2014/main" id="{D83A5F90-DABC-45C6-A5BD-DD16332B37EC}"/>
                  </a:ext>
                </a:extLst>
              </p:cNvPr>
              <p:cNvSpPr txBox="1"/>
              <p:nvPr/>
            </p:nvSpPr>
            <p:spPr>
              <a:xfrm>
                <a:off x="5795862" y="4206117"/>
                <a:ext cx="1152579" cy="332399"/>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Azure SQL Datawarehouse</a:t>
                </a:r>
              </a:p>
            </p:txBody>
          </p:sp>
        </p:grpSp>
      </p:grpSp>
      <p:cxnSp>
        <p:nvCxnSpPr>
          <p:cNvPr id="84" name="Straight Arrow Connector 83">
            <a:extLst>
              <a:ext uri="{FF2B5EF4-FFF2-40B4-BE49-F238E27FC236}">
                <a16:creationId xmlns:a16="http://schemas.microsoft.com/office/drawing/2014/main" id="{8420B9F6-867E-4A2C-8F59-7D0BEAF51070}"/>
              </a:ext>
            </a:extLst>
          </p:cNvPr>
          <p:cNvCxnSpPr>
            <a:cxnSpLocks/>
          </p:cNvCxnSpPr>
          <p:nvPr/>
        </p:nvCxnSpPr>
        <p:spPr>
          <a:xfrm>
            <a:off x="8498570" y="2753500"/>
            <a:ext cx="0" cy="1281029"/>
          </a:xfrm>
          <a:prstGeom prst="straightConnector1">
            <a:avLst/>
          </a:prstGeom>
          <a:noFill/>
          <a:ln w="19050" cap="flat" cmpd="sng" algn="ctr">
            <a:solidFill>
              <a:srgbClr val="000000"/>
            </a:solidFill>
            <a:prstDash val="solid"/>
            <a:headEnd type="none" w="lg" len="med"/>
            <a:tailEnd type="triangle" w="med" len="med"/>
          </a:ln>
          <a:effectLst/>
        </p:spPr>
      </p:cxnSp>
      <p:cxnSp>
        <p:nvCxnSpPr>
          <p:cNvPr id="85" name="Straight Arrow Connector 84">
            <a:extLst>
              <a:ext uri="{FF2B5EF4-FFF2-40B4-BE49-F238E27FC236}">
                <a16:creationId xmlns:a16="http://schemas.microsoft.com/office/drawing/2014/main" id="{F5102098-353B-4C88-86B7-9FAA84A7E80A}"/>
              </a:ext>
            </a:extLst>
          </p:cNvPr>
          <p:cNvCxnSpPr>
            <a:cxnSpLocks/>
          </p:cNvCxnSpPr>
          <p:nvPr/>
        </p:nvCxnSpPr>
        <p:spPr>
          <a:xfrm>
            <a:off x="9715963" y="5398798"/>
            <a:ext cx="0" cy="483922"/>
          </a:xfrm>
          <a:prstGeom prst="straightConnector1">
            <a:avLst/>
          </a:prstGeom>
          <a:noFill/>
          <a:ln w="19050" cap="flat" cmpd="sng" algn="ctr">
            <a:solidFill>
              <a:srgbClr val="000000"/>
            </a:solidFill>
            <a:prstDash val="solid"/>
            <a:headEnd type="none" w="lg" len="med"/>
            <a:tailEnd type="triangle" w="med" len="med"/>
          </a:ln>
          <a:effectLst/>
        </p:spPr>
      </p:cxnSp>
      <p:cxnSp>
        <p:nvCxnSpPr>
          <p:cNvPr id="86" name="Straight Arrow Connector 85">
            <a:extLst>
              <a:ext uri="{FF2B5EF4-FFF2-40B4-BE49-F238E27FC236}">
                <a16:creationId xmlns:a16="http://schemas.microsoft.com/office/drawing/2014/main" id="{D9846E3A-2378-4E97-90D9-2DA48D546DD6}"/>
              </a:ext>
            </a:extLst>
          </p:cNvPr>
          <p:cNvCxnSpPr>
            <a:cxnSpLocks/>
          </p:cNvCxnSpPr>
          <p:nvPr/>
        </p:nvCxnSpPr>
        <p:spPr>
          <a:xfrm>
            <a:off x="10188358" y="5375302"/>
            <a:ext cx="0" cy="507419"/>
          </a:xfrm>
          <a:prstGeom prst="straightConnector1">
            <a:avLst/>
          </a:prstGeom>
          <a:noFill/>
          <a:ln w="19050" cap="flat" cmpd="sng" algn="ctr">
            <a:solidFill>
              <a:srgbClr val="000000"/>
            </a:solidFill>
            <a:prstDash val="solid"/>
            <a:headEnd type="triangle" w="med" len="med"/>
            <a:tailEnd type="none" w="med" len="med"/>
          </a:ln>
          <a:effectLst/>
        </p:spPr>
      </p:cxnSp>
      <p:grpSp>
        <p:nvGrpSpPr>
          <p:cNvPr id="92" name="Group 91">
            <a:extLst>
              <a:ext uri="{FF2B5EF4-FFF2-40B4-BE49-F238E27FC236}">
                <a16:creationId xmlns:a16="http://schemas.microsoft.com/office/drawing/2014/main" id="{F96AB8BA-5C0C-4FB2-99F7-6EF5F43C2647}"/>
              </a:ext>
            </a:extLst>
          </p:cNvPr>
          <p:cNvGrpSpPr/>
          <p:nvPr/>
        </p:nvGrpSpPr>
        <p:grpSpPr>
          <a:xfrm>
            <a:off x="7023624" y="4091404"/>
            <a:ext cx="906891" cy="1272327"/>
            <a:chOff x="4346472" y="4427642"/>
            <a:chExt cx="906891" cy="1272327"/>
          </a:xfrm>
        </p:grpSpPr>
        <p:sp>
          <p:nvSpPr>
            <p:cNvPr id="87" name="Rectangle 86">
              <a:extLst>
                <a:ext uri="{FF2B5EF4-FFF2-40B4-BE49-F238E27FC236}">
                  <a16:creationId xmlns:a16="http://schemas.microsoft.com/office/drawing/2014/main" id="{C93BDA40-2B2A-42B7-8798-4CC7E1FA647A}"/>
                </a:ext>
              </a:extLst>
            </p:cNvPr>
            <p:cNvSpPr/>
            <p:nvPr/>
          </p:nvSpPr>
          <p:spPr bwMode="auto">
            <a:xfrm>
              <a:off x="4346472" y="4427642"/>
              <a:ext cx="906891"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13" name="Graphic 12">
              <a:extLst>
                <a:ext uri="{FF2B5EF4-FFF2-40B4-BE49-F238E27FC236}">
                  <a16:creationId xmlns:a16="http://schemas.microsoft.com/office/drawing/2014/main" id="{B6EE4014-0BC6-4208-8F16-730663E254A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04869" y="4792328"/>
              <a:ext cx="360000" cy="360000"/>
            </a:xfrm>
            <a:prstGeom prst="rect">
              <a:avLst/>
            </a:prstGeom>
          </p:spPr>
        </p:pic>
        <p:sp>
          <p:nvSpPr>
            <p:cNvPr id="89" name="TextBox 88">
              <a:extLst>
                <a:ext uri="{FF2B5EF4-FFF2-40B4-BE49-F238E27FC236}">
                  <a16:creationId xmlns:a16="http://schemas.microsoft.com/office/drawing/2014/main" id="{D1E29D12-C807-437F-AC78-383EEE5CA250}"/>
                </a:ext>
              </a:extLst>
            </p:cNvPr>
            <p:cNvSpPr txBox="1"/>
            <p:nvPr/>
          </p:nvSpPr>
          <p:spPr>
            <a:xfrm>
              <a:off x="4522733" y="5251656"/>
              <a:ext cx="524271" cy="332399"/>
            </a:xfrm>
            <a:prstGeom prst="rect">
              <a:avLst/>
            </a:prstGeom>
            <a:noFill/>
          </p:spPr>
          <p:txBody>
            <a:bodyPr wrap="square" lIns="0" tIns="0" rIns="0" bIns="0" rtlCol="0">
              <a:spAutoFit/>
            </a:bodyPr>
            <a:lstStyle/>
            <a:p>
              <a:pPr algn="ct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QL</a:t>
              </a:r>
            </a:p>
          </p:txBody>
        </p:sp>
      </p:grpSp>
      <p:cxnSp>
        <p:nvCxnSpPr>
          <p:cNvPr id="91" name="Straight Arrow Connector 90">
            <a:extLst>
              <a:ext uri="{FF2B5EF4-FFF2-40B4-BE49-F238E27FC236}">
                <a16:creationId xmlns:a16="http://schemas.microsoft.com/office/drawing/2014/main" id="{2E7AE7E5-DEA3-4EF8-9075-5F49F793A41D}"/>
              </a:ext>
            </a:extLst>
          </p:cNvPr>
          <p:cNvCxnSpPr>
            <a:cxnSpLocks/>
          </p:cNvCxnSpPr>
          <p:nvPr/>
        </p:nvCxnSpPr>
        <p:spPr>
          <a:xfrm>
            <a:off x="7363106" y="2753500"/>
            <a:ext cx="0" cy="1335113"/>
          </a:xfrm>
          <a:prstGeom prst="straightConnector1">
            <a:avLst/>
          </a:prstGeom>
          <a:noFill/>
          <a:ln w="19050" cap="flat" cmpd="sng" algn="ctr">
            <a:solidFill>
              <a:srgbClr val="000000"/>
            </a:solidFill>
            <a:prstDash val="solid"/>
            <a:headEnd type="none" w="lg" len="med"/>
            <a:tailEnd type="triangle" w="med" len="med"/>
          </a:ln>
          <a:effectLst/>
        </p:spPr>
      </p:cxnSp>
      <p:cxnSp>
        <p:nvCxnSpPr>
          <p:cNvPr id="111" name="Straight Arrow Connector 110">
            <a:extLst>
              <a:ext uri="{FF2B5EF4-FFF2-40B4-BE49-F238E27FC236}">
                <a16:creationId xmlns:a16="http://schemas.microsoft.com/office/drawing/2014/main" id="{BDE5A235-E5BA-4014-9748-ACA9B679D902}"/>
              </a:ext>
            </a:extLst>
          </p:cNvPr>
          <p:cNvCxnSpPr>
            <a:cxnSpLocks/>
          </p:cNvCxnSpPr>
          <p:nvPr/>
        </p:nvCxnSpPr>
        <p:spPr>
          <a:xfrm>
            <a:off x="7633457" y="3860026"/>
            <a:ext cx="0" cy="228587"/>
          </a:xfrm>
          <a:prstGeom prst="straightConnector1">
            <a:avLst/>
          </a:prstGeom>
          <a:noFill/>
          <a:ln w="19050" cap="flat" cmpd="sng" algn="ctr">
            <a:solidFill>
              <a:srgbClr val="000000"/>
            </a:solidFill>
            <a:prstDash val="solid"/>
            <a:headEnd type="none" w="lg" len="med"/>
            <a:tailEnd type="triangle" w="med" len="med"/>
          </a:ln>
          <a:effectLst/>
        </p:spPr>
      </p:cxnSp>
      <p:grpSp>
        <p:nvGrpSpPr>
          <p:cNvPr id="95" name="Group 94">
            <a:extLst>
              <a:ext uri="{FF2B5EF4-FFF2-40B4-BE49-F238E27FC236}">
                <a16:creationId xmlns:a16="http://schemas.microsoft.com/office/drawing/2014/main" id="{9C80676B-4525-4D77-B1DE-CBA5D10209FF}"/>
              </a:ext>
            </a:extLst>
          </p:cNvPr>
          <p:cNvGrpSpPr/>
          <p:nvPr/>
        </p:nvGrpSpPr>
        <p:grpSpPr>
          <a:xfrm>
            <a:off x="5560449" y="3036082"/>
            <a:ext cx="3052481" cy="754007"/>
            <a:chOff x="2885249" y="3163451"/>
            <a:chExt cx="3052481" cy="754007"/>
          </a:xfrm>
        </p:grpSpPr>
        <p:sp>
          <p:nvSpPr>
            <p:cNvPr id="116" name="Rectangle 115">
              <a:extLst>
                <a:ext uri="{FF2B5EF4-FFF2-40B4-BE49-F238E27FC236}">
                  <a16:creationId xmlns:a16="http://schemas.microsoft.com/office/drawing/2014/main" id="{8071C4AA-F47E-4433-BD73-06B070257543}"/>
                </a:ext>
              </a:extLst>
            </p:cNvPr>
            <p:cNvSpPr/>
            <p:nvPr/>
          </p:nvSpPr>
          <p:spPr bwMode="auto">
            <a:xfrm>
              <a:off x="2885249" y="3163451"/>
              <a:ext cx="3052481" cy="75400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94" name="Group 93">
              <a:extLst>
                <a:ext uri="{FF2B5EF4-FFF2-40B4-BE49-F238E27FC236}">
                  <a16:creationId xmlns:a16="http://schemas.microsoft.com/office/drawing/2014/main" id="{876F4413-D318-4761-97B8-8C4F7BAD7CB2}"/>
                </a:ext>
              </a:extLst>
            </p:cNvPr>
            <p:cNvGrpSpPr/>
            <p:nvPr/>
          </p:nvGrpSpPr>
          <p:grpSpPr>
            <a:xfrm>
              <a:off x="3763922" y="3345781"/>
              <a:ext cx="1334847" cy="360000"/>
              <a:chOff x="3763922" y="3345781"/>
              <a:chExt cx="1334847" cy="360000"/>
            </a:xfrm>
          </p:grpSpPr>
          <p:pic>
            <p:nvPicPr>
              <p:cNvPr id="2066" name="Graphic 2065">
                <a:extLst>
                  <a:ext uri="{FF2B5EF4-FFF2-40B4-BE49-F238E27FC236}">
                    <a16:creationId xmlns:a16="http://schemas.microsoft.com/office/drawing/2014/main" id="{A4108ED1-9D20-4D51-BC42-883D25CEF99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763922" y="3345781"/>
                <a:ext cx="360000" cy="360000"/>
              </a:xfrm>
              <a:prstGeom prst="rect">
                <a:avLst/>
              </a:prstGeom>
            </p:spPr>
          </p:pic>
          <p:sp>
            <p:nvSpPr>
              <p:cNvPr id="119" name="TextBox 118">
                <a:extLst>
                  <a:ext uri="{FF2B5EF4-FFF2-40B4-BE49-F238E27FC236}">
                    <a16:creationId xmlns:a16="http://schemas.microsoft.com/office/drawing/2014/main" id="{40691262-3D00-43E0-9970-139F05CC36E1}"/>
                  </a:ext>
                </a:extLst>
              </p:cNvPr>
              <p:cNvSpPr txBox="1"/>
              <p:nvPr/>
            </p:nvSpPr>
            <p:spPr>
              <a:xfrm>
                <a:off x="4191371" y="3364575"/>
                <a:ext cx="907398"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Time Series Insights</a:t>
                </a:r>
              </a:p>
            </p:txBody>
          </p:sp>
        </p:grpSp>
      </p:grpSp>
      <p:cxnSp>
        <p:nvCxnSpPr>
          <p:cNvPr id="122" name="Straight Arrow Connector 121">
            <a:extLst>
              <a:ext uri="{FF2B5EF4-FFF2-40B4-BE49-F238E27FC236}">
                <a16:creationId xmlns:a16="http://schemas.microsoft.com/office/drawing/2014/main" id="{79B296E7-F04C-40A9-A445-185261CA1C3E}"/>
              </a:ext>
            </a:extLst>
          </p:cNvPr>
          <p:cNvCxnSpPr>
            <a:cxnSpLocks/>
          </p:cNvCxnSpPr>
          <p:nvPr/>
        </p:nvCxnSpPr>
        <p:spPr>
          <a:xfrm>
            <a:off x="4791788" y="3446338"/>
            <a:ext cx="768660" cy="0"/>
          </a:xfrm>
          <a:prstGeom prst="straightConnector1">
            <a:avLst/>
          </a:prstGeom>
          <a:noFill/>
          <a:ln w="19050" cap="flat" cmpd="sng" algn="ctr">
            <a:solidFill>
              <a:srgbClr val="000000"/>
            </a:solidFill>
            <a:prstDash val="solid"/>
            <a:headEnd type="none" w="lg" len="med"/>
            <a:tailEnd type="triangle" w="med" len="med"/>
          </a:ln>
          <a:effectLst/>
        </p:spPr>
      </p:cxnSp>
      <p:sp>
        <p:nvSpPr>
          <p:cNvPr id="3" name="Rectangle 2">
            <a:extLst>
              <a:ext uri="{FF2B5EF4-FFF2-40B4-BE49-F238E27FC236}">
                <a16:creationId xmlns:a16="http://schemas.microsoft.com/office/drawing/2014/main" id="{C796A420-C3A4-489C-BE18-5C9A532D2241}"/>
              </a:ext>
            </a:extLst>
          </p:cNvPr>
          <p:cNvSpPr/>
          <p:nvPr/>
        </p:nvSpPr>
        <p:spPr>
          <a:xfrm>
            <a:off x="430214" y="1390651"/>
            <a:ext cx="2385539" cy="2990850"/>
          </a:xfrm>
          <a:prstGeom prst="rect">
            <a:avLst/>
          </a:prstGeom>
          <a:solidFill>
            <a:schemeClr val="bg1">
              <a:lumMod val="95000"/>
            </a:schemeClr>
          </a:solidFill>
          <a:ln w="57150"/>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2667" hangingPunct="0">
              <a:lnSpc>
                <a:spcPct val="70000"/>
              </a:lnSpc>
            </a:pPr>
            <a:endParaRPr lang="en-GB" sz="5599" kern="0" spc="-112">
              <a:solidFill>
                <a:srgbClr val="FFFFFF"/>
              </a:solidFill>
              <a:latin typeface="Calibri" panose="020F0502020204030204"/>
              <a:sym typeface="Segoe UI Semibold"/>
            </a:endParaRPr>
          </a:p>
        </p:txBody>
      </p:sp>
      <p:cxnSp>
        <p:nvCxnSpPr>
          <p:cNvPr id="88" name="Straight Arrow Connector 87">
            <a:extLst>
              <a:ext uri="{FF2B5EF4-FFF2-40B4-BE49-F238E27FC236}">
                <a16:creationId xmlns:a16="http://schemas.microsoft.com/office/drawing/2014/main" id="{43A88EA4-4426-4267-9EF7-F45035F228BA}"/>
              </a:ext>
            </a:extLst>
          </p:cNvPr>
          <p:cNvCxnSpPr>
            <a:cxnSpLocks/>
          </p:cNvCxnSpPr>
          <p:nvPr/>
        </p:nvCxnSpPr>
        <p:spPr>
          <a:xfrm>
            <a:off x="2815753" y="2101120"/>
            <a:ext cx="471961" cy="0"/>
          </a:xfrm>
          <a:prstGeom prst="straightConnector1">
            <a:avLst/>
          </a:prstGeom>
          <a:noFill/>
          <a:ln w="19050" cap="flat" cmpd="sng" algn="ctr">
            <a:solidFill>
              <a:srgbClr val="000000"/>
            </a:solidFill>
            <a:prstDash val="solid"/>
            <a:headEnd type="none" w="lg" len="med"/>
            <a:tailEnd type="triangle" w="med" len="med"/>
          </a:ln>
          <a:effectLst/>
        </p:spPr>
      </p:cxnSp>
      <p:sp>
        <p:nvSpPr>
          <p:cNvPr id="6" name="Rectangle 5">
            <a:extLst>
              <a:ext uri="{FF2B5EF4-FFF2-40B4-BE49-F238E27FC236}">
                <a16:creationId xmlns:a16="http://schemas.microsoft.com/office/drawing/2014/main" id="{396DA43D-B3D9-471C-92CD-52EF353A9C3E}"/>
              </a:ext>
            </a:extLst>
          </p:cNvPr>
          <p:cNvSpPr/>
          <p:nvPr/>
        </p:nvSpPr>
        <p:spPr bwMode="auto">
          <a:xfrm>
            <a:off x="585229" y="2207141"/>
            <a:ext cx="1997789" cy="823344"/>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11" name="Group 10">
            <a:extLst>
              <a:ext uri="{FF2B5EF4-FFF2-40B4-BE49-F238E27FC236}">
                <a16:creationId xmlns:a16="http://schemas.microsoft.com/office/drawing/2014/main" id="{4177D7BD-E225-4C88-9AC1-08602BF6BE51}"/>
              </a:ext>
            </a:extLst>
          </p:cNvPr>
          <p:cNvGrpSpPr/>
          <p:nvPr/>
        </p:nvGrpSpPr>
        <p:grpSpPr>
          <a:xfrm>
            <a:off x="697884" y="2475205"/>
            <a:ext cx="2112254" cy="360000"/>
            <a:chOff x="9353135" y="909696"/>
            <a:chExt cx="2112254" cy="360000"/>
          </a:xfrm>
        </p:grpSpPr>
        <p:pic>
          <p:nvPicPr>
            <p:cNvPr id="8" name="Graphic 7">
              <a:extLst>
                <a:ext uri="{FF2B5EF4-FFF2-40B4-BE49-F238E27FC236}">
                  <a16:creationId xmlns:a16="http://schemas.microsoft.com/office/drawing/2014/main" id="{10C6EE8E-2AF5-4CD0-84CF-86DF3A9199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53135" y="909696"/>
              <a:ext cx="360000" cy="360000"/>
            </a:xfrm>
            <a:prstGeom prst="rect">
              <a:avLst/>
            </a:prstGeom>
          </p:spPr>
        </p:pic>
        <p:sp>
          <p:nvSpPr>
            <p:cNvPr id="10" name="TextBox 9">
              <a:extLst>
                <a:ext uri="{FF2B5EF4-FFF2-40B4-BE49-F238E27FC236}">
                  <a16:creationId xmlns:a16="http://schemas.microsoft.com/office/drawing/2014/main" id="{EEDC29C8-49D6-42E7-AF22-C9E54A892029}"/>
                </a:ext>
              </a:extLst>
            </p:cNvPr>
            <p:cNvSpPr txBox="1"/>
            <p:nvPr/>
          </p:nvSpPr>
          <p:spPr>
            <a:xfrm>
              <a:off x="9877785" y="919743"/>
              <a:ext cx="1587604"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Edg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tream Analytics</a:t>
              </a:r>
            </a:p>
          </p:txBody>
        </p:sp>
      </p:grpSp>
      <p:sp>
        <p:nvSpPr>
          <p:cNvPr id="100" name="Rectangle 99">
            <a:extLst>
              <a:ext uri="{FF2B5EF4-FFF2-40B4-BE49-F238E27FC236}">
                <a16:creationId xmlns:a16="http://schemas.microsoft.com/office/drawing/2014/main" id="{87FE6588-67E3-4D6F-B8E0-D3D9D7C7968D}"/>
              </a:ext>
            </a:extLst>
          </p:cNvPr>
          <p:cNvSpPr/>
          <p:nvPr/>
        </p:nvSpPr>
        <p:spPr bwMode="auto">
          <a:xfrm>
            <a:off x="585228" y="3167993"/>
            <a:ext cx="1975386" cy="82083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101" name="Graphic 100">
            <a:extLst>
              <a:ext uri="{FF2B5EF4-FFF2-40B4-BE49-F238E27FC236}">
                <a16:creationId xmlns:a16="http://schemas.microsoft.com/office/drawing/2014/main" id="{225979DB-B6F9-4531-BE5E-7156A320210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2169" y="3394013"/>
            <a:ext cx="360000" cy="360000"/>
          </a:xfrm>
          <a:prstGeom prst="rect">
            <a:avLst/>
          </a:prstGeom>
        </p:spPr>
      </p:pic>
      <p:sp>
        <p:nvSpPr>
          <p:cNvPr id="102" name="TextBox 101">
            <a:extLst>
              <a:ext uri="{FF2B5EF4-FFF2-40B4-BE49-F238E27FC236}">
                <a16:creationId xmlns:a16="http://schemas.microsoft.com/office/drawing/2014/main" id="{5CC54770-7121-4E5D-9E54-EACA8B17231D}"/>
              </a:ext>
            </a:extLst>
          </p:cNvPr>
          <p:cNvSpPr txBox="1"/>
          <p:nvPr/>
        </p:nvSpPr>
        <p:spPr>
          <a:xfrm>
            <a:off x="1178059" y="3438135"/>
            <a:ext cx="930906"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SQL Edge</a:t>
            </a:r>
          </a:p>
        </p:txBody>
      </p:sp>
      <p:sp>
        <p:nvSpPr>
          <p:cNvPr id="14" name="TextBox 13">
            <a:extLst>
              <a:ext uri="{FF2B5EF4-FFF2-40B4-BE49-F238E27FC236}">
                <a16:creationId xmlns:a16="http://schemas.microsoft.com/office/drawing/2014/main" id="{859BC6C4-1DB2-4532-A56E-FAE4A689961C}"/>
              </a:ext>
            </a:extLst>
          </p:cNvPr>
          <p:cNvSpPr txBox="1"/>
          <p:nvPr/>
        </p:nvSpPr>
        <p:spPr>
          <a:xfrm>
            <a:off x="503268" y="1539066"/>
            <a:ext cx="1743426" cy="399853"/>
          </a:xfrm>
          <a:prstGeom prst="rect">
            <a:avLst/>
          </a:prstGeom>
          <a:noFill/>
        </p:spPr>
        <p:txBody>
          <a:bodyPr wrap="none" rtlCol="0">
            <a:spAutoFit/>
          </a:bodyPr>
          <a:lstStyle/>
          <a:p>
            <a:pPr defTabSz="412667" hangingPunct="0">
              <a:lnSpc>
                <a:spcPct val="70000"/>
              </a:lnSpc>
            </a:pPr>
            <a:r>
              <a:rPr lang="fr-FR" sz="2800" kern="0" spc="-112">
                <a:solidFill>
                  <a:srgbClr val="008575"/>
                </a:solidFill>
                <a:latin typeface="Segoe UI Semibold" panose="020B0702040204020203" pitchFamily="34" charset="0"/>
                <a:cs typeface="Segoe UI Semibold" panose="020B0702040204020203" pitchFamily="34" charset="0"/>
                <a:sym typeface="Segoe UI Semibold"/>
              </a:rPr>
              <a:t>IoT </a:t>
            </a:r>
            <a:r>
              <a:rPr lang="fr-FR" sz="2800" kern="0" spc="-112" err="1">
                <a:solidFill>
                  <a:srgbClr val="008575"/>
                </a:solidFill>
                <a:latin typeface="Segoe UI Semibold" panose="020B0702040204020203" pitchFamily="34" charset="0"/>
                <a:cs typeface="Segoe UI Semibold" panose="020B0702040204020203" pitchFamily="34" charset="0"/>
                <a:sym typeface="Segoe UI Semibold"/>
              </a:rPr>
              <a:t>Device</a:t>
            </a:r>
            <a:endParaRPr lang="en-GB" sz="2800" kern="0" spc="-112">
              <a:solidFill>
                <a:srgbClr val="008575"/>
              </a:solidFill>
              <a:latin typeface="Segoe UI Semibold" panose="020B0702040204020203" pitchFamily="34" charset="0"/>
              <a:cs typeface="Segoe UI Semibold" panose="020B0702040204020203" pitchFamily="34" charset="0"/>
              <a:sym typeface="Segoe UI Semibold"/>
            </a:endParaRPr>
          </a:p>
        </p:txBody>
      </p:sp>
      <p:grpSp>
        <p:nvGrpSpPr>
          <p:cNvPr id="56" name="Group 55">
            <a:extLst>
              <a:ext uri="{FF2B5EF4-FFF2-40B4-BE49-F238E27FC236}">
                <a16:creationId xmlns:a16="http://schemas.microsoft.com/office/drawing/2014/main" id="{0F15D597-8DEA-4327-87E6-CD7CB43E4FC6}"/>
              </a:ext>
            </a:extLst>
          </p:cNvPr>
          <p:cNvGrpSpPr/>
          <p:nvPr/>
        </p:nvGrpSpPr>
        <p:grpSpPr>
          <a:xfrm>
            <a:off x="5308328" y="4095793"/>
            <a:ext cx="1575344" cy="1272327"/>
            <a:chOff x="2489294" y="4089602"/>
            <a:chExt cx="1575344" cy="1272327"/>
          </a:xfrm>
        </p:grpSpPr>
        <p:sp>
          <p:nvSpPr>
            <p:cNvPr id="57" name="Rectangle 56">
              <a:extLst>
                <a:ext uri="{FF2B5EF4-FFF2-40B4-BE49-F238E27FC236}">
                  <a16:creationId xmlns:a16="http://schemas.microsoft.com/office/drawing/2014/main" id="{F3103140-B8E3-4DDF-A638-A884013AD471}"/>
                </a:ext>
              </a:extLst>
            </p:cNvPr>
            <p:cNvSpPr/>
            <p:nvPr/>
          </p:nvSpPr>
          <p:spPr bwMode="auto">
            <a:xfrm>
              <a:off x="2489294" y="4089602"/>
              <a:ext cx="1575344" cy="1272327"/>
            </a:xfrm>
            <a:prstGeom prst="rect">
              <a:avLst/>
            </a:prstGeom>
            <a:solidFill>
              <a:schemeClr val="bg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pic>
          <p:nvPicPr>
            <p:cNvPr id="58" name="Graphic 57">
              <a:extLst>
                <a:ext uri="{FF2B5EF4-FFF2-40B4-BE49-F238E27FC236}">
                  <a16:creationId xmlns:a16="http://schemas.microsoft.com/office/drawing/2014/main" id="{17879092-B704-4833-82BC-D4D4F593093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589519" y="4278408"/>
              <a:ext cx="360000" cy="360000"/>
            </a:xfrm>
            <a:prstGeom prst="rect">
              <a:avLst/>
            </a:prstGeom>
          </p:spPr>
        </p:pic>
        <p:sp>
          <p:nvSpPr>
            <p:cNvPr id="59" name="TextBox 58">
              <a:extLst>
                <a:ext uri="{FF2B5EF4-FFF2-40B4-BE49-F238E27FC236}">
                  <a16:creationId xmlns:a16="http://schemas.microsoft.com/office/drawing/2014/main" id="{1A56A473-2968-4262-BAA1-CB2CCCF3F5CF}"/>
                </a:ext>
              </a:extLst>
            </p:cNvPr>
            <p:cNvSpPr txBox="1"/>
            <p:nvPr/>
          </p:nvSpPr>
          <p:spPr>
            <a:xfrm>
              <a:off x="3085966" y="4306009"/>
              <a:ext cx="907398" cy="332399"/>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Data Factory</a:t>
              </a:r>
            </a:p>
          </p:txBody>
        </p:sp>
        <p:sp>
          <p:nvSpPr>
            <p:cNvPr id="60" name="TextBox 59">
              <a:extLst>
                <a:ext uri="{FF2B5EF4-FFF2-40B4-BE49-F238E27FC236}">
                  <a16:creationId xmlns:a16="http://schemas.microsoft.com/office/drawing/2014/main" id="{1916C279-2E66-4719-99A6-D9F3916FB406}"/>
                </a:ext>
              </a:extLst>
            </p:cNvPr>
            <p:cNvSpPr txBox="1"/>
            <p:nvPr/>
          </p:nvSpPr>
          <p:spPr>
            <a:xfrm>
              <a:off x="3078768" y="4846326"/>
              <a:ext cx="771498" cy="332312"/>
            </a:xfrm>
            <a:prstGeom prst="rect">
              <a:avLst/>
            </a:prstGeom>
            <a:noFill/>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Synapse Analytics</a:t>
              </a:r>
            </a:p>
          </p:txBody>
        </p:sp>
        <p:pic>
          <p:nvPicPr>
            <p:cNvPr id="61" name="Graphic 60">
              <a:extLst>
                <a:ext uri="{FF2B5EF4-FFF2-40B4-BE49-F238E27FC236}">
                  <a16:creationId xmlns:a16="http://schemas.microsoft.com/office/drawing/2014/main" id="{82E607D4-43BA-4F3F-A1D6-E7A44DA4530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18043" y="4840444"/>
              <a:ext cx="313125" cy="360000"/>
            </a:xfrm>
            <a:prstGeom prst="rect">
              <a:avLst/>
            </a:prstGeom>
          </p:spPr>
        </p:pic>
      </p:grpSp>
    </p:spTree>
    <p:extLst>
      <p:ext uri="{BB962C8B-B14F-4D97-AF65-F5344CB8AC3E}">
        <p14:creationId xmlns:p14="http://schemas.microsoft.com/office/powerpoint/2010/main" val="12232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2427514"/>
            <a:ext cx="10995777" cy="2481943"/>
          </a:xfrm>
        </p:spPr>
        <p:txBody>
          <a:bodyPr/>
          <a:lstStyle/>
          <a:p>
            <a:r>
              <a:rPr lang="en-US" sz="4400" dirty="0">
                <a:solidFill>
                  <a:schemeClr val="tx1"/>
                </a:solidFill>
              </a:rPr>
              <a:t>Time Series Insights </a:t>
            </a:r>
            <a:br>
              <a:rPr lang="en-US" sz="4400" dirty="0">
                <a:solidFill>
                  <a:schemeClr val="tx1"/>
                </a:solidFill>
              </a:rPr>
            </a:br>
            <a:r>
              <a:rPr lang="en-US" sz="4400" dirty="0">
                <a:gradFill>
                  <a:gsLst>
                    <a:gs pos="0">
                      <a:schemeClr val="accent5"/>
                    </a:gs>
                    <a:gs pos="100000">
                      <a:schemeClr val="accent4"/>
                    </a:gs>
                  </a:gsLst>
                  <a:lin ang="2700000" scaled="1"/>
                </a:gradFill>
              </a:rPr>
              <a:t>Collect, store, model and visualize timeseries and historical data</a:t>
            </a:r>
            <a:br>
              <a:rPr lang="en-US" sz="4400" dirty="0">
                <a:gradFill>
                  <a:gsLst>
                    <a:gs pos="0">
                      <a:schemeClr val="accent5"/>
                    </a:gs>
                    <a:gs pos="100000">
                      <a:schemeClr val="accent4"/>
                    </a:gs>
                  </a:gsLst>
                  <a:lin ang="2700000" scaled="1"/>
                </a:gradFill>
              </a:rPr>
            </a:br>
            <a:endParaRPr lang="en-US" sz="4400" dirty="0">
              <a:solidFill>
                <a:schemeClr val="tx1"/>
              </a:solidFill>
            </a:endParaRPr>
          </a:p>
        </p:txBody>
      </p:sp>
    </p:spTree>
    <p:extLst>
      <p:ext uri="{BB962C8B-B14F-4D97-AF65-F5344CB8AC3E}">
        <p14:creationId xmlns:p14="http://schemas.microsoft.com/office/powerpoint/2010/main" val="20615557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1.25E-6 -3.7037E-6 L -1.25E-6 0.01899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214A7033-1C54-48E3-8CD8-40E70A2024A2}"/>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A7EED2C8-1951-48AD-AB3C-04330381BBBE}"/>
              </a:ext>
            </a:extLst>
          </p:cNvPr>
          <p:cNvSpPr>
            <a:spLocks noGrp="1"/>
          </p:cNvSpPr>
          <p:nvPr>
            <p:ph type="title"/>
          </p:nvPr>
        </p:nvSpPr>
        <p:spPr/>
        <p:txBody>
          <a:bodyPr/>
          <a:lstStyle/>
          <a:p>
            <a:r>
              <a:rPr lang="en-US" sz="2800">
                <a:solidFill>
                  <a:schemeClr val="bg1"/>
                </a:solidFill>
              </a:rPr>
              <a:t>Azure Time Series Insights (TSI)</a:t>
            </a:r>
          </a:p>
        </p:txBody>
      </p:sp>
      <p:grpSp>
        <p:nvGrpSpPr>
          <p:cNvPr id="13" name="Group 12">
            <a:extLst>
              <a:ext uri="{FF2B5EF4-FFF2-40B4-BE49-F238E27FC236}">
                <a16:creationId xmlns:a16="http://schemas.microsoft.com/office/drawing/2014/main" id="{A2C9D100-6673-4798-8735-4AA065DD389B}"/>
              </a:ext>
            </a:extLst>
          </p:cNvPr>
          <p:cNvGrpSpPr/>
          <p:nvPr/>
        </p:nvGrpSpPr>
        <p:grpSpPr>
          <a:xfrm>
            <a:off x="9073186" y="1970074"/>
            <a:ext cx="2689275" cy="3579289"/>
            <a:chOff x="9073186" y="1970074"/>
            <a:chExt cx="2689275" cy="3579289"/>
          </a:xfrm>
        </p:grpSpPr>
        <p:sp>
          <p:nvSpPr>
            <p:cNvPr id="87" name="Rectangle 86">
              <a:extLst>
                <a:ext uri="{FF2B5EF4-FFF2-40B4-BE49-F238E27FC236}">
                  <a16:creationId xmlns:a16="http://schemas.microsoft.com/office/drawing/2014/main" id="{39B56C0A-6E52-49F6-A694-2368A9999ED3}"/>
                </a:ext>
              </a:extLst>
            </p:cNvPr>
            <p:cNvSpPr/>
            <p:nvPr/>
          </p:nvSpPr>
          <p:spPr>
            <a:xfrm>
              <a:off x="9073186" y="1970074"/>
              <a:ext cx="2689275" cy="3579289"/>
            </a:xfrm>
            <a:prstGeom prst="rect">
              <a:avLst/>
            </a:prstGeom>
            <a:noFill/>
            <a:ln w="15875">
              <a:gradFill>
                <a:gsLst>
                  <a:gs pos="0">
                    <a:schemeClr val="accent5"/>
                  </a:gs>
                  <a:gs pos="100000">
                    <a:schemeClr val="tx2"/>
                  </a:gs>
                </a:gsLst>
                <a:lin ang="2700000" scaled="0"/>
              </a:gradFill>
              <a:prstDash val="sysDash"/>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2151420" rIns="179285" bIns="179285"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JavaScript control library for building custom analytics apps on the TSI platform</a:t>
              </a:r>
            </a:p>
          </p:txBody>
        </p:sp>
        <p:pic>
          <p:nvPicPr>
            <p:cNvPr id="7" name="Picture 6" descr="A close up of a sign&#10;&#10;Description automatically generated">
              <a:extLst>
                <a:ext uri="{FF2B5EF4-FFF2-40B4-BE49-F238E27FC236}">
                  <a16:creationId xmlns:a16="http://schemas.microsoft.com/office/drawing/2014/main" id="{6A7A460C-2E3C-4961-9213-B0451B5B440F}"/>
                </a:ext>
              </a:extLst>
            </p:cNvPr>
            <p:cNvPicPr>
              <a:picLocks noChangeAspect="1"/>
            </p:cNvPicPr>
            <p:nvPr/>
          </p:nvPicPr>
          <p:blipFill rotWithShape="1">
            <a:blip r:embed="rId3"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l="20324" t="19043" r="19476" b="17208"/>
            <a:stretch/>
          </p:blipFill>
          <p:spPr>
            <a:xfrm>
              <a:off x="9934764" y="2536582"/>
              <a:ext cx="966118" cy="1023066"/>
            </a:xfrm>
            <a:prstGeom prst="rect">
              <a:avLst/>
            </a:prstGeom>
          </p:spPr>
        </p:pic>
      </p:grpSp>
      <p:sp>
        <p:nvSpPr>
          <p:cNvPr id="81" name="Rectangle 80">
            <a:extLst>
              <a:ext uri="{FF2B5EF4-FFF2-40B4-BE49-F238E27FC236}">
                <a16:creationId xmlns:a16="http://schemas.microsoft.com/office/drawing/2014/main" id="{EF1BB4BA-E58C-487C-85B6-2091B0BBD76C}"/>
              </a:ext>
            </a:extLst>
          </p:cNvPr>
          <p:cNvSpPr/>
          <p:nvPr/>
        </p:nvSpPr>
        <p:spPr>
          <a:xfrm>
            <a:off x="3328391" y="1970074"/>
            <a:ext cx="2689274" cy="3579289"/>
          </a:xfrm>
          <a:prstGeom prst="rect">
            <a:avLst/>
          </a:prstGeom>
          <a:noFill/>
          <a:ln w="15875">
            <a:gradFill>
              <a:gsLst>
                <a:gs pos="0">
                  <a:schemeClr val="accent5"/>
                </a:gs>
                <a:gs pos="100000">
                  <a:schemeClr val="tx2"/>
                </a:gs>
              </a:gsLst>
              <a:lin ang="2700000" scaled="0"/>
            </a:gradFill>
            <a:prstDash val="sysDash"/>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2151420" rIns="179285" bIns="179285"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ilt-in rich user experience for ad-hoc queries and exploration</a:t>
            </a:r>
          </a:p>
        </p:txBody>
      </p:sp>
      <p:grpSp>
        <p:nvGrpSpPr>
          <p:cNvPr id="10" name="Group 9">
            <a:extLst>
              <a:ext uri="{FF2B5EF4-FFF2-40B4-BE49-F238E27FC236}">
                <a16:creationId xmlns:a16="http://schemas.microsoft.com/office/drawing/2014/main" id="{594DA31F-52DC-4BBC-AFC8-9F99B019C8E3}"/>
              </a:ext>
            </a:extLst>
          </p:cNvPr>
          <p:cNvGrpSpPr/>
          <p:nvPr/>
        </p:nvGrpSpPr>
        <p:grpSpPr>
          <a:xfrm>
            <a:off x="455993" y="1970074"/>
            <a:ext cx="2689274" cy="3579289"/>
            <a:chOff x="455993" y="1970074"/>
            <a:chExt cx="2689274" cy="3579289"/>
          </a:xfrm>
        </p:grpSpPr>
        <p:sp>
          <p:nvSpPr>
            <p:cNvPr id="80" name="Rectangle 79">
              <a:extLst>
                <a:ext uri="{FF2B5EF4-FFF2-40B4-BE49-F238E27FC236}">
                  <a16:creationId xmlns:a16="http://schemas.microsoft.com/office/drawing/2014/main" id="{202C7AC8-9D82-42A0-B744-5D8F2C8135B5}"/>
                </a:ext>
              </a:extLst>
            </p:cNvPr>
            <p:cNvSpPr/>
            <p:nvPr/>
          </p:nvSpPr>
          <p:spPr>
            <a:xfrm>
              <a:off x="455993" y="1970074"/>
              <a:ext cx="2689274" cy="3579289"/>
            </a:xfrm>
            <a:prstGeom prst="rect">
              <a:avLst/>
            </a:prstGeom>
            <a:noFill/>
            <a:ln w="15875">
              <a:gradFill>
                <a:gsLst>
                  <a:gs pos="0">
                    <a:schemeClr val="accent5"/>
                  </a:gs>
                  <a:gs pos="100000">
                    <a:schemeClr val="tx2"/>
                  </a:gs>
                </a:gsLst>
                <a:lin ang="2700000" scaled="0"/>
              </a:gradFill>
              <a:prstDash val="sysDash"/>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2151420" rIns="179285" bIns="179285"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gest, process, </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store, and query </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highly contextualized, </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time-series-optimized, </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IoT-scale data</a:t>
              </a:r>
            </a:p>
          </p:txBody>
        </p:sp>
        <p:grpSp>
          <p:nvGrpSpPr>
            <p:cNvPr id="36" name="gain insights" descr="gain insights">
              <a:extLst>
                <a:ext uri="{FF2B5EF4-FFF2-40B4-BE49-F238E27FC236}">
                  <a16:creationId xmlns:a16="http://schemas.microsoft.com/office/drawing/2014/main" id="{F06ABAED-6F5D-4CEB-8D12-4B8BE02B3649}"/>
                </a:ext>
              </a:extLst>
            </p:cNvPr>
            <p:cNvGrpSpPr>
              <a:grpSpLocks noChangeAspect="1"/>
            </p:cNvGrpSpPr>
            <p:nvPr/>
          </p:nvGrpSpPr>
          <p:grpSpPr bwMode="auto">
            <a:xfrm>
              <a:off x="1336382" y="2583867"/>
              <a:ext cx="928499" cy="928496"/>
              <a:chOff x="5212" y="806"/>
              <a:chExt cx="239" cy="239"/>
            </a:xfrm>
          </p:grpSpPr>
          <p:sp>
            <p:nvSpPr>
              <p:cNvPr id="39" name="AutoShape 78">
                <a:extLst>
                  <a:ext uri="{FF2B5EF4-FFF2-40B4-BE49-F238E27FC236}">
                    <a16:creationId xmlns:a16="http://schemas.microsoft.com/office/drawing/2014/main" id="{D61EA95D-5D16-44CC-8D5D-35B4B5D06774}"/>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Oval 80">
                <a:extLst>
                  <a:ext uri="{FF2B5EF4-FFF2-40B4-BE49-F238E27FC236}">
                    <a16:creationId xmlns:a16="http://schemas.microsoft.com/office/drawing/2014/main" id="{74968014-A803-4E90-A0DC-24D4D4431CED}"/>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Oval 81">
                <a:extLst>
                  <a:ext uri="{FF2B5EF4-FFF2-40B4-BE49-F238E27FC236}">
                    <a16:creationId xmlns:a16="http://schemas.microsoft.com/office/drawing/2014/main" id="{28197731-CAD1-4D44-BB77-E97E144985D2}"/>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Oval 82">
                <a:extLst>
                  <a:ext uri="{FF2B5EF4-FFF2-40B4-BE49-F238E27FC236}">
                    <a16:creationId xmlns:a16="http://schemas.microsoft.com/office/drawing/2014/main" id="{01C774BC-6C2F-4455-ABE0-AD8B19C0DC8B}"/>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Oval 83">
                <a:extLst>
                  <a:ext uri="{FF2B5EF4-FFF2-40B4-BE49-F238E27FC236}">
                    <a16:creationId xmlns:a16="http://schemas.microsoft.com/office/drawing/2014/main" id="{12DE1ECF-1788-405D-A977-A9271FC12EE3}"/>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Oval 84">
                <a:extLst>
                  <a:ext uri="{FF2B5EF4-FFF2-40B4-BE49-F238E27FC236}">
                    <a16:creationId xmlns:a16="http://schemas.microsoft.com/office/drawing/2014/main" id="{01ED5673-23AD-44CB-8083-F853BCBA3181}"/>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Oval 85">
                <a:extLst>
                  <a:ext uri="{FF2B5EF4-FFF2-40B4-BE49-F238E27FC236}">
                    <a16:creationId xmlns:a16="http://schemas.microsoft.com/office/drawing/2014/main" id="{3B6A6F1C-A443-413C-A0E4-296CF52E1EDB}"/>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Oval 86">
                <a:extLst>
                  <a:ext uri="{FF2B5EF4-FFF2-40B4-BE49-F238E27FC236}">
                    <a16:creationId xmlns:a16="http://schemas.microsoft.com/office/drawing/2014/main" id="{358ACB9C-ABDC-4233-AECD-1502D0089BE6}"/>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Oval 87">
                <a:extLst>
                  <a:ext uri="{FF2B5EF4-FFF2-40B4-BE49-F238E27FC236}">
                    <a16:creationId xmlns:a16="http://schemas.microsoft.com/office/drawing/2014/main" id="{234C0D89-2814-4E19-B0BA-CB9639116894}"/>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Oval 88">
                <a:extLst>
                  <a:ext uri="{FF2B5EF4-FFF2-40B4-BE49-F238E27FC236}">
                    <a16:creationId xmlns:a16="http://schemas.microsoft.com/office/drawing/2014/main" id="{B499D78C-F7AA-402D-8655-8F15034CC7E1}"/>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val 89">
                <a:extLst>
                  <a:ext uri="{FF2B5EF4-FFF2-40B4-BE49-F238E27FC236}">
                    <a16:creationId xmlns:a16="http://schemas.microsoft.com/office/drawing/2014/main" id="{EE543CF2-C3BE-4CF8-9752-10EF32B89F29}"/>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Oval 90">
                <a:extLst>
                  <a:ext uri="{FF2B5EF4-FFF2-40B4-BE49-F238E27FC236}">
                    <a16:creationId xmlns:a16="http://schemas.microsoft.com/office/drawing/2014/main" id="{E4DC86FD-1A40-452F-BE82-85F0FCEC6F88}"/>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Oval 91">
                <a:extLst>
                  <a:ext uri="{FF2B5EF4-FFF2-40B4-BE49-F238E27FC236}">
                    <a16:creationId xmlns:a16="http://schemas.microsoft.com/office/drawing/2014/main" id="{C7FFDE68-5FAE-47D2-9BD3-63F143A424A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Oval 92">
                <a:extLst>
                  <a:ext uri="{FF2B5EF4-FFF2-40B4-BE49-F238E27FC236}">
                    <a16:creationId xmlns:a16="http://schemas.microsoft.com/office/drawing/2014/main" id="{0BD1355B-CEDC-40CD-9E74-9F5CEDD4190D}"/>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Oval 93">
                <a:extLst>
                  <a:ext uri="{FF2B5EF4-FFF2-40B4-BE49-F238E27FC236}">
                    <a16:creationId xmlns:a16="http://schemas.microsoft.com/office/drawing/2014/main" id="{A8AC3EB0-D408-4E82-93D7-36C68284E366}"/>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Oval 94">
                <a:extLst>
                  <a:ext uri="{FF2B5EF4-FFF2-40B4-BE49-F238E27FC236}">
                    <a16:creationId xmlns:a16="http://schemas.microsoft.com/office/drawing/2014/main" id="{3B608F75-F134-4F32-A38D-311EB4086BBB}"/>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Oval 95">
                <a:extLst>
                  <a:ext uri="{FF2B5EF4-FFF2-40B4-BE49-F238E27FC236}">
                    <a16:creationId xmlns:a16="http://schemas.microsoft.com/office/drawing/2014/main" id="{7243C906-3F99-445C-BD50-D1EC428E0E09}"/>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Oval 96">
                <a:extLst>
                  <a:ext uri="{FF2B5EF4-FFF2-40B4-BE49-F238E27FC236}">
                    <a16:creationId xmlns:a16="http://schemas.microsoft.com/office/drawing/2014/main" id="{FAA0D42D-8434-435A-AE00-AFA51F4D9ABC}"/>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Oval 97">
                <a:extLst>
                  <a:ext uri="{FF2B5EF4-FFF2-40B4-BE49-F238E27FC236}">
                    <a16:creationId xmlns:a16="http://schemas.microsoft.com/office/drawing/2014/main" id="{30D07045-D1F7-4ABC-B150-A41765BEBDFB}"/>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98">
                <a:extLst>
                  <a:ext uri="{FF2B5EF4-FFF2-40B4-BE49-F238E27FC236}">
                    <a16:creationId xmlns:a16="http://schemas.microsoft.com/office/drawing/2014/main" id="{4336AD43-62F9-42C5-BFEE-9F31A86E7A03}"/>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99">
                <a:extLst>
                  <a:ext uri="{FF2B5EF4-FFF2-40B4-BE49-F238E27FC236}">
                    <a16:creationId xmlns:a16="http://schemas.microsoft.com/office/drawing/2014/main" id="{0013C84D-91F2-4F66-8639-F259869B965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100">
                <a:extLst>
                  <a:ext uri="{FF2B5EF4-FFF2-40B4-BE49-F238E27FC236}">
                    <a16:creationId xmlns:a16="http://schemas.microsoft.com/office/drawing/2014/main" id="{9C647FE2-B024-47D4-9EDA-3D1E037CC551}"/>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101">
                <a:extLst>
                  <a:ext uri="{FF2B5EF4-FFF2-40B4-BE49-F238E27FC236}">
                    <a16:creationId xmlns:a16="http://schemas.microsoft.com/office/drawing/2014/main" id="{078CB11A-F906-4E2D-B955-58DB2749E227}"/>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CBCEB473-F2EA-456C-8B98-10ADD9ED2FA6}"/>
              </a:ext>
            </a:extLst>
          </p:cNvPr>
          <p:cNvGrpSpPr/>
          <p:nvPr/>
        </p:nvGrpSpPr>
        <p:grpSpPr>
          <a:xfrm>
            <a:off x="6200788" y="1970074"/>
            <a:ext cx="2689274" cy="3579289"/>
            <a:chOff x="6200788" y="1970074"/>
            <a:chExt cx="2689274" cy="3579289"/>
          </a:xfrm>
        </p:grpSpPr>
        <p:sp>
          <p:nvSpPr>
            <p:cNvPr id="88" name="Rectangle 87">
              <a:extLst>
                <a:ext uri="{FF2B5EF4-FFF2-40B4-BE49-F238E27FC236}">
                  <a16:creationId xmlns:a16="http://schemas.microsoft.com/office/drawing/2014/main" id="{6C64FAC6-2B38-4A54-9152-95F2163DAE80}"/>
                </a:ext>
              </a:extLst>
            </p:cNvPr>
            <p:cNvSpPr/>
            <p:nvPr/>
          </p:nvSpPr>
          <p:spPr>
            <a:xfrm>
              <a:off x="6200788" y="1970074"/>
              <a:ext cx="2689274" cy="3579289"/>
            </a:xfrm>
            <a:prstGeom prst="rect">
              <a:avLst/>
            </a:prstGeom>
            <a:noFill/>
            <a:ln w="15875">
              <a:gradFill>
                <a:gsLst>
                  <a:gs pos="0">
                    <a:schemeClr val="accent5"/>
                  </a:gs>
                  <a:gs pos="100000">
                    <a:schemeClr val="tx2"/>
                  </a:gs>
                </a:gsLst>
                <a:lin ang="2700000" scaled="0"/>
              </a:gradFill>
              <a:prstDash val="sysDash"/>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2151420" rIns="179285" bIns="179285"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ich analytics APIs for  ad-hoc exploration and operational intelligence</a:t>
              </a:r>
            </a:p>
          </p:txBody>
        </p:sp>
        <p:grpSp>
          <p:nvGrpSpPr>
            <p:cNvPr id="65" name="Group 64">
              <a:extLst>
                <a:ext uri="{FF2B5EF4-FFF2-40B4-BE49-F238E27FC236}">
                  <a16:creationId xmlns:a16="http://schemas.microsoft.com/office/drawing/2014/main" id="{16C89B93-0EA8-4C3C-BBD4-9D72F12A22D6}"/>
                </a:ext>
              </a:extLst>
            </p:cNvPr>
            <p:cNvGrpSpPr>
              <a:grpSpLocks noChangeAspect="1"/>
            </p:cNvGrpSpPr>
            <p:nvPr/>
          </p:nvGrpSpPr>
          <p:grpSpPr>
            <a:xfrm>
              <a:off x="7020393" y="2573533"/>
              <a:ext cx="1050065" cy="949163"/>
              <a:chOff x="2399522" y="2518019"/>
              <a:chExt cx="968883" cy="875783"/>
            </a:xfrm>
          </p:grpSpPr>
          <p:grpSp>
            <p:nvGrpSpPr>
              <p:cNvPr id="66" name="chart" descr="chart">
                <a:extLst>
                  <a:ext uri="{FF2B5EF4-FFF2-40B4-BE49-F238E27FC236}">
                    <a16:creationId xmlns:a16="http://schemas.microsoft.com/office/drawing/2014/main" id="{FA340BD6-B590-4DDD-B6F8-EA872FBD93A1}"/>
                  </a:ext>
                </a:extLst>
              </p:cNvPr>
              <p:cNvGrpSpPr/>
              <p:nvPr/>
            </p:nvGrpSpPr>
            <p:grpSpPr>
              <a:xfrm>
                <a:off x="2408794" y="2628900"/>
                <a:ext cx="959611" cy="764902"/>
                <a:chOff x="8239126" y="3125143"/>
                <a:chExt cx="431089" cy="343620"/>
              </a:xfrm>
            </p:grpSpPr>
            <p:sp>
              <p:nvSpPr>
                <p:cNvPr id="68" name="Freeform: Shape 67">
                  <a:extLst>
                    <a:ext uri="{FF2B5EF4-FFF2-40B4-BE49-F238E27FC236}">
                      <a16:creationId xmlns:a16="http://schemas.microsoft.com/office/drawing/2014/main" id="{4BED144B-0AD3-47E6-88AF-F9C9FA63785E}"/>
                    </a:ext>
                  </a:extLst>
                </p:cNvPr>
                <p:cNvSpPr/>
                <p:nvPr/>
              </p:nvSpPr>
              <p:spPr>
                <a:xfrm>
                  <a:off x="8239126" y="3287271"/>
                  <a:ext cx="90405" cy="181492"/>
                </a:xfrm>
                <a:custGeom>
                  <a:avLst/>
                  <a:gdLst>
                    <a:gd name="connsiteX0" fmla="*/ 90406 w 90405"/>
                    <a:gd name="connsiteY0" fmla="*/ 0 h 181492"/>
                    <a:gd name="connsiteX1" fmla="*/ 0 w 90405"/>
                    <a:gd name="connsiteY1" fmla="*/ 0 h 181492"/>
                    <a:gd name="connsiteX2" fmla="*/ 0 w 90405"/>
                    <a:gd name="connsiteY2" fmla="*/ 181492 h 181492"/>
                    <a:gd name="connsiteX3" fmla="*/ 90406 w 90405"/>
                    <a:gd name="connsiteY3" fmla="*/ 181492 h 181492"/>
                    <a:gd name="connsiteX4" fmla="*/ 90406 w 90405"/>
                    <a:gd name="connsiteY4" fmla="*/ 0 h 181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05" h="181492">
                      <a:moveTo>
                        <a:pt x="90406" y="0"/>
                      </a:moveTo>
                      <a:lnTo>
                        <a:pt x="0" y="0"/>
                      </a:lnTo>
                      <a:lnTo>
                        <a:pt x="0" y="181492"/>
                      </a:lnTo>
                      <a:lnTo>
                        <a:pt x="90406" y="181492"/>
                      </a:lnTo>
                      <a:lnTo>
                        <a:pt x="90406" y="0"/>
                      </a:lnTo>
                      <a:close/>
                    </a:path>
                  </a:pathLst>
                </a:custGeom>
                <a:solidFill>
                  <a:srgbClr val="50E6FF"/>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B3ED1317-4E11-4DB4-AD87-45F83CAB8500}"/>
                    </a:ext>
                  </a:extLst>
                </p:cNvPr>
                <p:cNvSpPr/>
                <p:nvPr/>
              </p:nvSpPr>
              <p:spPr>
                <a:xfrm>
                  <a:off x="8579810" y="3151434"/>
                  <a:ext cx="90405" cy="317252"/>
                </a:xfrm>
                <a:custGeom>
                  <a:avLst/>
                  <a:gdLst>
                    <a:gd name="connsiteX0" fmla="*/ 90406 w 90405"/>
                    <a:gd name="connsiteY0" fmla="*/ 0 h 317252"/>
                    <a:gd name="connsiteX1" fmla="*/ 0 w 90405"/>
                    <a:gd name="connsiteY1" fmla="*/ 0 h 317252"/>
                    <a:gd name="connsiteX2" fmla="*/ 0 w 90405"/>
                    <a:gd name="connsiteY2" fmla="*/ 317252 h 317252"/>
                    <a:gd name="connsiteX3" fmla="*/ 90406 w 90405"/>
                    <a:gd name="connsiteY3" fmla="*/ 317252 h 317252"/>
                    <a:gd name="connsiteX4" fmla="*/ 90406 w 90405"/>
                    <a:gd name="connsiteY4" fmla="*/ 0 h 317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05" h="317252">
                      <a:moveTo>
                        <a:pt x="90406" y="0"/>
                      </a:moveTo>
                      <a:lnTo>
                        <a:pt x="0" y="0"/>
                      </a:lnTo>
                      <a:lnTo>
                        <a:pt x="0" y="317252"/>
                      </a:lnTo>
                      <a:lnTo>
                        <a:pt x="90406" y="317252"/>
                      </a:lnTo>
                      <a:lnTo>
                        <a:pt x="90406" y="0"/>
                      </a:lnTo>
                      <a:close/>
                    </a:path>
                  </a:pathLst>
                </a:custGeom>
                <a:solidFill>
                  <a:srgbClr val="0078D4"/>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57E97C1-4F2E-4BC2-9A1C-A0716B1FD805}"/>
                    </a:ext>
                  </a:extLst>
                </p:cNvPr>
                <p:cNvSpPr/>
                <p:nvPr/>
              </p:nvSpPr>
              <p:spPr>
                <a:xfrm>
                  <a:off x="8353116" y="3241686"/>
                  <a:ext cx="90405" cy="226997"/>
                </a:xfrm>
                <a:custGeom>
                  <a:avLst/>
                  <a:gdLst>
                    <a:gd name="connsiteX0" fmla="*/ 90406 w 90405"/>
                    <a:gd name="connsiteY0" fmla="*/ 0 h 226997"/>
                    <a:gd name="connsiteX1" fmla="*/ 0 w 90405"/>
                    <a:gd name="connsiteY1" fmla="*/ 0 h 226997"/>
                    <a:gd name="connsiteX2" fmla="*/ 0 w 90405"/>
                    <a:gd name="connsiteY2" fmla="*/ 226997 h 226997"/>
                    <a:gd name="connsiteX3" fmla="*/ 90406 w 90405"/>
                    <a:gd name="connsiteY3" fmla="*/ 226997 h 226997"/>
                    <a:gd name="connsiteX4" fmla="*/ 90406 w 90405"/>
                    <a:gd name="connsiteY4" fmla="*/ 0 h 226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05" h="226997">
                      <a:moveTo>
                        <a:pt x="90406" y="0"/>
                      </a:moveTo>
                      <a:lnTo>
                        <a:pt x="0" y="0"/>
                      </a:lnTo>
                      <a:lnTo>
                        <a:pt x="0" y="226997"/>
                      </a:lnTo>
                      <a:lnTo>
                        <a:pt x="90406" y="226997"/>
                      </a:lnTo>
                      <a:lnTo>
                        <a:pt x="90406" y="0"/>
                      </a:lnTo>
                      <a:close/>
                    </a:path>
                  </a:pathLst>
                </a:custGeom>
                <a:solidFill>
                  <a:srgbClr val="50E6FF"/>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09EC0005-DAF9-4A36-80A5-6AF83B4EAA53}"/>
                    </a:ext>
                  </a:extLst>
                </p:cNvPr>
                <p:cNvSpPr/>
                <p:nvPr/>
              </p:nvSpPr>
              <p:spPr>
                <a:xfrm>
                  <a:off x="8466425" y="3128818"/>
                  <a:ext cx="90405" cy="339853"/>
                </a:xfrm>
                <a:custGeom>
                  <a:avLst/>
                  <a:gdLst>
                    <a:gd name="connsiteX0" fmla="*/ 90406 w 90405"/>
                    <a:gd name="connsiteY0" fmla="*/ 0 h 339853"/>
                    <a:gd name="connsiteX1" fmla="*/ 0 w 90405"/>
                    <a:gd name="connsiteY1" fmla="*/ 0 h 339853"/>
                    <a:gd name="connsiteX2" fmla="*/ 0 w 90405"/>
                    <a:gd name="connsiteY2" fmla="*/ 339854 h 339853"/>
                    <a:gd name="connsiteX3" fmla="*/ 90406 w 90405"/>
                    <a:gd name="connsiteY3" fmla="*/ 339854 h 339853"/>
                    <a:gd name="connsiteX4" fmla="*/ 90406 w 90405"/>
                    <a:gd name="connsiteY4" fmla="*/ 0 h 339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05" h="339853">
                      <a:moveTo>
                        <a:pt x="90406" y="0"/>
                      </a:moveTo>
                      <a:lnTo>
                        <a:pt x="0" y="0"/>
                      </a:lnTo>
                      <a:lnTo>
                        <a:pt x="0" y="339854"/>
                      </a:lnTo>
                      <a:lnTo>
                        <a:pt x="90406" y="339854"/>
                      </a:lnTo>
                      <a:lnTo>
                        <a:pt x="90406" y="0"/>
                      </a:lnTo>
                      <a:close/>
                    </a:path>
                  </a:pathLst>
                </a:custGeom>
                <a:solidFill>
                  <a:srgbClr val="0078D4"/>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5EC7E9FE-AD7A-437C-894B-773AE809709D}"/>
                    </a:ext>
                  </a:extLst>
                </p:cNvPr>
                <p:cNvSpPr/>
                <p:nvPr/>
              </p:nvSpPr>
              <p:spPr>
                <a:xfrm>
                  <a:off x="8393782" y="3147794"/>
                  <a:ext cx="235085" cy="233573"/>
                </a:xfrm>
                <a:custGeom>
                  <a:avLst/>
                  <a:gdLst>
                    <a:gd name="connsiteX0" fmla="*/ 7937 w 235085"/>
                    <a:gd name="connsiteY0" fmla="*/ 233573 h 233573"/>
                    <a:gd name="connsiteX1" fmla="*/ 0 w 235085"/>
                    <a:gd name="connsiteY1" fmla="*/ 225561 h 233573"/>
                    <a:gd name="connsiteX2" fmla="*/ 113159 w 235085"/>
                    <a:gd name="connsiteY2" fmla="*/ 112856 h 233573"/>
                    <a:gd name="connsiteX3" fmla="*/ 227073 w 235085"/>
                    <a:gd name="connsiteY3" fmla="*/ 0 h 233573"/>
                    <a:gd name="connsiteX4" fmla="*/ 235086 w 235085"/>
                    <a:gd name="connsiteY4" fmla="*/ 8087 h 233573"/>
                    <a:gd name="connsiteX5" fmla="*/ 121172 w 235085"/>
                    <a:gd name="connsiteY5" fmla="*/ 120869 h 233573"/>
                    <a:gd name="connsiteX6" fmla="*/ 7937 w 235085"/>
                    <a:gd name="connsiteY6" fmla="*/ 233573 h 2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085" h="233573">
                      <a:moveTo>
                        <a:pt x="7937" y="233573"/>
                      </a:moveTo>
                      <a:lnTo>
                        <a:pt x="0" y="225561"/>
                      </a:lnTo>
                      <a:lnTo>
                        <a:pt x="113159" y="112856"/>
                      </a:lnTo>
                      <a:lnTo>
                        <a:pt x="227073" y="0"/>
                      </a:lnTo>
                      <a:lnTo>
                        <a:pt x="235086" y="8087"/>
                      </a:lnTo>
                      <a:lnTo>
                        <a:pt x="121172" y="120869"/>
                      </a:lnTo>
                      <a:lnTo>
                        <a:pt x="7937" y="233573"/>
                      </a:lnTo>
                      <a:close/>
                    </a:path>
                  </a:pathLst>
                </a:custGeom>
                <a:solidFill>
                  <a:srgbClr val="50E6FF"/>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7E8CD958-0735-4516-81AD-57759AB03D58}"/>
                    </a:ext>
                  </a:extLst>
                </p:cNvPr>
                <p:cNvSpPr/>
                <p:nvPr/>
              </p:nvSpPr>
              <p:spPr>
                <a:xfrm>
                  <a:off x="8598029" y="3125143"/>
                  <a:ext cx="52308" cy="52308"/>
                </a:xfrm>
                <a:custGeom>
                  <a:avLst/>
                  <a:gdLst>
                    <a:gd name="connsiteX0" fmla="*/ 26154 w 52308"/>
                    <a:gd name="connsiteY0" fmla="*/ 52308 h 52308"/>
                    <a:gd name="connsiteX1" fmla="*/ 52308 w 52308"/>
                    <a:gd name="connsiteY1" fmla="*/ 26154 h 52308"/>
                    <a:gd name="connsiteX2" fmla="*/ 26154 w 52308"/>
                    <a:gd name="connsiteY2" fmla="*/ 0 h 52308"/>
                    <a:gd name="connsiteX3" fmla="*/ 0 w 52308"/>
                    <a:gd name="connsiteY3" fmla="*/ 26154 h 52308"/>
                    <a:gd name="connsiteX4" fmla="*/ 26154 w 52308"/>
                    <a:gd name="connsiteY4" fmla="*/ 52308 h 5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08" h="52308">
                      <a:moveTo>
                        <a:pt x="26154" y="52308"/>
                      </a:moveTo>
                      <a:cubicBezTo>
                        <a:pt x="40598" y="52308"/>
                        <a:pt x="52308" y="40598"/>
                        <a:pt x="52308" y="26154"/>
                      </a:cubicBezTo>
                      <a:cubicBezTo>
                        <a:pt x="52308" y="11709"/>
                        <a:pt x="40598" y="0"/>
                        <a:pt x="26154" y="0"/>
                      </a:cubicBezTo>
                      <a:cubicBezTo>
                        <a:pt x="11710" y="0"/>
                        <a:pt x="0" y="11709"/>
                        <a:pt x="0" y="26154"/>
                      </a:cubicBezTo>
                      <a:cubicBezTo>
                        <a:pt x="0" y="40598"/>
                        <a:pt x="11710" y="52308"/>
                        <a:pt x="26154" y="52308"/>
                      </a:cubicBezTo>
                      <a:close/>
                    </a:path>
                  </a:pathLst>
                </a:custGeom>
                <a:solidFill>
                  <a:srgbClr val="50E6FF"/>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D52D8A5-C7F7-4345-890B-838ECAF36BA3}"/>
                    </a:ext>
                  </a:extLst>
                </p:cNvPr>
                <p:cNvSpPr/>
                <p:nvPr/>
              </p:nvSpPr>
              <p:spPr>
                <a:xfrm>
                  <a:off x="8484794" y="3238505"/>
                  <a:ext cx="52308" cy="52308"/>
                </a:xfrm>
                <a:custGeom>
                  <a:avLst/>
                  <a:gdLst>
                    <a:gd name="connsiteX0" fmla="*/ 26154 w 52308"/>
                    <a:gd name="connsiteY0" fmla="*/ 52308 h 52308"/>
                    <a:gd name="connsiteX1" fmla="*/ 52308 w 52308"/>
                    <a:gd name="connsiteY1" fmla="*/ 26154 h 52308"/>
                    <a:gd name="connsiteX2" fmla="*/ 26154 w 52308"/>
                    <a:gd name="connsiteY2" fmla="*/ 0 h 52308"/>
                    <a:gd name="connsiteX3" fmla="*/ 0 w 52308"/>
                    <a:gd name="connsiteY3" fmla="*/ 26154 h 52308"/>
                    <a:gd name="connsiteX4" fmla="*/ 26154 w 52308"/>
                    <a:gd name="connsiteY4" fmla="*/ 52308 h 5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08" h="52308">
                      <a:moveTo>
                        <a:pt x="26154" y="52308"/>
                      </a:moveTo>
                      <a:cubicBezTo>
                        <a:pt x="40598" y="52308"/>
                        <a:pt x="52308" y="40598"/>
                        <a:pt x="52308" y="26154"/>
                      </a:cubicBezTo>
                      <a:cubicBezTo>
                        <a:pt x="52308" y="11710"/>
                        <a:pt x="40598" y="0"/>
                        <a:pt x="26154" y="0"/>
                      </a:cubicBezTo>
                      <a:cubicBezTo>
                        <a:pt x="11710" y="0"/>
                        <a:pt x="0" y="11710"/>
                        <a:pt x="0" y="26154"/>
                      </a:cubicBezTo>
                      <a:cubicBezTo>
                        <a:pt x="0" y="40598"/>
                        <a:pt x="11710" y="52308"/>
                        <a:pt x="26154" y="52308"/>
                      </a:cubicBezTo>
                      <a:close/>
                    </a:path>
                  </a:pathLst>
                </a:custGeom>
                <a:solidFill>
                  <a:srgbClr val="50E6FF"/>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ACBC6019-0F1F-41A2-B581-9E5F73BE835C}"/>
                    </a:ext>
                  </a:extLst>
                </p:cNvPr>
                <p:cNvSpPr/>
                <p:nvPr/>
              </p:nvSpPr>
              <p:spPr>
                <a:xfrm>
                  <a:off x="8371635" y="3352504"/>
                  <a:ext cx="52308" cy="52308"/>
                </a:xfrm>
                <a:custGeom>
                  <a:avLst/>
                  <a:gdLst>
                    <a:gd name="connsiteX0" fmla="*/ 26154 w 52308"/>
                    <a:gd name="connsiteY0" fmla="*/ 52308 h 52308"/>
                    <a:gd name="connsiteX1" fmla="*/ 52309 w 52308"/>
                    <a:gd name="connsiteY1" fmla="*/ 26154 h 52308"/>
                    <a:gd name="connsiteX2" fmla="*/ 26154 w 52308"/>
                    <a:gd name="connsiteY2" fmla="*/ 0 h 52308"/>
                    <a:gd name="connsiteX3" fmla="*/ 0 w 52308"/>
                    <a:gd name="connsiteY3" fmla="*/ 26154 h 52308"/>
                    <a:gd name="connsiteX4" fmla="*/ 26154 w 52308"/>
                    <a:gd name="connsiteY4" fmla="*/ 52308 h 5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08" h="52308">
                      <a:moveTo>
                        <a:pt x="26154" y="52308"/>
                      </a:moveTo>
                      <a:cubicBezTo>
                        <a:pt x="40599" y="52308"/>
                        <a:pt x="52309" y="40598"/>
                        <a:pt x="52309" y="26154"/>
                      </a:cubicBezTo>
                      <a:cubicBezTo>
                        <a:pt x="52309" y="11710"/>
                        <a:pt x="40599" y="0"/>
                        <a:pt x="26154" y="0"/>
                      </a:cubicBezTo>
                      <a:cubicBezTo>
                        <a:pt x="11710" y="0"/>
                        <a:pt x="0" y="11710"/>
                        <a:pt x="0" y="26154"/>
                      </a:cubicBezTo>
                      <a:cubicBezTo>
                        <a:pt x="0" y="40598"/>
                        <a:pt x="11710" y="52308"/>
                        <a:pt x="26154" y="52308"/>
                      </a:cubicBezTo>
                      <a:close/>
                    </a:path>
                  </a:pathLst>
                </a:custGeom>
                <a:solidFill>
                  <a:srgbClr val="0078D4"/>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AFD6DEE3-91F4-438D-A5D9-1983BFDEE7C7}"/>
                    </a:ext>
                  </a:extLst>
                </p:cNvPr>
                <p:cNvSpPr/>
                <p:nvPr/>
              </p:nvSpPr>
              <p:spPr>
                <a:xfrm>
                  <a:off x="8258780" y="3266563"/>
                  <a:ext cx="52308" cy="52308"/>
                </a:xfrm>
                <a:custGeom>
                  <a:avLst/>
                  <a:gdLst>
                    <a:gd name="connsiteX0" fmla="*/ 26154 w 52308"/>
                    <a:gd name="connsiteY0" fmla="*/ 52308 h 52308"/>
                    <a:gd name="connsiteX1" fmla="*/ 52308 w 52308"/>
                    <a:gd name="connsiteY1" fmla="*/ 26154 h 52308"/>
                    <a:gd name="connsiteX2" fmla="*/ 26154 w 52308"/>
                    <a:gd name="connsiteY2" fmla="*/ 0 h 52308"/>
                    <a:gd name="connsiteX3" fmla="*/ 0 w 52308"/>
                    <a:gd name="connsiteY3" fmla="*/ 26154 h 52308"/>
                    <a:gd name="connsiteX4" fmla="*/ 26154 w 52308"/>
                    <a:gd name="connsiteY4" fmla="*/ 52308 h 5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08" h="52308">
                      <a:moveTo>
                        <a:pt x="26154" y="52308"/>
                      </a:moveTo>
                      <a:cubicBezTo>
                        <a:pt x="40599" y="52308"/>
                        <a:pt x="52308" y="40598"/>
                        <a:pt x="52308" y="26154"/>
                      </a:cubicBezTo>
                      <a:cubicBezTo>
                        <a:pt x="52308" y="11710"/>
                        <a:pt x="40599" y="0"/>
                        <a:pt x="26154" y="0"/>
                      </a:cubicBezTo>
                      <a:cubicBezTo>
                        <a:pt x="11710" y="0"/>
                        <a:pt x="0" y="11710"/>
                        <a:pt x="0" y="26154"/>
                      </a:cubicBezTo>
                      <a:cubicBezTo>
                        <a:pt x="0" y="40598"/>
                        <a:pt x="11710" y="52308"/>
                        <a:pt x="26154" y="52308"/>
                      </a:cubicBezTo>
                      <a:close/>
                    </a:path>
                  </a:pathLst>
                </a:custGeom>
                <a:solidFill>
                  <a:srgbClr val="0078D4"/>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904C8378-6E3B-4952-B045-8363D5563329}"/>
                    </a:ext>
                  </a:extLst>
                </p:cNvPr>
                <p:cNvSpPr/>
                <p:nvPr/>
              </p:nvSpPr>
              <p:spPr>
                <a:xfrm>
                  <a:off x="8281213" y="3286456"/>
                  <a:ext cx="119809" cy="99446"/>
                </a:xfrm>
                <a:custGeom>
                  <a:avLst/>
                  <a:gdLst>
                    <a:gd name="connsiteX0" fmla="*/ 7105 w 119809"/>
                    <a:gd name="connsiteY0" fmla="*/ 0 h 99446"/>
                    <a:gd name="connsiteX1" fmla="*/ 0 w 119809"/>
                    <a:gd name="connsiteY1" fmla="*/ 8837 h 99446"/>
                    <a:gd name="connsiteX2" fmla="*/ 112704 w 119809"/>
                    <a:gd name="connsiteY2" fmla="*/ 99446 h 99446"/>
                    <a:gd name="connsiteX3" fmla="*/ 119809 w 119809"/>
                    <a:gd name="connsiteY3" fmla="*/ 90609 h 99446"/>
                    <a:gd name="connsiteX4" fmla="*/ 7105 w 119809"/>
                    <a:gd name="connsiteY4" fmla="*/ 0 h 99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09" h="99446">
                      <a:moveTo>
                        <a:pt x="7105" y="0"/>
                      </a:moveTo>
                      <a:lnTo>
                        <a:pt x="0" y="8837"/>
                      </a:lnTo>
                      <a:lnTo>
                        <a:pt x="112704" y="99446"/>
                      </a:lnTo>
                      <a:lnTo>
                        <a:pt x="119809" y="90609"/>
                      </a:lnTo>
                      <a:lnTo>
                        <a:pt x="7105" y="0"/>
                      </a:lnTo>
                      <a:close/>
                    </a:path>
                  </a:pathLst>
                </a:custGeom>
                <a:solidFill>
                  <a:srgbClr val="0078D4"/>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094296A-C441-44F4-8E69-A51D34DE4361}"/>
                    </a:ext>
                  </a:extLst>
                </p:cNvPr>
                <p:cNvSpPr/>
                <p:nvPr/>
              </p:nvSpPr>
              <p:spPr>
                <a:xfrm>
                  <a:off x="8393782" y="3301548"/>
                  <a:ext cx="72113" cy="79822"/>
                </a:xfrm>
                <a:custGeom>
                  <a:avLst/>
                  <a:gdLst>
                    <a:gd name="connsiteX0" fmla="*/ 0 w 72113"/>
                    <a:gd name="connsiteY0" fmla="*/ 71810 h 79822"/>
                    <a:gd name="connsiteX1" fmla="*/ 7937 w 72113"/>
                    <a:gd name="connsiteY1" fmla="*/ 79823 h 79822"/>
                    <a:gd name="connsiteX2" fmla="*/ 72113 w 72113"/>
                    <a:gd name="connsiteY2" fmla="*/ 16025 h 79822"/>
                    <a:gd name="connsiteX3" fmla="*/ 72113 w 72113"/>
                    <a:gd name="connsiteY3" fmla="*/ 0 h 79822"/>
                    <a:gd name="connsiteX4" fmla="*/ 0 w 72113"/>
                    <a:gd name="connsiteY4" fmla="*/ 71810 h 79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13" h="79822">
                      <a:moveTo>
                        <a:pt x="0" y="71810"/>
                      </a:moveTo>
                      <a:lnTo>
                        <a:pt x="7937" y="79823"/>
                      </a:lnTo>
                      <a:lnTo>
                        <a:pt x="72113" y="16025"/>
                      </a:lnTo>
                      <a:lnTo>
                        <a:pt x="72113" y="0"/>
                      </a:lnTo>
                      <a:lnTo>
                        <a:pt x="0" y="71810"/>
                      </a:lnTo>
                      <a:close/>
                    </a:path>
                  </a:pathLst>
                </a:custGeom>
                <a:solidFill>
                  <a:srgbClr val="0078D4"/>
                </a:solidFill>
                <a:ln w="894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7" name="Freeform: Shape 66">
                <a:extLst>
                  <a:ext uri="{FF2B5EF4-FFF2-40B4-BE49-F238E27FC236}">
                    <a16:creationId xmlns:a16="http://schemas.microsoft.com/office/drawing/2014/main" id="{20CDBC87-5698-4D7F-B0CD-A2AB36AA010D}"/>
                  </a:ext>
                </a:extLst>
              </p:cNvPr>
              <p:cNvSpPr/>
              <p:nvPr/>
            </p:nvSpPr>
            <p:spPr>
              <a:xfrm>
                <a:off x="2399522" y="2518019"/>
                <a:ext cx="324627" cy="256683"/>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rgbClr val="50E6FF"/>
              </a:solidFill>
              <a:ln w="4222"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 name="Rectangle 2">
            <a:extLst>
              <a:ext uri="{FF2B5EF4-FFF2-40B4-BE49-F238E27FC236}">
                <a16:creationId xmlns:a16="http://schemas.microsoft.com/office/drawing/2014/main" id="{4BA9921E-073C-44A2-8301-3BCE72850B8F}"/>
              </a:ext>
            </a:extLst>
          </p:cNvPr>
          <p:cNvSpPr/>
          <p:nvPr/>
        </p:nvSpPr>
        <p:spPr>
          <a:xfrm>
            <a:off x="455995" y="1096373"/>
            <a:ext cx="7614463"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 serverless, fully-managed Platform as a Service (PaaS) solution built for IoT </a:t>
            </a:r>
          </a:p>
        </p:txBody>
      </p:sp>
      <p:pic>
        <p:nvPicPr>
          <p:cNvPr id="4" name="Picture 3">
            <a:extLst>
              <a:ext uri="{FF2B5EF4-FFF2-40B4-BE49-F238E27FC236}">
                <a16:creationId xmlns:a16="http://schemas.microsoft.com/office/drawing/2014/main" id="{670470B2-577B-49BE-8320-34D89D76F5FD}"/>
              </a:ext>
            </a:extLst>
          </p:cNvPr>
          <p:cNvPicPr>
            <a:picLocks noChangeAspect="1"/>
          </p:cNvPicPr>
          <p:nvPr/>
        </p:nvPicPr>
        <p:blipFill>
          <a:blip r:embed="rId4"/>
          <a:stretch>
            <a:fillRect/>
          </a:stretch>
        </p:blipFill>
        <p:spPr>
          <a:xfrm>
            <a:off x="2883655" y="1784336"/>
            <a:ext cx="3678560" cy="2071124"/>
          </a:xfrm>
          <a:prstGeom prst="rect">
            <a:avLst/>
          </a:prstGeom>
          <a:ln>
            <a:solidFill>
              <a:schemeClr val="bg1">
                <a:lumMod val="75000"/>
              </a:schemeClr>
            </a:solidFill>
          </a:ln>
        </p:spPr>
      </p:pic>
    </p:spTree>
    <p:extLst>
      <p:ext uri="{BB962C8B-B14F-4D97-AF65-F5344CB8AC3E}">
        <p14:creationId xmlns:p14="http://schemas.microsoft.com/office/powerpoint/2010/main" val="338464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F28BC93E-2BB2-4020-924B-C1EAC170C3B5}"/>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B762AFDF-15E0-4E07-9533-D9B5EC0936ED}"/>
              </a:ext>
            </a:extLst>
          </p:cNvPr>
          <p:cNvSpPr>
            <a:spLocks noGrp="1"/>
          </p:cNvSpPr>
          <p:nvPr>
            <p:ph type="title"/>
          </p:nvPr>
        </p:nvSpPr>
        <p:spPr/>
        <p:txBody>
          <a:bodyPr/>
          <a:lstStyle/>
          <a:p>
            <a:r>
              <a:rPr lang="en-US" dirty="0">
                <a:solidFill>
                  <a:schemeClr val="tx1"/>
                </a:solidFill>
              </a:rPr>
              <a:t>Agenda</a:t>
            </a:r>
          </a:p>
        </p:txBody>
      </p:sp>
      <p:sp>
        <p:nvSpPr>
          <p:cNvPr id="5" name="Content Placeholder 4">
            <a:extLst>
              <a:ext uri="{FF2B5EF4-FFF2-40B4-BE49-F238E27FC236}">
                <a16:creationId xmlns:a16="http://schemas.microsoft.com/office/drawing/2014/main" id="{0CBDA5BB-06E7-40C4-843A-D85BB77EAB0B}"/>
              </a:ext>
            </a:extLst>
          </p:cNvPr>
          <p:cNvSpPr>
            <a:spLocks noGrp="1"/>
          </p:cNvSpPr>
          <p:nvPr>
            <p:ph type="body" sz="quarter" idx="10"/>
          </p:nvPr>
        </p:nvSpPr>
        <p:spPr>
          <a:xfrm>
            <a:off x="586740" y="1201698"/>
            <a:ext cx="11018520" cy="5564600"/>
          </a:xfrm>
        </p:spPr>
        <p:txBody>
          <a:bodyPr/>
          <a:lstStyle/>
          <a:p>
            <a:pPr marL="514350" indent="-514350">
              <a:lnSpc>
                <a:spcPct val="150000"/>
              </a:lnSpc>
              <a:buFont typeface="+mj-lt"/>
              <a:buAutoNum type="arabicPeriod"/>
            </a:pPr>
            <a:r>
              <a:rPr lang="en-US" sz="2000" dirty="0">
                <a:latin typeface="+mj-lt"/>
              </a:rPr>
              <a:t>Overview of IoT Architecture</a:t>
            </a:r>
          </a:p>
          <a:p>
            <a:pPr marL="514350" indent="-514350">
              <a:lnSpc>
                <a:spcPct val="150000"/>
              </a:lnSpc>
              <a:buFont typeface="+mj-lt"/>
              <a:buAutoNum type="arabicPeriod"/>
            </a:pPr>
            <a:r>
              <a:rPr lang="en-US" sz="2000" dirty="0">
                <a:latin typeface="+mj-lt"/>
              </a:rPr>
              <a:t>IoT Data overview, Integrating IoT data, and Insights and Actions</a:t>
            </a:r>
          </a:p>
          <a:p>
            <a:pPr marL="514350" indent="-514350">
              <a:lnSpc>
                <a:spcPct val="150000"/>
              </a:lnSpc>
              <a:buFont typeface="+mj-lt"/>
              <a:buAutoNum type="arabicPeriod"/>
            </a:pPr>
            <a:r>
              <a:rPr lang="en-US" sz="2000" dirty="0">
                <a:latin typeface="+mj-lt"/>
              </a:rPr>
              <a:t>Stream Processing with Azure Stream Analytics</a:t>
            </a:r>
          </a:p>
          <a:p>
            <a:pPr marL="514350" indent="-514350">
              <a:lnSpc>
                <a:spcPct val="150000"/>
              </a:lnSpc>
              <a:buFont typeface="+mj-lt"/>
              <a:buAutoNum type="arabicPeriod"/>
            </a:pPr>
            <a:r>
              <a:rPr lang="en-US" sz="2000" dirty="0">
                <a:solidFill>
                  <a:srgbClr val="00B0F0"/>
                </a:solidFill>
                <a:latin typeface="+mj-lt"/>
              </a:rPr>
              <a:t>Demo: Identify anomalies by routing data via IoT Hub to a built-in ML model in Azure Stream Analytics</a:t>
            </a:r>
          </a:p>
          <a:p>
            <a:pPr marL="514350" indent="-514350">
              <a:lnSpc>
                <a:spcPct val="150000"/>
              </a:lnSpc>
              <a:buFont typeface="+mj-lt"/>
              <a:buAutoNum type="arabicPeriod"/>
            </a:pPr>
            <a:r>
              <a:rPr lang="en-US" sz="2000" dirty="0">
                <a:latin typeface="+mj-lt"/>
              </a:rPr>
              <a:t>Real-time actions with Logic Apps</a:t>
            </a:r>
          </a:p>
          <a:p>
            <a:pPr marL="514350" indent="-514350">
              <a:lnSpc>
                <a:spcPct val="150000"/>
              </a:lnSpc>
              <a:buFont typeface="+mj-lt"/>
              <a:buAutoNum type="arabicPeriod"/>
            </a:pPr>
            <a:r>
              <a:rPr lang="en-US" sz="2000" dirty="0">
                <a:latin typeface="+mj-lt"/>
              </a:rPr>
              <a:t>Time Series Insights</a:t>
            </a:r>
          </a:p>
          <a:p>
            <a:pPr marL="514350" indent="-514350">
              <a:lnSpc>
                <a:spcPct val="150000"/>
              </a:lnSpc>
              <a:buFont typeface="+mj-lt"/>
              <a:buAutoNum type="arabicPeriod"/>
            </a:pPr>
            <a:r>
              <a:rPr lang="en-US" sz="2000" dirty="0">
                <a:solidFill>
                  <a:srgbClr val="00B0F0"/>
                </a:solidFill>
                <a:latin typeface="+mj-lt"/>
              </a:rPr>
              <a:t>Demo: Collect, store, model and visualize timeseries and historical data with Time Series Insights</a:t>
            </a:r>
          </a:p>
          <a:p>
            <a:pPr marL="514350" indent="-514350">
              <a:lnSpc>
                <a:spcPct val="150000"/>
              </a:lnSpc>
              <a:buFont typeface="+mj-lt"/>
              <a:buAutoNum type="arabicPeriod"/>
            </a:pPr>
            <a:r>
              <a:rPr lang="en-US" sz="2000" dirty="0">
                <a:latin typeface="+mj-lt"/>
              </a:rPr>
              <a:t>Resources &amp; Getting started</a:t>
            </a:r>
          </a:p>
          <a:p>
            <a:pPr marL="514350" indent="-514350">
              <a:buFont typeface="+mj-lt"/>
              <a:buAutoNum type="arabicPeriod"/>
            </a:pPr>
            <a:endParaRPr lang="en-US" dirty="0"/>
          </a:p>
        </p:txBody>
      </p:sp>
    </p:spTree>
    <p:extLst>
      <p:ext uri="{BB962C8B-B14F-4D97-AF65-F5344CB8AC3E}">
        <p14:creationId xmlns:p14="http://schemas.microsoft.com/office/powerpoint/2010/main" val="327659335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A73F1FE-7C8B-4AB5-A7FA-338CBF1C6442}"/>
              </a:ext>
            </a:extLst>
          </p:cNvPr>
          <p:cNvSpPr/>
          <p:nvPr/>
        </p:nvSpPr>
        <p:spPr bwMode="auto">
          <a:xfrm>
            <a:off x="411479" y="5185155"/>
            <a:ext cx="3982515" cy="13001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rPr>
              <a:t>Connect your industrial assets with instant data ingestion and no extra coding or data preparation</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endParaRPr>
          </a:p>
        </p:txBody>
      </p:sp>
      <p:sp>
        <p:nvSpPr>
          <p:cNvPr id="192" name="Rectangle 191">
            <a:extLst>
              <a:ext uri="{FF2B5EF4-FFF2-40B4-BE49-F238E27FC236}">
                <a16:creationId xmlns:a16="http://schemas.microsoft.com/office/drawing/2014/main" id="{17900DA2-BDF6-4CD5-A9A3-5A171AA3F4DC}"/>
              </a:ext>
            </a:extLst>
          </p:cNvPr>
          <p:cNvSpPr/>
          <p:nvPr/>
        </p:nvSpPr>
        <p:spPr bwMode="auto">
          <a:xfrm>
            <a:off x="4420146" y="5185155"/>
            <a:ext cx="2144257" cy="13001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rPr>
              <a:t>Store your data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cross warm and cold storages so you can instantly access to streaming and historical IoT data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endParaRPr>
          </a:p>
        </p:txBody>
      </p:sp>
      <p:sp>
        <p:nvSpPr>
          <p:cNvPr id="193" name="Rectangle 192">
            <a:extLst>
              <a:ext uri="{FF2B5EF4-FFF2-40B4-BE49-F238E27FC236}">
                <a16:creationId xmlns:a16="http://schemas.microsoft.com/office/drawing/2014/main" id="{8B7342C7-126A-4624-A834-0E925D5D6315}"/>
              </a:ext>
            </a:extLst>
          </p:cNvPr>
          <p:cNvSpPr/>
          <p:nvPr/>
        </p:nvSpPr>
        <p:spPr bwMode="auto">
          <a:xfrm>
            <a:off x="6590554" y="5185155"/>
            <a:ext cx="2126935" cy="13001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rPr>
              <a:t>Contextualize your data with nesting menus showing hierarchies, relationships and properties to get a clearer picture of your operation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endParaRPr>
          </a:p>
        </p:txBody>
      </p:sp>
      <p:sp>
        <p:nvSpPr>
          <p:cNvPr id="197" name="Rectangle 196">
            <a:extLst>
              <a:ext uri="{FF2B5EF4-FFF2-40B4-BE49-F238E27FC236}">
                <a16:creationId xmlns:a16="http://schemas.microsoft.com/office/drawing/2014/main" id="{A4165BBC-9CF0-4F77-9B1E-C87284D0ACFD}"/>
              </a:ext>
            </a:extLst>
          </p:cNvPr>
          <p:cNvSpPr/>
          <p:nvPr/>
        </p:nvSpPr>
        <p:spPr bwMode="auto">
          <a:xfrm>
            <a:off x="8735170" y="5185155"/>
            <a:ext cx="3045352" cy="13001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rPr>
              <a:t>Analyze your data with a turnkey experience of rich graphic visualizations and tools to help you go deep into your IoT data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Segoe UI" panose="020B0502040204020203" pitchFamily="34" charset="0"/>
            </a:endParaRPr>
          </a:p>
        </p:txBody>
      </p:sp>
      <p:sp>
        <p:nvSpPr>
          <p:cNvPr id="102" name="Freeform: Shape 101">
            <a:extLst>
              <a:ext uri="{FF2B5EF4-FFF2-40B4-BE49-F238E27FC236}">
                <a16:creationId xmlns:a16="http://schemas.microsoft.com/office/drawing/2014/main" id="{C4A33DC2-0AC2-4096-94E8-4882913A7FCB}"/>
              </a:ext>
            </a:extLst>
          </p:cNvPr>
          <p:cNvSpPr/>
          <p:nvPr/>
        </p:nvSpPr>
        <p:spPr bwMode="auto">
          <a:xfrm>
            <a:off x="950440" y="2104679"/>
            <a:ext cx="992070" cy="2443324"/>
          </a:xfrm>
          <a:custGeom>
            <a:avLst/>
            <a:gdLst>
              <a:gd name="connsiteX0" fmla="*/ 568562 w 992070"/>
              <a:gd name="connsiteY0" fmla="*/ 0 h 2443324"/>
              <a:gd name="connsiteX1" fmla="*/ 676485 w 992070"/>
              <a:gd name="connsiteY1" fmla="*/ 0 h 2443324"/>
              <a:gd name="connsiteX2" fmla="*/ 676485 w 992070"/>
              <a:gd name="connsiteY2" fmla="*/ 387341 h 2443324"/>
              <a:gd name="connsiteX3" fmla="*/ 677243 w 992070"/>
              <a:gd name="connsiteY3" fmla="*/ 387341 h 2443324"/>
              <a:gd name="connsiteX4" fmla="*/ 677243 w 992070"/>
              <a:gd name="connsiteY4" fmla="*/ 497069 h 2443324"/>
              <a:gd name="connsiteX5" fmla="*/ 676485 w 992070"/>
              <a:gd name="connsiteY5" fmla="*/ 497069 h 2443324"/>
              <a:gd name="connsiteX6" fmla="*/ 676485 w 992070"/>
              <a:gd name="connsiteY6" fmla="*/ 1165808 h 2443324"/>
              <a:gd name="connsiteX7" fmla="*/ 992070 w 992070"/>
              <a:gd name="connsiteY7" fmla="*/ 1165808 h 2443324"/>
              <a:gd name="connsiteX8" fmla="*/ 992070 w 992070"/>
              <a:gd name="connsiteY8" fmla="*/ 1275536 h 2443324"/>
              <a:gd name="connsiteX9" fmla="*/ 676485 w 992070"/>
              <a:gd name="connsiteY9" fmla="*/ 1275536 h 2443324"/>
              <a:gd name="connsiteX10" fmla="*/ 676485 w 992070"/>
              <a:gd name="connsiteY10" fmla="*/ 1944275 h 2443324"/>
              <a:gd name="connsiteX11" fmla="*/ 677243 w 992070"/>
              <a:gd name="connsiteY11" fmla="*/ 1944275 h 2443324"/>
              <a:gd name="connsiteX12" fmla="*/ 677243 w 992070"/>
              <a:gd name="connsiteY12" fmla="*/ 2054003 h 2443324"/>
              <a:gd name="connsiteX13" fmla="*/ 676485 w 992070"/>
              <a:gd name="connsiteY13" fmla="*/ 2054003 h 2443324"/>
              <a:gd name="connsiteX14" fmla="*/ 676485 w 992070"/>
              <a:gd name="connsiteY14" fmla="*/ 2443322 h 2443324"/>
              <a:gd name="connsiteX15" fmla="*/ 672478 w 992070"/>
              <a:gd name="connsiteY15" fmla="*/ 2443322 h 2443324"/>
              <a:gd name="connsiteX16" fmla="*/ 672478 w 992070"/>
              <a:gd name="connsiteY16" fmla="*/ 2443324 h 2443324"/>
              <a:gd name="connsiteX17" fmla="*/ 1 w 992070"/>
              <a:gd name="connsiteY17" fmla="*/ 2443324 h 2443324"/>
              <a:gd name="connsiteX18" fmla="*/ 1 w 992070"/>
              <a:gd name="connsiteY18" fmla="*/ 2335401 h 2443324"/>
              <a:gd name="connsiteX19" fmla="*/ 568562 w 992070"/>
              <a:gd name="connsiteY19" fmla="*/ 2335401 h 2443324"/>
              <a:gd name="connsiteX20" fmla="*/ 568562 w 992070"/>
              <a:gd name="connsiteY20" fmla="*/ 1664857 h 2443324"/>
              <a:gd name="connsiteX21" fmla="*/ 0 w 992070"/>
              <a:gd name="connsiteY21" fmla="*/ 1664857 h 2443324"/>
              <a:gd name="connsiteX22" fmla="*/ 0 w 992070"/>
              <a:gd name="connsiteY22" fmla="*/ 1556934 h 2443324"/>
              <a:gd name="connsiteX23" fmla="*/ 568562 w 992070"/>
              <a:gd name="connsiteY23" fmla="*/ 1556934 h 2443324"/>
              <a:gd name="connsiteX24" fmla="*/ 568562 w 992070"/>
              <a:gd name="connsiteY24" fmla="*/ 886392 h 2443324"/>
              <a:gd name="connsiteX25" fmla="*/ 2361 w 992070"/>
              <a:gd name="connsiteY25" fmla="*/ 886392 h 2443324"/>
              <a:gd name="connsiteX26" fmla="*/ 2361 w 992070"/>
              <a:gd name="connsiteY26" fmla="*/ 778469 h 2443324"/>
              <a:gd name="connsiteX27" fmla="*/ 568562 w 992070"/>
              <a:gd name="connsiteY27" fmla="*/ 778469 h 2443324"/>
              <a:gd name="connsiteX28" fmla="*/ 568562 w 992070"/>
              <a:gd name="connsiteY28" fmla="*/ 107924 h 2443324"/>
              <a:gd name="connsiteX29" fmla="*/ 0 w 992070"/>
              <a:gd name="connsiteY29" fmla="*/ 107924 h 2443324"/>
              <a:gd name="connsiteX30" fmla="*/ 0 w 992070"/>
              <a:gd name="connsiteY30" fmla="*/ 1 h 2443324"/>
              <a:gd name="connsiteX31" fmla="*/ 568562 w 992070"/>
              <a:gd name="connsiteY31" fmla="*/ 1 h 244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2070" h="2443324">
                <a:moveTo>
                  <a:pt x="568562" y="0"/>
                </a:moveTo>
                <a:lnTo>
                  <a:pt x="676485" y="0"/>
                </a:lnTo>
                <a:lnTo>
                  <a:pt x="676485" y="387341"/>
                </a:lnTo>
                <a:lnTo>
                  <a:pt x="677243" y="387341"/>
                </a:lnTo>
                <a:lnTo>
                  <a:pt x="677243" y="497069"/>
                </a:lnTo>
                <a:lnTo>
                  <a:pt x="676485" y="497069"/>
                </a:lnTo>
                <a:lnTo>
                  <a:pt x="676485" y="1165808"/>
                </a:lnTo>
                <a:lnTo>
                  <a:pt x="992070" y="1165808"/>
                </a:lnTo>
                <a:lnTo>
                  <a:pt x="992070" y="1275536"/>
                </a:lnTo>
                <a:lnTo>
                  <a:pt x="676485" y="1275536"/>
                </a:lnTo>
                <a:lnTo>
                  <a:pt x="676485" y="1944275"/>
                </a:lnTo>
                <a:lnTo>
                  <a:pt x="677243" y="1944275"/>
                </a:lnTo>
                <a:lnTo>
                  <a:pt x="677243" y="2054003"/>
                </a:lnTo>
                <a:lnTo>
                  <a:pt x="676485" y="2054003"/>
                </a:lnTo>
                <a:lnTo>
                  <a:pt x="676485" y="2443322"/>
                </a:lnTo>
                <a:lnTo>
                  <a:pt x="672478" y="2443322"/>
                </a:lnTo>
                <a:lnTo>
                  <a:pt x="672478" y="2443324"/>
                </a:lnTo>
                <a:lnTo>
                  <a:pt x="1" y="2443324"/>
                </a:lnTo>
                <a:lnTo>
                  <a:pt x="1" y="2335401"/>
                </a:lnTo>
                <a:lnTo>
                  <a:pt x="568562" y="2335401"/>
                </a:lnTo>
                <a:lnTo>
                  <a:pt x="568562" y="1664857"/>
                </a:lnTo>
                <a:lnTo>
                  <a:pt x="0" y="1664857"/>
                </a:lnTo>
                <a:lnTo>
                  <a:pt x="0" y="1556934"/>
                </a:lnTo>
                <a:lnTo>
                  <a:pt x="568562" y="1556934"/>
                </a:lnTo>
                <a:lnTo>
                  <a:pt x="568562" y="886392"/>
                </a:lnTo>
                <a:lnTo>
                  <a:pt x="2361" y="886392"/>
                </a:lnTo>
                <a:lnTo>
                  <a:pt x="2361" y="778469"/>
                </a:lnTo>
                <a:lnTo>
                  <a:pt x="568562" y="778469"/>
                </a:lnTo>
                <a:lnTo>
                  <a:pt x="568562" y="107924"/>
                </a:lnTo>
                <a:lnTo>
                  <a:pt x="0" y="107924"/>
                </a:lnTo>
                <a:lnTo>
                  <a:pt x="0" y="1"/>
                </a:lnTo>
                <a:lnTo>
                  <a:pt x="568562" y="1"/>
                </a:lnTo>
                <a:close/>
              </a:path>
            </a:pathLst>
          </a:custGeom>
          <a:solidFill>
            <a:schemeClr val="bg1">
              <a:lumMod val="9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108" name="Oval 107">
            <a:extLst>
              <a:ext uri="{FF2B5EF4-FFF2-40B4-BE49-F238E27FC236}">
                <a16:creationId xmlns:a16="http://schemas.microsoft.com/office/drawing/2014/main" id="{866D1405-F571-48FD-9D1B-B434986DBA88}"/>
              </a:ext>
            </a:extLst>
          </p:cNvPr>
          <p:cNvSpPr/>
          <p:nvPr/>
        </p:nvSpPr>
        <p:spPr bwMode="auto">
          <a:xfrm>
            <a:off x="412973" y="2676814"/>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109" name="Oval 108">
            <a:extLst>
              <a:ext uri="{FF2B5EF4-FFF2-40B4-BE49-F238E27FC236}">
                <a16:creationId xmlns:a16="http://schemas.microsoft.com/office/drawing/2014/main" id="{10C1BFDA-E6DD-4811-9891-15D9138E280C}"/>
              </a:ext>
            </a:extLst>
          </p:cNvPr>
          <p:cNvSpPr/>
          <p:nvPr/>
        </p:nvSpPr>
        <p:spPr bwMode="auto">
          <a:xfrm>
            <a:off x="412973" y="3455281"/>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110" name="Oval 109">
            <a:extLst>
              <a:ext uri="{FF2B5EF4-FFF2-40B4-BE49-F238E27FC236}">
                <a16:creationId xmlns:a16="http://schemas.microsoft.com/office/drawing/2014/main" id="{D4F65685-D2F9-4836-A649-B98E461CAA2A}"/>
              </a:ext>
            </a:extLst>
          </p:cNvPr>
          <p:cNvSpPr/>
          <p:nvPr/>
        </p:nvSpPr>
        <p:spPr bwMode="auto">
          <a:xfrm>
            <a:off x="412973" y="4233748"/>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107" name="Oval 106">
            <a:extLst>
              <a:ext uri="{FF2B5EF4-FFF2-40B4-BE49-F238E27FC236}">
                <a16:creationId xmlns:a16="http://schemas.microsoft.com/office/drawing/2014/main" id="{9827BC0B-BD1C-4333-9A7B-B9E8972FB46C}"/>
              </a:ext>
            </a:extLst>
          </p:cNvPr>
          <p:cNvSpPr/>
          <p:nvPr/>
        </p:nvSpPr>
        <p:spPr bwMode="auto">
          <a:xfrm>
            <a:off x="412973" y="1920512"/>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1770" name="Arrow: Pentagon 1769">
            <a:extLst>
              <a:ext uri="{FF2B5EF4-FFF2-40B4-BE49-F238E27FC236}">
                <a16:creationId xmlns:a16="http://schemas.microsoft.com/office/drawing/2014/main" id="{2BAB49DC-F374-48F9-AECA-E070736FEB60}"/>
              </a:ext>
            </a:extLst>
          </p:cNvPr>
          <p:cNvSpPr/>
          <p:nvPr/>
        </p:nvSpPr>
        <p:spPr bwMode="auto">
          <a:xfrm>
            <a:off x="1538574" y="3135220"/>
            <a:ext cx="8023605" cy="349985"/>
          </a:xfrm>
          <a:prstGeom prst="homePlate">
            <a:avLst>
              <a:gd name="adj" fmla="val 3264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2" name="Title 1">
            <a:extLst>
              <a:ext uri="{FF2B5EF4-FFF2-40B4-BE49-F238E27FC236}">
                <a16:creationId xmlns:a16="http://schemas.microsoft.com/office/drawing/2014/main" id="{AA3C0A32-619F-4D65-AA3C-5C2E5162DE0E}"/>
              </a:ext>
            </a:extLst>
          </p:cNvPr>
          <p:cNvSpPr>
            <a:spLocks noGrp="1"/>
          </p:cNvSpPr>
          <p:nvPr>
            <p:ph type="title" idx="4294967295"/>
          </p:nvPr>
        </p:nvSpPr>
        <p:spPr>
          <a:xfrm>
            <a:off x="569409" y="194800"/>
            <a:ext cx="11049000" cy="492443"/>
          </a:xfrm>
        </p:spPr>
        <p:txBody>
          <a:bodyPr anchor="ctr">
            <a:noAutofit/>
          </a:bodyPr>
          <a:lstStyle/>
          <a:p>
            <a:r>
              <a:rPr lang="en-US" sz="2800" dirty="0">
                <a:solidFill>
                  <a:schemeClr val="accent2"/>
                </a:solidFill>
              </a:rPr>
              <a:t>Turn insight into action with an end-to-end analytics platform</a:t>
            </a:r>
          </a:p>
        </p:txBody>
      </p:sp>
      <p:sp>
        <p:nvSpPr>
          <p:cNvPr id="1614" name="Arrow: Chevron 1613">
            <a:extLst>
              <a:ext uri="{FF2B5EF4-FFF2-40B4-BE49-F238E27FC236}">
                <a16:creationId xmlns:a16="http://schemas.microsoft.com/office/drawing/2014/main" id="{FB1DECB4-80C1-4B9A-87EE-0913DF35AD78}"/>
              </a:ext>
              <a:ext uri="{C183D7F6-B498-43B3-948B-1728B52AA6E4}">
                <adec:decorative xmlns:adec="http://schemas.microsoft.com/office/drawing/2017/decorative" val="1"/>
              </a:ext>
            </a:extLst>
          </p:cNvPr>
          <p:cNvSpPr/>
          <p:nvPr/>
        </p:nvSpPr>
        <p:spPr>
          <a:xfrm>
            <a:off x="4414712" y="1342055"/>
            <a:ext cx="2225997" cy="320040"/>
          </a:xfrm>
          <a:prstGeom prst="chevron">
            <a:avLst>
              <a:gd name="adj" fmla="val 35474"/>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Store</a:t>
            </a:r>
          </a:p>
        </p:txBody>
      </p:sp>
      <p:sp>
        <p:nvSpPr>
          <p:cNvPr id="1616" name="Arrow: Chevron 1615">
            <a:extLst>
              <a:ext uri="{FF2B5EF4-FFF2-40B4-BE49-F238E27FC236}">
                <a16:creationId xmlns:a16="http://schemas.microsoft.com/office/drawing/2014/main" id="{DD1968AE-94C6-4302-95E8-AFC5BBA18B00}"/>
              </a:ext>
              <a:ext uri="{C183D7F6-B498-43B3-948B-1728B52AA6E4}">
                <adec:decorative xmlns:adec="http://schemas.microsoft.com/office/drawing/2017/decorative" val="1"/>
              </a:ext>
            </a:extLst>
          </p:cNvPr>
          <p:cNvSpPr/>
          <p:nvPr/>
        </p:nvSpPr>
        <p:spPr>
          <a:xfrm>
            <a:off x="6566210" y="1342055"/>
            <a:ext cx="2225997" cy="320040"/>
          </a:xfrm>
          <a:prstGeom prst="chevron">
            <a:avLst>
              <a:gd name="adj" fmla="val 35474"/>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Model</a:t>
            </a:r>
          </a:p>
        </p:txBody>
      </p:sp>
      <p:sp>
        <p:nvSpPr>
          <p:cNvPr id="1619" name="Rectangle 1618">
            <a:extLst>
              <a:ext uri="{FF2B5EF4-FFF2-40B4-BE49-F238E27FC236}">
                <a16:creationId xmlns:a16="http://schemas.microsoft.com/office/drawing/2014/main" id="{3950CC36-562A-4A99-82A7-A50967C7376D}"/>
              </a:ext>
              <a:ext uri="{C183D7F6-B498-43B3-948B-1728B52AA6E4}">
                <adec:decorative xmlns:adec="http://schemas.microsoft.com/office/drawing/2017/decorative" val="1"/>
              </a:ext>
            </a:extLst>
          </p:cNvPr>
          <p:cNvSpPr/>
          <p:nvPr/>
        </p:nvSpPr>
        <p:spPr>
          <a:xfrm>
            <a:off x="4411675" y="5108231"/>
            <a:ext cx="2152728" cy="91440"/>
          </a:xfrm>
          <a:prstGeom prst="rect">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1620" name="Rectangle 1619">
            <a:extLst>
              <a:ext uri="{FF2B5EF4-FFF2-40B4-BE49-F238E27FC236}">
                <a16:creationId xmlns:a16="http://schemas.microsoft.com/office/drawing/2014/main" id="{8D7F8160-2918-4325-B3FB-752948B3F617}"/>
              </a:ext>
              <a:ext uri="{C183D7F6-B498-43B3-948B-1728B52AA6E4}">
                <adec:decorative xmlns:adec="http://schemas.microsoft.com/office/drawing/2017/decorative" val="1"/>
              </a:ext>
            </a:extLst>
          </p:cNvPr>
          <p:cNvSpPr/>
          <p:nvPr/>
        </p:nvSpPr>
        <p:spPr>
          <a:xfrm>
            <a:off x="6590555" y="5108231"/>
            <a:ext cx="2126935" cy="91440"/>
          </a:xfrm>
          <a:prstGeom prst="rect">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5" name="Oval 4">
            <a:extLst>
              <a:ext uri="{FF2B5EF4-FFF2-40B4-BE49-F238E27FC236}">
                <a16:creationId xmlns:a16="http://schemas.microsoft.com/office/drawing/2014/main" id="{DF32AA69-4DC3-4A9C-9367-E3A7A21F452B}"/>
              </a:ext>
            </a:extLst>
          </p:cNvPr>
          <p:cNvSpPr/>
          <p:nvPr/>
        </p:nvSpPr>
        <p:spPr bwMode="auto">
          <a:xfrm>
            <a:off x="2390875" y="2597156"/>
            <a:ext cx="1342808" cy="13428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1627" name="Rectangle 1626">
            <a:extLst>
              <a:ext uri="{FF2B5EF4-FFF2-40B4-BE49-F238E27FC236}">
                <a16:creationId xmlns:a16="http://schemas.microsoft.com/office/drawing/2014/main" id="{608B9193-E0FE-4AA1-A4C5-90C41F94EB5F}"/>
              </a:ext>
            </a:extLst>
          </p:cNvPr>
          <p:cNvSpPr/>
          <p:nvPr/>
        </p:nvSpPr>
        <p:spPr bwMode="auto">
          <a:xfrm>
            <a:off x="8017272" y="3607785"/>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pic>
        <p:nvPicPr>
          <p:cNvPr id="1649" name="Picture 1648">
            <a:extLst>
              <a:ext uri="{FF2B5EF4-FFF2-40B4-BE49-F238E27FC236}">
                <a16:creationId xmlns:a16="http://schemas.microsoft.com/office/drawing/2014/main" id="{8964B49F-0801-4D61-872D-0047913C212D}"/>
              </a:ext>
            </a:extLst>
          </p:cNvPr>
          <p:cNvPicPr>
            <a:picLocks noChangeAspect="1"/>
          </p:cNvPicPr>
          <p:nvPr/>
        </p:nvPicPr>
        <p:blipFill>
          <a:blip r:embed="rId3">
            <a:duotone>
              <a:schemeClr val="accent1">
                <a:shade val="45000"/>
                <a:satMod val="135000"/>
              </a:schemeClr>
              <a:prstClr val="white"/>
            </a:duotone>
            <a:lum bright="-20000"/>
          </a:blip>
          <a:stretch>
            <a:fillRect/>
          </a:stretch>
        </p:blipFill>
        <p:spPr>
          <a:xfrm>
            <a:off x="2365997" y="2707133"/>
            <a:ext cx="1395405" cy="1203741"/>
          </a:xfrm>
          <a:prstGeom prst="rect">
            <a:avLst/>
          </a:prstGeom>
        </p:spPr>
      </p:pic>
      <p:grpSp>
        <p:nvGrpSpPr>
          <p:cNvPr id="1650" name="Group 1649">
            <a:extLst>
              <a:ext uri="{FF2B5EF4-FFF2-40B4-BE49-F238E27FC236}">
                <a16:creationId xmlns:a16="http://schemas.microsoft.com/office/drawing/2014/main" id="{D64CFFDD-438E-4EF3-96CC-3A7744CF2D82}"/>
              </a:ext>
            </a:extLst>
          </p:cNvPr>
          <p:cNvGrpSpPr/>
          <p:nvPr/>
        </p:nvGrpSpPr>
        <p:grpSpPr>
          <a:xfrm>
            <a:off x="7174764" y="2502980"/>
            <a:ext cx="1032392" cy="1660418"/>
            <a:chOff x="7172802" y="3508888"/>
            <a:chExt cx="853216" cy="1372246"/>
          </a:xfrm>
        </p:grpSpPr>
        <p:sp>
          <p:nvSpPr>
            <p:cNvPr id="1651" name="Freeform: Shape 1650">
              <a:extLst>
                <a:ext uri="{FF2B5EF4-FFF2-40B4-BE49-F238E27FC236}">
                  <a16:creationId xmlns:a16="http://schemas.microsoft.com/office/drawing/2014/main" id="{DBF31BBC-5A4E-4D8D-927C-1B11707FE6C1}"/>
                </a:ext>
              </a:extLst>
            </p:cNvPr>
            <p:cNvSpPr/>
            <p:nvPr/>
          </p:nvSpPr>
          <p:spPr bwMode="auto">
            <a:xfrm>
              <a:off x="7194926" y="4137515"/>
              <a:ext cx="792956" cy="340519"/>
            </a:xfrm>
            <a:custGeom>
              <a:avLst/>
              <a:gdLst>
                <a:gd name="connsiteX0" fmla="*/ 376237 w 792956"/>
                <a:gd name="connsiteY0" fmla="*/ 0 h 340519"/>
                <a:gd name="connsiteX1" fmla="*/ 0 w 792956"/>
                <a:gd name="connsiteY1" fmla="*/ 138113 h 340519"/>
                <a:gd name="connsiteX2" fmla="*/ 388144 w 792956"/>
                <a:gd name="connsiteY2" fmla="*/ 340519 h 340519"/>
                <a:gd name="connsiteX3" fmla="*/ 792956 w 792956"/>
                <a:gd name="connsiteY3" fmla="*/ 154782 h 340519"/>
                <a:gd name="connsiteX4" fmla="*/ 376237 w 792956"/>
                <a:gd name="connsiteY4" fmla="*/ 0 h 34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956" h="340519">
                  <a:moveTo>
                    <a:pt x="376237" y="0"/>
                  </a:moveTo>
                  <a:lnTo>
                    <a:pt x="0" y="138113"/>
                  </a:lnTo>
                  <a:lnTo>
                    <a:pt x="388144" y="340519"/>
                  </a:lnTo>
                  <a:lnTo>
                    <a:pt x="792956" y="154782"/>
                  </a:lnTo>
                  <a:lnTo>
                    <a:pt x="376237"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1652" name="Group 1651">
              <a:extLst>
                <a:ext uri="{FF2B5EF4-FFF2-40B4-BE49-F238E27FC236}">
                  <a16:creationId xmlns:a16="http://schemas.microsoft.com/office/drawing/2014/main" id="{D4B526CB-A17A-4CC5-BD46-760220F60D0E}"/>
                </a:ext>
              </a:extLst>
            </p:cNvPr>
            <p:cNvGrpSpPr/>
            <p:nvPr/>
          </p:nvGrpSpPr>
          <p:grpSpPr>
            <a:xfrm>
              <a:off x="7172802" y="3508888"/>
              <a:ext cx="853216" cy="1372246"/>
              <a:chOff x="7551470" y="2878314"/>
              <a:chExt cx="775651" cy="1247496"/>
            </a:xfrm>
            <a:solidFill>
              <a:schemeClr val="bg1"/>
            </a:solidFill>
          </p:grpSpPr>
          <p:sp>
            <p:nvSpPr>
              <p:cNvPr id="1653" name="Freeform: Shape 308">
                <a:extLst>
                  <a:ext uri="{FF2B5EF4-FFF2-40B4-BE49-F238E27FC236}">
                    <a16:creationId xmlns:a16="http://schemas.microsoft.com/office/drawing/2014/main" id="{F629162D-237E-452C-9402-3121604EAE20}"/>
                  </a:ext>
                </a:extLst>
              </p:cNvPr>
              <p:cNvSpPr/>
              <p:nvPr/>
            </p:nvSpPr>
            <p:spPr>
              <a:xfrm>
                <a:off x="7551470" y="3426792"/>
                <a:ext cx="775651" cy="699018"/>
              </a:xfrm>
              <a:custGeom>
                <a:avLst/>
                <a:gdLst>
                  <a:gd name="connsiteX0" fmla="*/ 452166 w 457200"/>
                  <a:gd name="connsiteY0" fmla="*/ 74976 h 304800"/>
                  <a:gd name="connsiteX1" fmla="*/ 452166 w 457200"/>
                  <a:gd name="connsiteY1" fmla="*/ 98788 h 304800"/>
                  <a:gd name="connsiteX2" fmla="*/ 220708 w 457200"/>
                  <a:gd name="connsiteY2" fmla="*/ 182608 h 304800"/>
                  <a:gd name="connsiteX3" fmla="*/ 7348 w 457200"/>
                  <a:gd name="connsiteY3" fmla="*/ 95931 h 304800"/>
                  <a:gd name="connsiteX4" fmla="*/ 7348 w 457200"/>
                  <a:gd name="connsiteY4" fmla="*/ 65451 h 304800"/>
                  <a:gd name="connsiteX5" fmla="*/ 220708 w 457200"/>
                  <a:gd name="connsiteY5" fmla="*/ 7348 h 304800"/>
                  <a:gd name="connsiteX6" fmla="*/ 452166 w 457200"/>
                  <a:gd name="connsiteY6" fmla="*/ 74976 h 304800"/>
                  <a:gd name="connsiteX7" fmla="*/ 10205 w 457200"/>
                  <a:gd name="connsiteY7" fmla="*/ 126411 h 304800"/>
                  <a:gd name="connsiteX8" fmla="*/ 220708 w 457200"/>
                  <a:gd name="connsiteY8" fmla="*/ 212136 h 304800"/>
                  <a:gd name="connsiteX9" fmla="*/ 448355 w 457200"/>
                  <a:gd name="connsiteY9" fmla="*/ 129268 h 304800"/>
                  <a:gd name="connsiteX10" fmla="*/ 10205 w 457200"/>
                  <a:gd name="connsiteY10" fmla="*/ 158796 h 304800"/>
                  <a:gd name="connsiteX11" fmla="*/ 220708 w 457200"/>
                  <a:gd name="connsiteY11" fmla="*/ 244521 h 304800"/>
                  <a:gd name="connsiteX12" fmla="*/ 448355 w 457200"/>
                  <a:gd name="connsiteY12" fmla="*/ 161653 h 304800"/>
                  <a:gd name="connsiteX13" fmla="*/ 10205 w 457200"/>
                  <a:gd name="connsiteY13" fmla="*/ 189276 h 304800"/>
                  <a:gd name="connsiteX14" fmla="*/ 220708 w 457200"/>
                  <a:gd name="connsiteY14" fmla="*/ 275001 h 304800"/>
                  <a:gd name="connsiteX15" fmla="*/ 449308 w 457200"/>
                  <a:gd name="connsiteY15" fmla="*/ 192133 h 304800"/>
                  <a:gd name="connsiteX16" fmla="*/ 7348 w 457200"/>
                  <a:gd name="connsiteY16" fmla="*/ 95931 h 304800"/>
                  <a:gd name="connsiteX17" fmla="*/ 7348 w 457200"/>
                  <a:gd name="connsiteY17" fmla="*/ 219756 h 304800"/>
                  <a:gd name="connsiteX18" fmla="*/ 220708 w 457200"/>
                  <a:gd name="connsiteY18" fmla="*/ 306433 h 304800"/>
                  <a:gd name="connsiteX19" fmla="*/ 452166 w 457200"/>
                  <a:gd name="connsiteY19" fmla="*/ 222613 h 304800"/>
                  <a:gd name="connsiteX20" fmla="*/ 452166 w 457200"/>
                  <a:gd name="connsiteY20" fmla="*/ 95931 h 304800"/>
                  <a:gd name="connsiteX21" fmla="*/ 14016 w 457200"/>
                  <a:gd name="connsiteY21" fmla="*/ 68308 h 304800"/>
                  <a:gd name="connsiteX22" fmla="*/ 220708 w 457200"/>
                  <a:gd name="connsiteY22" fmla="*/ 147366 h 304800"/>
                  <a:gd name="connsiteX23" fmla="*/ 439783 w 457200"/>
                  <a:gd name="connsiteY23" fmla="*/ 7497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304800">
                    <a:moveTo>
                      <a:pt x="452166" y="74976"/>
                    </a:moveTo>
                    <a:lnTo>
                      <a:pt x="452166" y="98788"/>
                    </a:lnTo>
                    <a:lnTo>
                      <a:pt x="220708" y="182608"/>
                    </a:lnTo>
                    <a:lnTo>
                      <a:pt x="7348" y="95931"/>
                    </a:lnTo>
                    <a:lnTo>
                      <a:pt x="7348" y="65451"/>
                    </a:lnTo>
                    <a:lnTo>
                      <a:pt x="220708" y="7348"/>
                    </a:lnTo>
                    <a:lnTo>
                      <a:pt x="452166" y="74976"/>
                    </a:lnTo>
                    <a:close/>
                    <a:moveTo>
                      <a:pt x="10205" y="126411"/>
                    </a:moveTo>
                    <a:lnTo>
                      <a:pt x="220708" y="212136"/>
                    </a:lnTo>
                    <a:lnTo>
                      <a:pt x="448355" y="129268"/>
                    </a:lnTo>
                    <a:moveTo>
                      <a:pt x="10205" y="158796"/>
                    </a:moveTo>
                    <a:lnTo>
                      <a:pt x="220708" y="244521"/>
                    </a:lnTo>
                    <a:lnTo>
                      <a:pt x="448355" y="161653"/>
                    </a:lnTo>
                    <a:moveTo>
                      <a:pt x="10205" y="189276"/>
                    </a:moveTo>
                    <a:lnTo>
                      <a:pt x="220708" y="275001"/>
                    </a:lnTo>
                    <a:lnTo>
                      <a:pt x="449308" y="192133"/>
                    </a:lnTo>
                    <a:moveTo>
                      <a:pt x="7348" y="95931"/>
                    </a:moveTo>
                    <a:lnTo>
                      <a:pt x="7348" y="219756"/>
                    </a:lnTo>
                    <a:lnTo>
                      <a:pt x="220708" y="306433"/>
                    </a:lnTo>
                    <a:lnTo>
                      <a:pt x="452166" y="222613"/>
                    </a:lnTo>
                    <a:lnTo>
                      <a:pt x="452166" y="95931"/>
                    </a:lnTo>
                    <a:moveTo>
                      <a:pt x="14016" y="68308"/>
                    </a:moveTo>
                    <a:lnTo>
                      <a:pt x="220708" y="147366"/>
                    </a:lnTo>
                    <a:lnTo>
                      <a:pt x="439783" y="74976"/>
                    </a:lnTo>
                  </a:path>
                </a:pathLst>
              </a:cu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nvGrpSpPr>
              <p:cNvPr id="1654" name="Group 1653">
                <a:extLst>
                  <a:ext uri="{FF2B5EF4-FFF2-40B4-BE49-F238E27FC236}">
                    <a16:creationId xmlns:a16="http://schemas.microsoft.com/office/drawing/2014/main" id="{FBF3A9B4-3144-459D-A8CB-17DD17169E7C}"/>
                  </a:ext>
                </a:extLst>
              </p:cNvPr>
              <p:cNvGrpSpPr/>
              <p:nvPr/>
            </p:nvGrpSpPr>
            <p:grpSpPr>
              <a:xfrm>
                <a:off x="7621836" y="2878314"/>
                <a:ext cx="593389" cy="533513"/>
                <a:chOff x="665019" y="3039690"/>
                <a:chExt cx="542084" cy="536126"/>
              </a:xfrm>
              <a:grpFill/>
            </p:grpSpPr>
            <p:sp>
              <p:nvSpPr>
                <p:cNvPr id="1655" name="Freeform: Shape 339">
                  <a:extLst>
                    <a:ext uri="{FF2B5EF4-FFF2-40B4-BE49-F238E27FC236}">
                      <a16:creationId xmlns:a16="http://schemas.microsoft.com/office/drawing/2014/main" id="{8AA6A68C-DD9D-4BF7-93C3-7D07C5018506}"/>
                    </a:ext>
                  </a:extLst>
                </p:cNvPr>
                <p:cNvSpPr/>
                <p:nvPr/>
              </p:nvSpPr>
              <p:spPr>
                <a:xfrm>
                  <a:off x="818994" y="3039690"/>
                  <a:ext cx="236514" cy="266992"/>
                </a:xfrm>
                <a:custGeom>
                  <a:avLst/>
                  <a:gdLst>
                    <a:gd name="connsiteX0" fmla="*/ 277178 w 554355"/>
                    <a:gd name="connsiteY0" fmla="*/ 277178 h 625792"/>
                    <a:gd name="connsiteX1" fmla="*/ 277178 w 554355"/>
                    <a:gd name="connsiteY1" fmla="*/ 624840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7178"/>
                      </a:moveTo>
                      <a:lnTo>
                        <a:pt x="277178" y="624840"/>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656" name="Freeform: Shape 340">
                  <a:extLst>
                    <a:ext uri="{FF2B5EF4-FFF2-40B4-BE49-F238E27FC236}">
                      <a16:creationId xmlns:a16="http://schemas.microsoft.com/office/drawing/2014/main" id="{9A9DF18E-3E11-48A5-AC79-AE841BDEB61E}"/>
                    </a:ext>
                  </a:extLst>
                </p:cNvPr>
                <p:cNvSpPr/>
                <p:nvPr/>
              </p:nvSpPr>
              <p:spPr>
                <a:xfrm>
                  <a:off x="97058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657" name="Freeform: Shape 341">
                  <a:extLst>
                    <a:ext uri="{FF2B5EF4-FFF2-40B4-BE49-F238E27FC236}">
                      <a16:creationId xmlns:a16="http://schemas.microsoft.com/office/drawing/2014/main" id="{513C62D8-CCF0-4235-BD43-F0F3E8097EB3}"/>
                    </a:ext>
                  </a:extLst>
                </p:cNvPr>
                <p:cNvSpPr/>
                <p:nvPr/>
              </p:nvSpPr>
              <p:spPr>
                <a:xfrm>
                  <a:off x="66501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grpSp>
      <p:grpSp>
        <p:nvGrpSpPr>
          <p:cNvPr id="1659" name="Group 1658">
            <a:extLst>
              <a:ext uri="{FF2B5EF4-FFF2-40B4-BE49-F238E27FC236}">
                <a16:creationId xmlns:a16="http://schemas.microsoft.com/office/drawing/2014/main" id="{46558ACC-46D6-45F2-B7FF-59B6F1D0DE11}"/>
              </a:ext>
            </a:extLst>
          </p:cNvPr>
          <p:cNvGrpSpPr/>
          <p:nvPr/>
        </p:nvGrpSpPr>
        <p:grpSpPr>
          <a:xfrm>
            <a:off x="9641629" y="2650290"/>
            <a:ext cx="2086557" cy="1226657"/>
            <a:chOff x="9460808" y="2887493"/>
            <a:chExt cx="1824792" cy="1072769"/>
          </a:xfrm>
        </p:grpSpPr>
        <p:sp>
          <p:nvSpPr>
            <p:cNvPr id="1660" name="Devices3_EA6C" title="Icon of a cellphone in front of a monitor">
              <a:extLst>
                <a:ext uri="{FF2B5EF4-FFF2-40B4-BE49-F238E27FC236}">
                  <a16:creationId xmlns:a16="http://schemas.microsoft.com/office/drawing/2014/main" id="{2281D721-1626-4363-8EA8-6062DC44B934}"/>
                </a:ext>
              </a:extLst>
            </p:cNvPr>
            <p:cNvSpPr>
              <a:spLocks noChangeAspect="1" noEditPoints="1"/>
            </p:cNvSpPr>
            <p:nvPr/>
          </p:nvSpPr>
          <p:spPr bwMode="auto">
            <a:xfrm>
              <a:off x="9460808" y="2887493"/>
              <a:ext cx="1548509" cy="1072769"/>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9050" cap="sq">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1661" name="Rectangle 1660">
              <a:extLst>
                <a:ext uri="{FF2B5EF4-FFF2-40B4-BE49-F238E27FC236}">
                  <a16:creationId xmlns:a16="http://schemas.microsoft.com/office/drawing/2014/main" id="{0D2F05B2-D4B3-40FB-8AF5-5E2315FFA409}"/>
                </a:ext>
              </a:extLst>
            </p:cNvPr>
            <p:cNvSpPr/>
            <p:nvPr/>
          </p:nvSpPr>
          <p:spPr bwMode="auto">
            <a:xfrm>
              <a:off x="10416157" y="3307484"/>
              <a:ext cx="869443" cy="541722"/>
            </a:xfrm>
            <a:prstGeom prst="rect">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1662" name="light">
              <a:extLst>
                <a:ext uri="{FF2B5EF4-FFF2-40B4-BE49-F238E27FC236}">
                  <a16:creationId xmlns:a16="http://schemas.microsoft.com/office/drawing/2014/main" id="{50DB03B3-9D9F-433B-8917-397139C06851}"/>
                </a:ext>
              </a:extLst>
            </p:cNvPr>
            <p:cNvSpPr>
              <a:spLocks noChangeAspect="1" noEditPoints="1"/>
            </p:cNvSpPr>
            <p:nvPr/>
          </p:nvSpPr>
          <p:spPr bwMode="auto">
            <a:xfrm>
              <a:off x="9547576" y="3533514"/>
              <a:ext cx="178278" cy="26468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flat" cmpd="sng" algn="ctr">
              <a:solidFill>
                <a:schemeClr val="accent1">
                  <a:lumMod val="60000"/>
                  <a:lumOff val="4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663" name="Straight Connector 1662">
              <a:extLst>
                <a:ext uri="{FF2B5EF4-FFF2-40B4-BE49-F238E27FC236}">
                  <a16:creationId xmlns:a16="http://schemas.microsoft.com/office/drawing/2014/main" id="{B5FC5E87-1AEB-44AA-BCCD-7EA38E1786B7}"/>
                </a:ext>
              </a:extLst>
            </p:cNvPr>
            <p:cNvCxnSpPr>
              <a:stCxn id="1660" idx="9"/>
            </p:cNvCxnSpPr>
            <p:nvPr/>
          </p:nvCxnSpPr>
          <p:spPr>
            <a:xfrm flipV="1">
              <a:off x="9579945" y="3104175"/>
              <a:ext cx="328686" cy="260134"/>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64" name="Straight Connector 1663">
              <a:extLst>
                <a:ext uri="{FF2B5EF4-FFF2-40B4-BE49-F238E27FC236}">
                  <a16:creationId xmlns:a16="http://schemas.microsoft.com/office/drawing/2014/main" id="{53B0A392-7A68-4C19-BFD4-B3FB737F63C6}"/>
                </a:ext>
              </a:extLst>
            </p:cNvPr>
            <p:cNvCxnSpPr/>
            <p:nvPr/>
          </p:nvCxnSpPr>
          <p:spPr>
            <a:xfrm>
              <a:off x="9937852" y="3107942"/>
              <a:ext cx="272987" cy="245601"/>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65" name="Straight Connector 1664">
              <a:extLst>
                <a:ext uri="{FF2B5EF4-FFF2-40B4-BE49-F238E27FC236}">
                  <a16:creationId xmlns:a16="http://schemas.microsoft.com/office/drawing/2014/main" id="{129BB588-37E7-4849-AD57-A91009E3D9A6}"/>
                </a:ext>
              </a:extLst>
            </p:cNvPr>
            <p:cNvCxnSpPr/>
            <p:nvPr/>
          </p:nvCxnSpPr>
          <p:spPr>
            <a:xfrm flipV="1">
              <a:off x="10235062" y="3017168"/>
              <a:ext cx="314818" cy="355453"/>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66" name="Straight Connector 1665">
              <a:extLst>
                <a:ext uri="{FF2B5EF4-FFF2-40B4-BE49-F238E27FC236}">
                  <a16:creationId xmlns:a16="http://schemas.microsoft.com/office/drawing/2014/main" id="{5DA4BA18-C89A-44F4-BEED-7B8FF964088A}"/>
                </a:ext>
              </a:extLst>
            </p:cNvPr>
            <p:cNvCxnSpPr/>
            <p:nvPr/>
          </p:nvCxnSpPr>
          <p:spPr>
            <a:xfrm>
              <a:off x="10581743" y="3019296"/>
              <a:ext cx="223658" cy="177132"/>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67" name="Straight Connector 1666">
              <a:extLst>
                <a:ext uri="{FF2B5EF4-FFF2-40B4-BE49-F238E27FC236}">
                  <a16:creationId xmlns:a16="http://schemas.microsoft.com/office/drawing/2014/main" id="{B57DF1CE-E493-4DC1-8A14-3CFA90B0CE42}"/>
                </a:ext>
              </a:extLst>
            </p:cNvPr>
            <p:cNvCxnSpPr>
              <a:cxnSpLocks/>
            </p:cNvCxnSpPr>
            <p:nvPr/>
          </p:nvCxnSpPr>
          <p:spPr>
            <a:xfrm flipV="1">
              <a:off x="10810601" y="3036486"/>
              <a:ext cx="198716" cy="158409"/>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68" name="Oval 1667">
              <a:extLst>
                <a:ext uri="{FF2B5EF4-FFF2-40B4-BE49-F238E27FC236}">
                  <a16:creationId xmlns:a16="http://schemas.microsoft.com/office/drawing/2014/main" id="{D3CDAE28-FC22-488F-9619-2E55B42DA877}"/>
                </a:ext>
              </a:extLst>
            </p:cNvPr>
            <p:cNvSpPr/>
            <p:nvPr/>
          </p:nvSpPr>
          <p:spPr bwMode="auto">
            <a:xfrm>
              <a:off x="9880199" y="3070907"/>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1669" name="Oval 1668">
              <a:extLst>
                <a:ext uri="{FF2B5EF4-FFF2-40B4-BE49-F238E27FC236}">
                  <a16:creationId xmlns:a16="http://schemas.microsoft.com/office/drawing/2014/main" id="{AAD7AFCA-9467-4852-B674-84574CDE339F}"/>
                </a:ext>
              </a:extLst>
            </p:cNvPr>
            <p:cNvSpPr/>
            <p:nvPr/>
          </p:nvSpPr>
          <p:spPr bwMode="auto">
            <a:xfrm>
              <a:off x="10185996" y="3326596"/>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1670" name="Oval 1669">
              <a:extLst>
                <a:ext uri="{FF2B5EF4-FFF2-40B4-BE49-F238E27FC236}">
                  <a16:creationId xmlns:a16="http://schemas.microsoft.com/office/drawing/2014/main" id="{C9D58AEE-A267-41E0-AE88-D0DA145769E0}"/>
                </a:ext>
              </a:extLst>
            </p:cNvPr>
            <p:cNvSpPr/>
            <p:nvPr/>
          </p:nvSpPr>
          <p:spPr bwMode="auto">
            <a:xfrm>
              <a:off x="10522919" y="2973606"/>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1671" name="Oval 1670">
              <a:extLst>
                <a:ext uri="{FF2B5EF4-FFF2-40B4-BE49-F238E27FC236}">
                  <a16:creationId xmlns:a16="http://schemas.microsoft.com/office/drawing/2014/main" id="{D6B6B2C1-05DB-457B-885A-528BBB93B7CE}"/>
                </a:ext>
              </a:extLst>
            </p:cNvPr>
            <p:cNvSpPr/>
            <p:nvPr/>
          </p:nvSpPr>
          <p:spPr bwMode="auto">
            <a:xfrm>
              <a:off x="10765932" y="3150177"/>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1672" name="Group 1671">
              <a:extLst>
                <a:ext uri="{FF2B5EF4-FFF2-40B4-BE49-F238E27FC236}">
                  <a16:creationId xmlns:a16="http://schemas.microsoft.com/office/drawing/2014/main" id="{21D6EAC7-C7AC-451F-8E35-869409452180}"/>
                </a:ext>
              </a:extLst>
            </p:cNvPr>
            <p:cNvGrpSpPr/>
            <p:nvPr/>
          </p:nvGrpSpPr>
          <p:grpSpPr>
            <a:xfrm>
              <a:off x="10673740" y="3403379"/>
              <a:ext cx="354276" cy="357087"/>
              <a:chOff x="9709150" y="6365875"/>
              <a:chExt cx="200026" cy="201613"/>
            </a:xfrm>
          </p:grpSpPr>
          <p:sp>
            <p:nvSpPr>
              <p:cNvPr id="1673" name="Oval 30">
                <a:extLst>
                  <a:ext uri="{FF2B5EF4-FFF2-40B4-BE49-F238E27FC236}">
                    <a16:creationId xmlns:a16="http://schemas.microsoft.com/office/drawing/2014/main" id="{01B45477-03EE-460C-928E-C161AE688045}"/>
                  </a:ext>
                </a:extLst>
              </p:cNvPr>
              <p:cNvSpPr>
                <a:spLocks noChangeArrowheads="1"/>
              </p:cNvSpPr>
              <p:nvPr/>
            </p:nvSpPr>
            <p:spPr bwMode="auto">
              <a:xfrm>
                <a:off x="9709150" y="6365875"/>
                <a:ext cx="150813" cy="152400"/>
              </a:xfrm>
              <a:prstGeom prst="ellips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4" name="Freeform 31">
                <a:extLst>
                  <a:ext uri="{FF2B5EF4-FFF2-40B4-BE49-F238E27FC236}">
                    <a16:creationId xmlns:a16="http://schemas.microsoft.com/office/drawing/2014/main" id="{B056D2B8-155B-489F-B1C5-3CDBE2A6C565}"/>
                  </a:ext>
                </a:extLst>
              </p:cNvPr>
              <p:cNvSpPr>
                <a:spLocks/>
              </p:cNvSpPr>
              <p:nvPr/>
            </p:nvSpPr>
            <p:spPr bwMode="auto">
              <a:xfrm>
                <a:off x="9825038" y="6481763"/>
                <a:ext cx="84138" cy="85725"/>
              </a:xfrm>
              <a:custGeom>
                <a:avLst/>
                <a:gdLst>
                  <a:gd name="T0" fmla="*/ 15 w 53"/>
                  <a:gd name="T1" fmla="*/ 0 h 54"/>
                  <a:gd name="T2" fmla="*/ 53 w 53"/>
                  <a:gd name="T3" fmla="*/ 39 h 54"/>
                  <a:gd name="T4" fmla="*/ 38 w 53"/>
                  <a:gd name="T5" fmla="*/ 54 h 54"/>
                  <a:gd name="T6" fmla="*/ 0 w 53"/>
                  <a:gd name="T7" fmla="*/ 16 h 54"/>
                </a:gdLst>
                <a:ahLst/>
                <a:cxnLst>
                  <a:cxn ang="0">
                    <a:pos x="T0" y="T1"/>
                  </a:cxn>
                  <a:cxn ang="0">
                    <a:pos x="T2" y="T3"/>
                  </a:cxn>
                  <a:cxn ang="0">
                    <a:pos x="T4" y="T5"/>
                  </a:cxn>
                  <a:cxn ang="0">
                    <a:pos x="T6" y="T7"/>
                  </a:cxn>
                </a:cxnLst>
                <a:rect l="0" t="0" r="r" b="b"/>
                <a:pathLst>
                  <a:path w="53" h="54">
                    <a:moveTo>
                      <a:pt x="15" y="0"/>
                    </a:moveTo>
                    <a:lnTo>
                      <a:pt x="53" y="39"/>
                    </a:lnTo>
                    <a:lnTo>
                      <a:pt x="38" y="54"/>
                    </a:lnTo>
                    <a:lnTo>
                      <a:pt x="0" y="16"/>
                    </a:lnTo>
                  </a:path>
                </a:pathLst>
              </a:cu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5" name="Line 32">
                <a:extLst>
                  <a:ext uri="{FF2B5EF4-FFF2-40B4-BE49-F238E27FC236}">
                    <a16:creationId xmlns:a16="http://schemas.microsoft.com/office/drawing/2014/main" id="{207F6ED5-0156-4D38-B360-6AF8C40007D7}"/>
                  </a:ext>
                </a:extLst>
              </p:cNvPr>
              <p:cNvSpPr>
                <a:spLocks noChangeShapeType="1"/>
              </p:cNvSpPr>
              <p:nvPr/>
            </p:nvSpPr>
            <p:spPr bwMode="auto">
              <a:xfrm>
                <a:off x="9748838" y="6423025"/>
                <a:ext cx="0" cy="46038"/>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6" name="Line 33">
                <a:extLst>
                  <a:ext uri="{FF2B5EF4-FFF2-40B4-BE49-F238E27FC236}">
                    <a16:creationId xmlns:a16="http://schemas.microsoft.com/office/drawing/2014/main" id="{CD5EC42C-980E-4427-B3B4-CD94D310EA9F}"/>
                  </a:ext>
                </a:extLst>
              </p:cNvPr>
              <p:cNvSpPr>
                <a:spLocks noChangeShapeType="1"/>
              </p:cNvSpPr>
              <p:nvPr/>
            </p:nvSpPr>
            <p:spPr bwMode="auto">
              <a:xfrm>
                <a:off x="9821863" y="6426200"/>
                <a:ext cx="0" cy="42863"/>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7" name="Line 34">
                <a:extLst>
                  <a:ext uri="{FF2B5EF4-FFF2-40B4-BE49-F238E27FC236}">
                    <a16:creationId xmlns:a16="http://schemas.microsoft.com/office/drawing/2014/main" id="{E885DE56-1413-4FF2-BEB7-F208079A09C7}"/>
                  </a:ext>
                </a:extLst>
              </p:cNvPr>
              <p:cNvSpPr>
                <a:spLocks noChangeShapeType="1"/>
              </p:cNvSpPr>
              <p:nvPr/>
            </p:nvSpPr>
            <p:spPr bwMode="auto">
              <a:xfrm>
                <a:off x="9766300" y="6413500"/>
                <a:ext cx="0" cy="55563"/>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8" name="Line 35">
                <a:extLst>
                  <a:ext uri="{FF2B5EF4-FFF2-40B4-BE49-F238E27FC236}">
                    <a16:creationId xmlns:a16="http://schemas.microsoft.com/office/drawing/2014/main" id="{16B2F08E-0E50-4518-955D-0C81FE8CF8C7}"/>
                  </a:ext>
                </a:extLst>
              </p:cNvPr>
              <p:cNvSpPr>
                <a:spLocks noChangeShapeType="1"/>
              </p:cNvSpPr>
              <p:nvPr/>
            </p:nvSpPr>
            <p:spPr bwMode="auto">
              <a:xfrm>
                <a:off x="9785350" y="6434138"/>
                <a:ext cx="0" cy="34925"/>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9" name="Line 36">
                <a:extLst>
                  <a:ext uri="{FF2B5EF4-FFF2-40B4-BE49-F238E27FC236}">
                    <a16:creationId xmlns:a16="http://schemas.microsoft.com/office/drawing/2014/main" id="{625184E9-963E-40C7-8BB8-EFBBCB090F63}"/>
                  </a:ext>
                </a:extLst>
              </p:cNvPr>
              <p:cNvSpPr>
                <a:spLocks noChangeShapeType="1"/>
              </p:cNvSpPr>
              <p:nvPr/>
            </p:nvSpPr>
            <p:spPr bwMode="auto">
              <a:xfrm>
                <a:off x="9802813" y="6399213"/>
                <a:ext cx="0" cy="6985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80" name="Line 37">
                <a:extLst>
                  <a:ext uri="{FF2B5EF4-FFF2-40B4-BE49-F238E27FC236}">
                    <a16:creationId xmlns:a16="http://schemas.microsoft.com/office/drawing/2014/main" id="{0D331A5C-63BD-497A-92BE-4C657EAD6E1A}"/>
                  </a:ext>
                </a:extLst>
              </p:cNvPr>
              <p:cNvSpPr>
                <a:spLocks noChangeShapeType="1"/>
              </p:cNvSpPr>
              <p:nvPr/>
            </p:nvSpPr>
            <p:spPr bwMode="auto">
              <a:xfrm flipH="1">
                <a:off x="9745663" y="6480175"/>
                <a:ext cx="79375" cy="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81" name="Line 38">
                <a:extLst>
                  <a:ext uri="{FF2B5EF4-FFF2-40B4-BE49-F238E27FC236}">
                    <a16:creationId xmlns:a16="http://schemas.microsoft.com/office/drawing/2014/main" id="{876B2044-8F0D-44A8-835E-B41AA88BF3D9}"/>
                  </a:ext>
                </a:extLst>
              </p:cNvPr>
              <p:cNvSpPr>
                <a:spLocks noChangeShapeType="1"/>
              </p:cNvSpPr>
              <p:nvPr/>
            </p:nvSpPr>
            <p:spPr bwMode="auto">
              <a:xfrm>
                <a:off x="9850438" y="6480175"/>
                <a:ext cx="0" cy="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1682" name="Arrow: Chevron 1681">
            <a:extLst>
              <a:ext uri="{FF2B5EF4-FFF2-40B4-BE49-F238E27FC236}">
                <a16:creationId xmlns:a16="http://schemas.microsoft.com/office/drawing/2014/main" id="{5BBE55AE-5C93-477F-9E35-36C506594867}"/>
              </a:ext>
              <a:ext uri="{C183D7F6-B498-43B3-948B-1728B52AA6E4}">
                <adec:decorative xmlns:adec="http://schemas.microsoft.com/office/drawing/2017/decorative" val="1"/>
              </a:ext>
            </a:extLst>
          </p:cNvPr>
          <p:cNvSpPr/>
          <p:nvPr/>
        </p:nvSpPr>
        <p:spPr>
          <a:xfrm>
            <a:off x="8710433" y="1342055"/>
            <a:ext cx="3143638" cy="320040"/>
          </a:xfrm>
          <a:prstGeom prst="chevron">
            <a:avLst>
              <a:gd name="adj" fmla="val 35474"/>
            </a:avLst>
          </a:prstGeom>
          <a:solidFill>
            <a:schemeClr val="accent1">
              <a:lumMod val="60000"/>
              <a:lumOff val="40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Analyze</a:t>
            </a:r>
          </a:p>
        </p:txBody>
      </p:sp>
      <p:grpSp>
        <p:nvGrpSpPr>
          <p:cNvPr id="1683" name="Group 1682">
            <a:extLst>
              <a:ext uri="{FF2B5EF4-FFF2-40B4-BE49-F238E27FC236}">
                <a16:creationId xmlns:a16="http://schemas.microsoft.com/office/drawing/2014/main" id="{DCB37719-72AA-45B6-A07E-FC7ABB7107C8}"/>
              </a:ext>
            </a:extLst>
          </p:cNvPr>
          <p:cNvGrpSpPr/>
          <p:nvPr/>
        </p:nvGrpSpPr>
        <p:grpSpPr>
          <a:xfrm>
            <a:off x="5253390" y="1227755"/>
            <a:ext cx="548640" cy="548640"/>
            <a:chOff x="4258502" y="2265815"/>
            <a:chExt cx="844109" cy="844111"/>
          </a:xfrm>
        </p:grpSpPr>
        <p:sp>
          <p:nvSpPr>
            <p:cNvPr id="1684" name="Oval 1683">
              <a:extLst>
                <a:ext uri="{FF2B5EF4-FFF2-40B4-BE49-F238E27FC236}">
                  <a16:creationId xmlns:a16="http://schemas.microsoft.com/office/drawing/2014/main" id="{9DD41969-DBFE-4191-B6B2-CA686C88D0D0}"/>
                </a:ext>
                <a:ext uri="{C183D7F6-B498-43B3-948B-1728B52AA6E4}">
                  <adec:decorative xmlns:adec="http://schemas.microsoft.com/office/drawing/2017/decorative" val="1"/>
                </a:ext>
              </a:extLst>
            </p:cNvPr>
            <p:cNvSpPr/>
            <p:nvPr/>
          </p:nvSpPr>
          <p:spPr bwMode="auto">
            <a:xfrm>
              <a:off x="4258502" y="2265815"/>
              <a:ext cx="844109" cy="844111"/>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5" name="Database_EFC7" title="Icon of a cylinder">
              <a:extLst>
                <a:ext uri="{FF2B5EF4-FFF2-40B4-BE49-F238E27FC236}">
                  <a16:creationId xmlns:a16="http://schemas.microsoft.com/office/drawing/2014/main" id="{5025C737-36F8-4852-9151-40D6A9B20D4C}"/>
                </a:ext>
              </a:extLst>
            </p:cNvPr>
            <p:cNvSpPr>
              <a:spLocks noChangeAspect="1" noEditPoints="1"/>
            </p:cNvSpPr>
            <p:nvPr/>
          </p:nvSpPr>
          <p:spPr bwMode="auto">
            <a:xfrm>
              <a:off x="4501709" y="2455397"/>
              <a:ext cx="357695" cy="4649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1686" name="Group 1685">
            <a:extLst>
              <a:ext uri="{FF2B5EF4-FFF2-40B4-BE49-F238E27FC236}">
                <a16:creationId xmlns:a16="http://schemas.microsoft.com/office/drawing/2014/main" id="{CF616BA7-A954-4B97-8C76-567015E459A6}"/>
              </a:ext>
            </a:extLst>
          </p:cNvPr>
          <p:cNvGrpSpPr/>
          <p:nvPr/>
        </p:nvGrpSpPr>
        <p:grpSpPr>
          <a:xfrm>
            <a:off x="7404888" y="1227755"/>
            <a:ext cx="548640" cy="548640"/>
            <a:chOff x="7089384" y="2265815"/>
            <a:chExt cx="844109" cy="844111"/>
          </a:xfrm>
        </p:grpSpPr>
        <p:sp>
          <p:nvSpPr>
            <p:cNvPr id="1687" name="Oval 1686">
              <a:extLst>
                <a:ext uri="{FF2B5EF4-FFF2-40B4-BE49-F238E27FC236}">
                  <a16:creationId xmlns:a16="http://schemas.microsoft.com/office/drawing/2014/main" id="{EBD160DC-7CAC-4EBD-B3D6-9C4034DFFA44}"/>
                </a:ext>
                <a:ext uri="{C183D7F6-B498-43B3-948B-1728B52AA6E4}">
                  <adec:decorative xmlns:adec="http://schemas.microsoft.com/office/drawing/2017/decorative" val="1"/>
                </a:ext>
              </a:extLst>
            </p:cNvPr>
            <p:cNvSpPr/>
            <p:nvPr/>
          </p:nvSpPr>
          <p:spPr bwMode="auto">
            <a:xfrm>
              <a:off x="7089384" y="2265815"/>
              <a:ext cx="844109" cy="844111"/>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88" name="Group 1687">
              <a:extLst>
                <a:ext uri="{FF2B5EF4-FFF2-40B4-BE49-F238E27FC236}">
                  <a16:creationId xmlns:a16="http://schemas.microsoft.com/office/drawing/2014/main" id="{2F14D499-F708-4B3B-8BFE-9DCF220F615D}"/>
                </a:ext>
              </a:extLst>
            </p:cNvPr>
            <p:cNvGrpSpPr/>
            <p:nvPr/>
          </p:nvGrpSpPr>
          <p:grpSpPr>
            <a:xfrm>
              <a:off x="7256105" y="2422002"/>
              <a:ext cx="510665" cy="466758"/>
              <a:chOff x="665019" y="3030792"/>
              <a:chExt cx="542084" cy="545024"/>
            </a:xfrm>
          </p:grpSpPr>
          <p:sp>
            <p:nvSpPr>
              <p:cNvPr id="1689" name="Freeform: Shape 1688">
                <a:extLst>
                  <a:ext uri="{FF2B5EF4-FFF2-40B4-BE49-F238E27FC236}">
                    <a16:creationId xmlns:a16="http://schemas.microsoft.com/office/drawing/2014/main" id="{CFB5050E-B2D7-4C9A-A82C-39A5527753CE}"/>
                  </a:ext>
                </a:extLst>
              </p:cNvPr>
              <p:cNvSpPr/>
              <p:nvPr/>
            </p:nvSpPr>
            <p:spPr>
              <a:xfrm>
                <a:off x="818994" y="3030792"/>
                <a:ext cx="236514" cy="266991"/>
              </a:xfrm>
              <a:custGeom>
                <a:avLst/>
                <a:gdLst>
                  <a:gd name="connsiteX0" fmla="*/ 277178 w 554355"/>
                  <a:gd name="connsiteY0" fmla="*/ 277178 h 625792"/>
                  <a:gd name="connsiteX1" fmla="*/ 277178 w 554355"/>
                  <a:gd name="connsiteY1" fmla="*/ 624840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7178"/>
                    </a:moveTo>
                    <a:lnTo>
                      <a:pt x="277178" y="624840"/>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690" name="Freeform: Shape 1689">
                <a:extLst>
                  <a:ext uri="{FF2B5EF4-FFF2-40B4-BE49-F238E27FC236}">
                    <a16:creationId xmlns:a16="http://schemas.microsoft.com/office/drawing/2014/main" id="{DC865AD2-626C-47DA-893F-E4B711820900}"/>
                  </a:ext>
                </a:extLst>
              </p:cNvPr>
              <p:cNvSpPr/>
              <p:nvPr/>
            </p:nvSpPr>
            <p:spPr>
              <a:xfrm>
                <a:off x="97058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691" name="Freeform: Shape 1690">
                <a:extLst>
                  <a:ext uri="{FF2B5EF4-FFF2-40B4-BE49-F238E27FC236}">
                    <a16:creationId xmlns:a16="http://schemas.microsoft.com/office/drawing/2014/main" id="{68C1E428-60AB-4858-840A-FB7C0DB013E1}"/>
                  </a:ext>
                </a:extLst>
              </p:cNvPr>
              <p:cNvSpPr/>
              <p:nvPr/>
            </p:nvSpPr>
            <p:spPr>
              <a:xfrm>
                <a:off x="66501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grpSp>
        <p:nvGrpSpPr>
          <p:cNvPr id="1692" name="Group 1691">
            <a:extLst>
              <a:ext uri="{FF2B5EF4-FFF2-40B4-BE49-F238E27FC236}">
                <a16:creationId xmlns:a16="http://schemas.microsoft.com/office/drawing/2014/main" id="{87E01236-CAB3-4EAB-A3CB-5B213958DFC0}"/>
              </a:ext>
            </a:extLst>
          </p:cNvPr>
          <p:cNvGrpSpPr/>
          <p:nvPr/>
        </p:nvGrpSpPr>
        <p:grpSpPr>
          <a:xfrm>
            <a:off x="10007932" y="1227755"/>
            <a:ext cx="548640" cy="548640"/>
            <a:chOff x="9920265" y="2265815"/>
            <a:chExt cx="844109" cy="844111"/>
          </a:xfrm>
        </p:grpSpPr>
        <p:sp>
          <p:nvSpPr>
            <p:cNvPr id="1693" name="Oval 1692">
              <a:extLst>
                <a:ext uri="{FF2B5EF4-FFF2-40B4-BE49-F238E27FC236}">
                  <a16:creationId xmlns:a16="http://schemas.microsoft.com/office/drawing/2014/main" id="{BB35CB21-FFF7-44AF-9949-68087CB4A293}"/>
                </a:ext>
                <a:ext uri="{C183D7F6-B498-43B3-948B-1728B52AA6E4}">
                  <adec:decorative xmlns:adec="http://schemas.microsoft.com/office/drawing/2017/decorative" val="1"/>
                </a:ext>
              </a:extLst>
            </p:cNvPr>
            <p:cNvSpPr/>
            <p:nvPr/>
          </p:nvSpPr>
          <p:spPr bwMode="auto">
            <a:xfrm>
              <a:off x="9920265" y="2265815"/>
              <a:ext cx="844109" cy="844111"/>
            </a:xfrm>
            <a:prstGeom prst="ellipse">
              <a:avLst/>
            </a:prstGeom>
            <a:solidFill>
              <a:schemeClr val="accent1">
                <a:lumMod val="60000"/>
                <a:lumOff val="40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4" name="graph_9" title="Icon of a line chart with connected circles at varying points">
              <a:extLst>
                <a:ext uri="{FF2B5EF4-FFF2-40B4-BE49-F238E27FC236}">
                  <a16:creationId xmlns:a16="http://schemas.microsoft.com/office/drawing/2014/main" id="{D6396193-88CE-4337-B496-EFB7782BF176}"/>
                </a:ext>
              </a:extLst>
            </p:cNvPr>
            <p:cNvSpPr>
              <a:spLocks noChangeAspect="1" noEditPoints="1"/>
            </p:cNvSpPr>
            <p:nvPr/>
          </p:nvSpPr>
          <p:spPr bwMode="auto">
            <a:xfrm>
              <a:off x="10107480" y="2448202"/>
              <a:ext cx="469677" cy="423811"/>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1695" name="Graphic 276">
            <a:extLst>
              <a:ext uri="{FF2B5EF4-FFF2-40B4-BE49-F238E27FC236}">
                <a16:creationId xmlns:a16="http://schemas.microsoft.com/office/drawing/2014/main" id="{60660569-7EDC-47D1-A347-A5FD95CDB63C}"/>
              </a:ext>
            </a:extLst>
          </p:cNvPr>
          <p:cNvGrpSpPr/>
          <p:nvPr/>
        </p:nvGrpSpPr>
        <p:grpSpPr>
          <a:xfrm>
            <a:off x="5216619" y="2345434"/>
            <a:ext cx="617329" cy="867051"/>
            <a:chOff x="5755481" y="2939577"/>
            <a:chExt cx="680085" cy="955195"/>
          </a:xfrm>
          <a:solidFill>
            <a:schemeClr val="bg1"/>
          </a:solidFill>
        </p:grpSpPr>
        <p:sp>
          <p:nvSpPr>
            <p:cNvPr id="1696" name="Freeform: Shape 278">
              <a:extLst>
                <a:ext uri="{FF2B5EF4-FFF2-40B4-BE49-F238E27FC236}">
                  <a16:creationId xmlns:a16="http://schemas.microsoft.com/office/drawing/2014/main" id="{FD760128-63E9-47D9-A0DC-F303814427E5}"/>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7" name="Freeform: Shape 279">
              <a:extLst>
                <a:ext uri="{FF2B5EF4-FFF2-40B4-BE49-F238E27FC236}">
                  <a16:creationId xmlns:a16="http://schemas.microsoft.com/office/drawing/2014/main" id="{30138B90-5AED-46E1-B937-CA3FC6035E76}"/>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8" name="Freeform: Shape 280">
              <a:extLst>
                <a:ext uri="{FF2B5EF4-FFF2-40B4-BE49-F238E27FC236}">
                  <a16:creationId xmlns:a16="http://schemas.microsoft.com/office/drawing/2014/main" id="{C95A68D1-74CC-43DE-9165-3F73494B86CE}"/>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9" name="Freeform: Shape 281">
              <a:extLst>
                <a:ext uri="{FF2B5EF4-FFF2-40B4-BE49-F238E27FC236}">
                  <a16:creationId xmlns:a16="http://schemas.microsoft.com/office/drawing/2014/main" id="{F7994ACC-19FB-440F-9981-2E7540DFA948}"/>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00" name="Graphic 276">
            <a:extLst>
              <a:ext uri="{FF2B5EF4-FFF2-40B4-BE49-F238E27FC236}">
                <a16:creationId xmlns:a16="http://schemas.microsoft.com/office/drawing/2014/main" id="{E6F0FF65-D2E5-440A-99FB-9645FB6E880C}"/>
              </a:ext>
            </a:extLst>
          </p:cNvPr>
          <p:cNvGrpSpPr/>
          <p:nvPr/>
        </p:nvGrpSpPr>
        <p:grpSpPr>
          <a:xfrm>
            <a:off x="5215807" y="3402344"/>
            <a:ext cx="617329" cy="867051"/>
            <a:chOff x="5755481" y="2939577"/>
            <a:chExt cx="680085" cy="955195"/>
          </a:xfrm>
          <a:solidFill>
            <a:schemeClr val="bg1"/>
          </a:solidFill>
        </p:grpSpPr>
        <p:sp>
          <p:nvSpPr>
            <p:cNvPr id="1701" name="Freeform: Shape 288">
              <a:extLst>
                <a:ext uri="{FF2B5EF4-FFF2-40B4-BE49-F238E27FC236}">
                  <a16:creationId xmlns:a16="http://schemas.microsoft.com/office/drawing/2014/main" id="{65D55A69-90C3-48F1-88CB-8E42F98CB563}"/>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2" name="Freeform: Shape 289">
              <a:extLst>
                <a:ext uri="{FF2B5EF4-FFF2-40B4-BE49-F238E27FC236}">
                  <a16:creationId xmlns:a16="http://schemas.microsoft.com/office/drawing/2014/main" id="{8959583D-2C57-4AEE-8DB1-564F202F6B13}"/>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3" name="Freeform: Shape 290">
              <a:extLst>
                <a:ext uri="{FF2B5EF4-FFF2-40B4-BE49-F238E27FC236}">
                  <a16:creationId xmlns:a16="http://schemas.microsoft.com/office/drawing/2014/main" id="{FB8EBA35-77EE-49C1-89B4-C7C4482B8C66}"/>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4" name="Freeform: Shape 291">
              <a:extLst>
                <a:ext uri="{FF2B5EF4-FFF2-40B4-BE49-F238E27FC236}">
                  <a16:creationId xmlns:a16="http://schemas.microsoft.com/office/drawing/2014/main" id="{8215303F-EAAF-489E-81EC-0347D9804573}"/>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37" name="Arrow: Pentagon 1736">
            <a:extLst>
              <a:ext uri="{FF2B5EF4-FFF2-40B4-BE49-F238E27FC236}">
                <a16:creationId xmlns:a16="http://schemas.microsoft.com/office/drawing/2014/main" id="{D8D2233E-B7F3-4433-9B5A-5767195E2387}"/>
              </a:ext>
              <a:ext uri="{C183D7F6-B498-43B3-948B-1728B52AA6E4}">
                <adec:decorative xmlns:adec="http://schemas.microsoft.com/office/drawing/2017/decorative" val="1"/>
              </a:ext>
            </a:extLst>
          </p:cNvPr>
          <p:cNvSpPr/>
          <p:nvPr/>
        </p:nvSpPr>
        <p:spPr>
          <a:xfrm>
            <a:off x="411479" y="1342055"/>
            <a:ext cx="4077732" cy="320040"/>
          </a:xfrm>
          <a:prstGeom prst="homePlate">
            <a:avLst>
              <a:gd name="adj" fmla="val 35480"/>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Collect</a:t>
            </a:r>
          </a:p>
        </p:txBody>
      </p:sp>
      <p:sp>
        <p:nvSpPr>
          <p:cNvPr id="1738" name="Rectangle 1737">
            <a:extLst>
              <a:ext uri="{FF2B5EF4-FFF2-40B4-BE49-F238E27FC236}">
                <a16:creationId xmlns:a16="http://schemas.microsoft.com/office/drawing/2014/main" id="{1DAC25E2-638A-404E-87C3-B30BC581F194}"/>
              </a:ext>
              <a:ext uri="{C183D7F6-B498-43B3-948B-1728B52AA6E4}">
                <adec:decorative xmlns:adec="http://schemas.microsoft.com/office/drawing/2017/decorative" val="1"/>
              </a:ext>
            </a:extLst>
          </p:cNvPr>
          <p:cNvSpPr/>
          <p:nvPr/>
        </p:nvSpPr>
        <p:spPr>
          <a:xfrm>
            <a:off x="411479" y="5108231"/>
            <a:ext cx="3982516" cy="91440"/>
          </a:xfrm>
          <a:prstGeom prst="rect">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1739" name="Rectangle 1738">
            <a:extLst>
              <a:ext uri="{FF2B5EF4-FFF2-40B4-BE49-F238E27FC236}">
                <a16:creationId xmlns:a16="http://schemas.microsoft.com/office/drawing/2014/main" id="{9D6BFE73-F70F-46FD-84EA-9F9267FEF506}"/>
              </a:ext>
              <a:ext uri="{C183D7F6-B498-43B3-948B-1728B52AA6E4}">
                <adec:decorative xmlns:adec="http://schemas.microsoft.com/office/drawing/2017/decorative" val="1"/>
              </a:ext>
            </a:extLst>
          </p:cNvPr>
          <p:cNvSpPr/>
          <p:nvPr/>
        </p:nvSpPr>
        <p:spPr>
          <a:xfrm>
            <a:off x="8735170" y="5108231"/>
            <a:ext cx="3118902" cy="91440"/>
          </a:xfrm>
          <a:prstGeom prst="rect">
            <a:avLst/>
          </a:prstGeom>
          <a:solidFill>
            <a:schemeClr val="accent1">
              <a:lumMod val="60000"/>
              <a:lumOff val="40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grpSp>
        <p:nvGrpSpPr>
          <p:cNvPr id="1753" name="Group 1752">
            <a:extLst>
              <a:ext uri="{FF2B5EF4-FFF2-40B4-BE49-F238E27FC236}">
                <a16:creationId xmlns:a16="http://schemas.microsoft.com/office/drawing/2014/main" id="{3871DCB5-96B2-4588-BB11-C515D30EBC2C}"/>
              </a:ext>
            </a:extLst>
          </p:cNvPr>
          <p:cNvGrpSpPr/>
          <p:nvPr/>
        </p:nvGrpSpPr>
        <p:grpSpPr>
          <a:xfrm>
            <a:off x="2190205" y="1227755"/>
            <a:ext cx="548640" cy="548640"/>
            <a:chOff x="1427625" y="2265815"/>
            <a:chExt cx="844109" cy="844111"/>
          </a:xfrm>
        </p:grpSpPr>
        <p:sp>
          <p:nvSpPr>
            <p:cNvPr id="1754" name="Oval 1753">
              <a:extLst>
                <a:ext uri="{FF2B5EF4-FFF2-40B4-BE49-F238E27FC236}">
                  <a16:creationId xmlns:a16="http://schemas.microsoft.com/office/drawing/2014/main" id="{AA3D81D1-F38C-459C-94A5-C994AA614959}"/>
                </a:ext>
                <a:ext uri="{C183D7F6-B498-43B3-948B-1728B52AA6E4}">
                  <adec:decorative xmlns:adec="http://schemas.microsoft.com/office/drawing/2017/decorative" val="1"/>
                </a:ext>
              </a:extLst>
            </p:cNvPr>
            <p:cNvSpPr/>
            <p:nvPr/>
          </p:nvSpPr>
          <p:spPr bwMode="auto">
            <a:xfrm>
              <a:off x="1427625" y="2265815"/>
              <a:ext cx="844109" cy="844111"/>
            </a:xfrm>
            <a:prstGeom prst="ellipse">
              <a:avLst/>
            </a:prstGeom>
            <a:solidFill>
              <a:schemeClr val="accent1">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55" name="Group 1754">
              <a:extLst>
                <a:ext uri="{FF2B5EF4-FFF2-40B4-BE49-F238E27FC236}">
                  <a16:creationId xmlns:a16="http://schemas.microsoft.com/office/drawing/2014/main" id="{5DC54004-8A3D-41DF-9E4C-5EE3A1B3C535}"/>
                </a:ext>
              </a:extLst>
            </p:cNvPr>
            <p:cNvGrpSpPr/>
            <p:nvPr/>
          </p:nvGrpSpPr>
          <p:grpSpPr>
            <a:xfrm>
              <a:off x="1653837" y="2463440"/>
              <a:ext cx="425119" cy="425320"/>
              <a:chOff x="2809993" y="1208899"/>
              <a:chExt cx="365586" cy="365760"/>
            </a:xfrm>
          </p:grpSpPr>
          <p:sp>
            <p:nvSpPr>
              <p:cNvPr id="1756" name="BackToWindow_E73F" title="Icon of two arrows pointing towards eachother">
                <a:extLst>
                  <a:ext uri="{FF2B5EF4-FFF2-40B4-BE49-F238E27FC236}">
                    <a16:creationId xmlns:a16="http://schemas.microsoft.com/office/drawing/2014/main" id="{A202A13B-4AE4-448E-BBD4-0E8556391AC8}"/>
                  </a:ext>
                </a:extLst>
              </p:cNvPr>
              <p:cNvSpPr>
                <a:spLocks noChangeAspect="1" noEditPoints="1"/>
              </p:cNvSpPr>
              <p:nvPr/>
            </p:nvSpPr>
            <p:spPr bwMode="auto">
              <a:xfrm>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757" name="BackToWindow_E73F" title="Icon of two arrows pointing towards eachother">
                <a:extLst>
                  <a:ext uri="{FF2B5EF4-FFF2-40B4-BE49-F238E27FC236}">
                    <a16:creationId xmlns:a16="http://schemas.microsoft.com/office/drawing/2014/main" id="{B694C1A9-8964-4A6D-A7F0-DD56CABA174D}"/>
                  </a:ext>
                </a:extLst>
              </p:cNvPr>
              <p:cNvSpPr>
                <a:spLocks noChangeAspect="1" noEditPoints="1"/>
              </p:cNvSpPr>
              <p:nvPr/>
            </p:nvSpPr>
            <p:spPr bwMode="auto">
              <a:xfrm flipV="1">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sp>
        <p:nvSpPr>
          <p:cNvPr id="1646" name="Truck" title="Icon of a truck with a storage trailer">
            <a:extLst>
              <a:ext uri="{FF2B5EF4-FFF2-40B4-BE49-F238E27FC236}">
                <a16:creationId xmlns:a16="http://schemas.microsoft.com/office/drawing/2014/main" id="{E7146333-A49C-48B4-A00D-1DF8E4BC3E2D}"/>
              </a:ext>
            </a:extLst>
          </p:cNvPr>
          <p:cNvSpPr>
            <a:spLocks noChangeAspect="1" noEditPoints="1"/>
          </p:cNvSpPr>
          <p:nvPr/>
        </p:nvSpPr>
        <p:spPr bwMode="auto">
          <a:xfrm>
            <a:off x="497126" y="2114849"/>
            <a:ext cx="380335" cy="17407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648" name="building_7" title="Icon of a building with a curved section protruding from it">
            <a:extLst>
              <a:ext uri="{FF2B5EF4-FFF2-40B4-BE49-F238E27FC236}">
                <a16:creationId xmlns:a16="http://schemas.microsoft.com/office/drawing/2014/main" id="{3372A432-F49C-48B6-8B28-0D3CB9F9FE38}"/>
              </a:ext>
            </a:extLst>
          </p:cNvPr>
          <p:cNvSpPr>
            <a:spLocks noChangeAspect="1" noEditPoints="1"/>
          </p:cNvSpPr>
          <p:nvPr/>
        </p:nvSpPr>
        <p:spPr bwMode="auto">
          <a:xfrm>
            <a:off x="555949" y="2786415"/>
            <a:ext cx="262689" cy="29744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7" name="building_11" title="Icon of a school house">
            <a:extLst>
              <a:ext uri="{FF2B5EF4-FFF2-40B4-BE49-F238E27FC236}">
                <a16:creationId xmlns:a16="http://schemas.microsoft.com/office/drawing/2014/main" id="{B28B02E4-4092-497C-A9F7-A35072906E6C}"/>
              </a:ext>
            </a:extLst>
          </p:cNvPr>
          <p:cNvSpPr>
            <a:spLocks noChangeAspect="1" noEditPoints="1"/>
          </p:cNvSpPr>
          <p:nvPr/>
        </p:nvSpPr>
        <p:spPr bwMode="auto">
          <a:xfrm>
            <a:off x="491865" y="3599829"/>
            <a:ext cx="371807" cy="200145"/>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9" name="factory_3" title="Icon of a factory">
            <a:extLst>
              <a:ext uri="{FF2B5EF4-FFF2-40B4-BE49-F238E27FC236}">
                <a16:creationId xmlns:a16="http://schemas.microsoft.com/office/drawing/2014/main" id="{244B00BF-36D7-4064-91FC-674B9B3A640E}"/>
              </a:ext>
            </a:extLst>
          </p:cNvPr>
          <p:cNvSpPr>
            <a:spLocks noChangeAspect="1" noEditPoints="1"/>
          </p:cNvSpPr>
          <p:nvPr/>
        </p:nvSpPr>
        <p:spPr bwMode="auto">
          <a:xfrm>
            <a:off x="523698" y="4396840"/>
            <a:ext cx="327190" cy="2026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Tree>
    <p:extLst>
      <p:ext uri="{BB962C8B-B14F-4D97-AF65-F5344CB8AC3E}">
        <p14:creationId xmlns:p14="http://schemas.microsoft.com/office/powerpoint/2010/main" val="200335672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1" name="Freeform: Shape 860">
            <a:extLst>
              <a:ext uri="{FF2B5EF4-FFF2-40B4-BE49-F238E27FC236}">
                <a16:creationId xmlns:a16="http://schemas.microsoft.com/office/drawing/2014/main" id="{B74A949D-B981-4225-836F-0CC78197DBA8}"/>
              </a:ext>
            </a:extLst>
          </p:cNvPr>
          <p:cNvSpPr/>
          <p:nvPr/>
        </p:nvSpPr>
        <p:spPr bwMode="auto">
          <a:xfrm>
            <a:off x="694230" y="2897173"/>
            <a:ext cx="992070" cy="2443324"/>
          </a:xfrm>
          <a:custGeom>
            <a:avLst/>
            <a:gdLst>
              <a:gd name="connsiteX0" fmla="*/ 568562 w 992070"/>
              <a:gd name="connsiteY0" fmla="*/ 0 h 2443324"/>
              <a:gd name="connsiteX1" fmla="*/ 676485 w 992070"/>
              <a:gd name="connsiteY1" fmla="*/ 0 h 2443324"/>
              <a:gd name="connsiteX2" fmla="*/ 676485 w 992070"/>
              <a:gd name="connsiteY2" fmla="*/ 387341 h 2443324"/>
              <a:gd name="connsiteX3" fmla="*/ 992070 w 992070"/>
              <a:gd name="connsiteY3" fmla="*/ 387341 h 2443324"/>
              <a:gd name="connsiteX4" fmla="*/ 992070 w 992070"/>
              <a:gd name="connsiteY4" fmla="*/ 497069 h 2443324"/>
              <a:gd name="connsiteX5" fmla="*/ 676485 w 992070"/>
              <a:gd name="connsiteY5" fmla="*/ 497069 h 2443324"/>
              <a:gd name="connsiteX6" fmla="*/ 676485 w 992070"/>
              <a:gd name="connsiteY6" fmla="*/ 1165808 h 2443324"/>
              <a:gd name="connsiteX7" fmla="*/ 992070 w 992070"/>
              <a:gd name="connsiteY7" fmla="*/ 1165808 h 2443324"/>
              <a:gd name="connsiteX8" fmla="*/ 992070 w 992070"/>
              <a:gd name="connsiteY8" fmla="*/ 1275536 h 2443324"/>
              <a:gd name="connsiteX9" fmla="*/ 676485 w 992070"/>
              <a:gd name="connsiteY9" fmla="*/ 1275536 h 2443324"/>
              <a:gd name="connsiteX10" fmla="*/ 676485 w 992070"/>
              <a:gd name="connsiteY10" fmla="*/ 1944275 h 2443324"/>
              <a:gd name="connsiteX11" fmla="*/ 992070 w 992070"/>
              <a:gd name="connsiteY11" fmla="*/ 1944275 h 2443324"/>
              <a:gd name="connsiteX12" fmla="*/ 992070 w 992070"/>
              <a:gd name="connsiteY12" fmla="*/ 2054003 h 2443324"/>
              <a:gd name="connsiteX13" fmla="*/ 676485 w 992070"/>
              <a:gd name="connsiteY13" fmla="*/ 2054003 h 2443324"/>
              <a:gd name="connsiteX14" fmla="*/ 676485 w 992070"/>
              <a:gd name="connsiteY14" fmla="*/ 2443322 h 2443324"/>
              <a:gd name="connsiteX15" fmla="*/ 672478 w 992070"/>
              <a:gd name="connsiteY15" fmla="*/ 2443322 h 2443324"/>
              <a:gd name="connsiteX16" fmla="*/ 672478 w 992070"/>
              <a:gd name="connsiteY16" fmla="*/ 2443324 h 2443324"/>
              <a:gd name="connsiteX17" fmla="*/ 1 w 992070"/>
              <a:gd name="connsiteY17" fmla="*/ 2443324 h 2443324"/>
              <a:gd name="connsiteX18" fmla="*/ 1 w 992070"/>
              <a:gd name="connsiteY18" fmla="*/ 2335401 h 2443324"/>
              <a:gd name="connsiteX19" fmla="*/ 568562 w 992070"/>
              <a:gd name="connsiteY19" fmla="*/ 2335401 h 2443324"/>
              <a:gd name="connsiteX20" fmla="*/ 568562 w 992070"/>
              <a:gd name="connsiteY20" fmla="*/ 1664857 h 2443324"/>
              <a:gd name="connsiteX21" fmla="*/ 0 w 992070"/>
              <a:gd name="connsiteY21" fmla="*/ 1664857 h 2443324"/>
              <a:gd name="connsiteX22" fmla="*/ 0 w 992070"/>
              <a:gd name="connsiteY22" fmla="*/ 1556934 h 2443324"/>
              <a:gd name="connsiteX23" fmla="*/ 568562 w 992070"/>
              <a:gd name="connsiteY23" fmla="*/ 1556934 h 2443324"/>
              <a:gd name="connsiteX24" fmla="*/ 568562 w 992070"/>
              <a:gd name="connsiteY24" fmla="*/ 886392 h 2443324"/>
              <a:gd name="connsiteX25" fmla="*/ 2361 w 992070"/>
              <a:gd name="connsiteY25" fmla="*/ 886392 h 2443324"/>
              <a:gd name="connsiteX26" fmla="*/ 2361 w 992070"/>
              <a:gd name="connsiteY26" fmla="*/ 778469 h 2443324"/>
              <a:gd name="connsiteX27" fmla="*/ 568562 w 992070"/>
              <a:gd name="connsiteY27" fmla="*/ 778469 h 2443324"/>
              <a:gd name="connsiteX28" fmla="*/ 568562 w 992070"/>
              <a:gd name="connsiteY28" fmla="*/ 107924 h 2443324"/>
              <a:gd name="connsiteX29" fmla="*/ 0 w 992070"/>
              <a:gd name="connsiteY29" fmla="*/ 107924 h 2443324"/>
              <a:gd name="connsiteX30" fmla="*/ 0 w 992070"/>
              <a:gd name="connsiteY30" fmla="*/ 1 h 2443324"/>
              <a:gd name="connsiteX31" fmla="*/ 568562 w 992070"/>
              <a:gd name="connsiteY31" fmla="*/ 1 h 244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2070" h="2443324">
                <a:moveTo>
                  <a:pt x="568562" y="0"/>
                </a:moveTo>
                <a:lnTo>
                  <a:pt x="676485" y="0"/>
                </a:lnTo>
                <a:lnTo>
                  <a:pt x="676485" y="387341"/>
                </a:lnTo>
                <a:lnTo>
                  <a:pt x="992070" y="387341"/>
                </a:lnTo>
                <a:lnTo>
                  <a:pt x="992070" y="497069"/>
                </a:lnTo>
                <a:lnTo>
                  <a:pt x="676485" y="497069"/>
                </a:lnTo>
                <a:lnTo>
                  <a:pt x="676485" y="1165808"/>
                </a:lnTo>
                <a:lnTo>
                  <a:pt x="992070" y="1165808"/>
                </a:lnTo>
                <a:lnTo>
                  <a:pt x="992070" y="1275536"/>
                </a:lnTo>
                <a:lnTo>
                  <a:pt x="676485" y="1275536"/>
                </a:lnTo>
                <a:lnTo>
                  <a:pt x="676485" y="1944275"/>
                </a:lnTo>
                <a:lnTo>
                  <a:pt x="992070" y="1944275"/>
                </a:lnTo>
                <a:lnTo>
                  <a:pt x="992070" y="2054003"/>
                </a:lnTo>
                <a:lnTo>
                  <a:pt x="676485" y="2054003"/>
                </a:lnTo>
                <a:lnTo>
                  <a:pt x="676485" y="2443322"/>
                </a:lnTo>
                <a:lnTo>
                  <a:pt x="672478" y="2443322"/>
                </a:lnTo>
                <a:lnTo>
                  <a:pt x="672478" y="2443324"/>
                </a:lnTo>
                <a:lnTo>
                  <a:pt x="1" y="2443324"/>
                </a:lnTo>
                <a:lnTo>
                  <a:pt x="1" y="2335401"/>
                </a:lnTo>
                <a:lnTo>
                  <a:pt x="568562" y="2335401"/>
                </a:lnTo>
                <a:lnTo>
                  <a:pt x="568562" y="1664857"/>
                </a:lnTo>
                <a:lnTo>
                  <a:pt x="0" y="1664857"/>
                </a:lnTo>
                <a:lnTo>
                  <a:pt x="0" y="1556934"/>
                </a:lnTo>
                <a:lnTo>
                  <a:pt x="568562" y="1556934"/>
                </a:lnTo>
                <a:lnTo>
                  <a:pt x="568562" y="886392"/>
                </a:lnTo>
                <a:lnTo>
                  <a:pt x="2361" y="886392"/>
                </a:lnTo>
                <a:lnTo>
                  <a:pt x="2361" y="778469"/>
                </a:lnTo>
                <a:lnTo>
                  <a:pt x="568562" y="778469"/>
                </a:lnTo>
                <a:lnTo>
                  <a:pt x="568562" y="107924"/>
                </a:lnTo>
                <a:lnTo>
                  <a:pt x="0" y="107924"/>
                </a:lnTo>
                <a:lnTo>
                  <a:pt x="0" y="1"/>
                </a:lnTo>
                <a:lnTo>
                  <a:pt x="568562" y="1"/>
                </a:lnTo>
                <a:close/>
              </a:path>
            </a:pathLst>
          </a:custGeom>
          <a:solidFill>
            <a:schemeClr val="bg1"/>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862" name="Rectangle 861">
            <a:extLst>
              <a:ext uri="{FF2B5EF4-FFF2-40B4-BE49-F238E27FC236}">
                <a16:creationId xmlns:a16="http://schemas.microsoft.com/office/drawing/2014/main" id="{12BA41A7-4C3D-4BC9-925D-C10715A23BE0}"/>
              </a:ext>
            </a:extLst>
          </p:cNvPr>
          <p:cNvSpPr/>
          <p:nvPr/>
        </p:nvSpPr>
        <p:spPr bwMode="auto">
          <a:xfrm>
            <a:off x="1663901" y="3240620"/>
            <a:ext cx="260839" cy="17626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863" name="Oval 862">
            <a:extLst>
              <a:ext uri="{FF2B5EF4-FFF2-40B4-BE49-F238E27FC236}">
                <a16:creationId xmlns:a16="http://schemas.microsoft.com/office/drawing/2014/main" id="{6477F480-42DC-4E65-B767-A0AA83F24AEB}"/>
              </a:ext>
            </a:extLst>
          </p:cNvPr>
          <p:cNvSpPr/>
          <p:nvPr/>
        </p:nvSpPr>
        <p:spPr bwMode="auto">
          <a:xfrm>
            <a:off x="412973" y="1920512"/>
            <a:ext cx="548640" cy="548640"/>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64" name="network" title="Icon of a device or computer network">
            <a:extLst>
              <a:ext uri="{FF2B5EF4-FFF2-40B4-BE49-F238E27FC236}">
                <a16:creationId xmlns:a16="http://schemas.microsoft.com/office/drawing/2014/main" id="{9B0A0F8A-289C-427C-B4DF-3E913803C966}"/>
              </a:ext>
            </a:extLst>
          </p:cNvPr>
          <p:cNvSpPr>
            <a:spLocks noChangeAspect="1" noEditPoints="1"/>
          </p:cNvSpPr>
          <p:nvPr/>
        </p:nvSpPr>
        <p:spPr bwMode="auto">
          <a:xfrm>
            <a:off x="544196" y="2067280"/>
            <a:ext cx="267144" cy="278158"/>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5" name="Oval 864">
            <a:extLst>
              <a:ext uri="{FF2B5EF4-FFF2-40B4-BE49-F238E27FC236}">
                <a16:creationId xmlns:a16="http://schemas.microsoft.com/office/drawing/2014/main" id="{366356CA-D676-4BBA-AB99-CEC5A93896BF}"/>
              </a:ext>
            </a:extLst>
          </p:cNvPr>
          <p:cNvSpPr/>
          <p:nvPr/>
        </p:nvSpPr>
        <p:spPr bwMode="auto">
          <a:xfrm>
            <a:off x="412973" y="2676814"/>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66" name="Truck" title="Icon of a truck with a storage trailer">
            <a:extLst>
              <a:ext uri="{FF2B5EF4-FFF2-40B4-BE49-F238E27FC236}">
                <a16:creationId xmlns:a16="http://schemas.microsoft.com/office/drawing/2014/main" id="{21C9BA44-20DD-412F-B02F-A90D4EFD950A}"/>
              </a:ext>
            </a:extLst>
          </p:cNvPr>
          <p:cNvSpPr>
            <a:spLocks noChangeAspect="1" noEditPoints="1"/>
          </p:cNvSpPr>
          <p:nvPr/>
        </p:nvSpPr>
        <p:spPr bwMode="auto">
          <a:xfrm>
            <a:off x="497126" y="2861663"/>
            <a:ext cx="380335" cy="17407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67" name="Oval 866">
            <a:extLst>
              <a:ext uri="{FF2B5EF4-FFF2-40B4-BE49-F238E27FC236}">
                <a16:creationId xmlns:a16="http://schemas.microsoft.com/office/drawing/2014/main" id="{02436E28-629A-482F-A68C-09E6E6CA92DB}"/>
              </a:ext>
            </a:extLst>
          </p:cNvPr>
          <p:cNvSpPr/>
          <p:nvPr/>
        </p:nvSpPr>
        <p:spPr bwMode="auto">
          <a:xfrm>
            <a:off x="412973" y="3455281"/>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868" name="building_7" title="Icon of a building with a curved section protruding from it">
            <a:extLst>
              <a:ext uri="{FF2B5EF4-FFF2-40B4-BE49-F238E27FC236}">
                <a16:creationId xmlns:a16="http://schemas.microsoft.com/office/drawing/2014/main" id="{AE9A52C1-1940-4DB1-8B3E-A2A75F034BF5}"/>
              </a:ext>
            </a:extLst>
          </p:cNvPr>
          <p:cNvSpPr>
            <a:spLocks noChangeAspect="1" noEditPoints="1"/>
          </p:cNvSpPr>
          <p:nvPr/>
        </p:nvSpPr>
        <p:spPr bwMode="auto">
          <a:xfrm>
            <a:off x="555949" y="3575761"/>
            <a:ext cx="262689" cy="29744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9" name="Oval 868">
            <a:extLst>
              <a:ext uri="{FF2B5EF4-FFF2-40B4-BE49-F238E27FC236}">
                <a16:creationId xmlns:a16="http://schemas.microsoft.com/office/drawing/2014/main" id="{4763E50B-9638-4C8C-8E23-C9FCBA708FE0}"/>
              </a:ext>
            </a:extLst>
          </p:cNvPr>
          <p:cNvSpPr/>
          <p:nvPr/>
        </p:nvSpPr>
        <p:spPr bwMode="auto">
          <a:xfrm>
            <a:off x="412973" y="4233748"/>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870" name="building_11" title="Icon of a school house">
            <a:extLst>
              <a:ext uri="{FF2B5EF4-FFF2-40B4-BE49-F238E27FC236}">
                <a16:creationId xmlns:a16="http://schemas.microsoft.com/office/drawing/2014/main" id="{8F7F312C-97AA-4E10-A790-4D53DDDF2C81}"/>
              </a:ext>
            </a:extLst>
          </p:cNvPr>
          <p:cNvSpPr>
            <a:spLocks noChangeAspect="1" noEditPoints="1"/>
          </p:cNvSpPr>
          <p:nvPr/>
        </p:nvSpPr>
        <p:spPr bwMode="auto">
          <a:xfrm>
            <a:off x="491865" y="4378542"/>
            <a:ext cx="371807" cy="200145"/>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1" name="Oval 870">
            <a:extLst>
              <a:ext uri="{FF2B5EF4-FFF2-40B4-BE49-F238E27FC236}">
                <a16:creationId xmlns:a16="http://schemas.microsoft.com/office/drawing/2014/main" id="{AB122EA5-4D78-4C0D-85D3-01AE06C360C2}"/>
              </a:ext>
            </a:extLst>
          </p:cNvPr>
          <p:cNvSpPr/>
          <p:nvPr/>
        </p:nvSpPr>
        <p:spPr bwMode="auto">
          <a:xfrm>
            <a:off x="412973" y="5012215"/>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72" name="factory_3" title="Icon of a factory">
            <a:extLst>
              <a:ext uri="{FF2B5EF4-FFF2-40B4-BE49-F238E27FC236}">
                <a16:creationId xmlns:a16="http://schemas.microsoft.com/office/drawing/2014/main" id="{61C72C1D-FDD1-4F06-98ED-68B130F9E564}"/>
              </a:ext>
            </a:extLst>
          </p:cNvPr>
          <p:cNvSpPr>
            <a:spLocks noChangeAspect="1" noEditPoints="1"/>
          </p:cNvSpPr>
          <p:nvPr/>
        </p:nvSpPr>
        <p:spPr bwMode="auto">
          <a:xfrm>
            <a:off x="523698" y="5164920"/>
            <a:ext cx="327190" cy="2026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03" name="Title 1">
            <a:extLst>
              <a:ext uri="{FF2B5EF4-FFF2-40B4-BE49-F238E27FC236}">
                <a16:creationId xmlns:a16="http://schemas.microsoft.com/office/drawing/2014/main" id="{B5FE7631-AB65-4401-8750-D79BB0EA9DC5}"/>
              </a:ext>
            </a:extLst>
          </p:cNvPr>
          <p:cNvSpPr txBox="1">
            <a:spLocks/>
          </p:cNvSpPr>
          <p:nvPr/>
        </p:nvSpPr>
        <p:spPr>
          <a:xfrm>
            <a:off x="569409" y="194800"/>
            <a:ext cx="11049000" cy="492443"/>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ED7D31"/>
                </a:solidFill>
                <a:effectLst/>
                <a:uLnTx/>
                <a:uFillTx/>
                <a:latin typeface="Calibri Light" panose="020F0302020204030204"/>
                <a:ea typeface="+mn-ea"/>
                <a:cs typeface="Segoe UI" pitchFamily="34" charset="0"/>
              </a:rPr>
              <a:t>Azure Time Series Insights pay as you go high level architecture</a:t>
            </a:r>
          </a:p>
        </p:txBody>
      </p:sp>
      <p:sp>
        <p:nvSpPr>
          <p:cNvPr id="676" name="Rectangle 675">
            <a:extLst>
              <a:ext uri="{FF2B5EF4-FFF2-40B4-BE49-F238E27FC236}">
                <a16:creationId xmlns:a16="http://schemas.microsoft.com/office/drawing/2014/main" id="{ADDAEA85-EADE-4CB9-9CB3-707BCE89973A}"/>
              </a:ext>
            </a:extLst>
          </p:cNvPr>
          <p:cNvSpPr/>
          <p:nvPr/>
        </p:nvSpPr>
        <p:spPr bwMode="auto">
          <a:xfrm>
            <a:off x="2058364" y="462070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Digital Twins</a:t>
            </a:r>
          </a:p>
        </p:txBody>
      </p:sp>
      <p:sp>
        <p:nvSpPr>
          <p:cNvPr id="677" name="Rectangle 676">
            <a:extLst>
              <a:ext uri="{FF2B5EF4-FFF2-40B4-BE49-F238E27FC236}">
                <a16:creationId xmlns:a16="http://schemas.microsoft.com/office/drawing/2014/main" id="{E40D6AD0-ECB9-4853-BB1C-167222217D56}"/>
              </a:ext>
            </a:extLst>
          </p:cNvPr>
          <p:cNvSpPr/>
          <p:nvPr/>
        </p:nvSpPr>
        <p:spPr bwMode="auto">
          <a:xfrm>
            <a:off x="2058364" y="386186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IO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sp>
        <p:nvSpPr>
          <p:cNvPr id="678" name="Rectangle 677">
            <a:extLst>
              <a:ext uri="{FF2B5EF4-FFF2-40B4-BE49-F238E27FC236}">
                <a16:creationId xmlns:a16="http://schemas.microsoft.com/office/drawing/2014/main" id="{0B017E04-A954-4D40-A641-C28CEF2B0F3F}"/>
              </a:ext>
            </a:extLst>
          </p:cNvPr>
          <p:cNvSpPr/>
          <p:nvPr/>
        </p:nvSpPr>
        <p:spPr bwMode="auto">
          <a:xfrm>
            <a:off x="2058364" y="3062268"/>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ven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grpSp>
        <p:nvGrpSpPr>
          <p:cNvPr id="679" name="Graphic 21">
            <a:extLst>
              <a:ext uri="{FF2B5EF4-FFF2-40B4-BE49-F238E27FC236}">
                <a16:creationId xmlns:a16="http://schemas.microsoft.com/office/drawing/2014/main" id="{F204F140-7844-4384-AFA1-5035FA6EB61A}"/>
              </a:ext>
            </a:extLst>
          </p:cNvPr>
          <p:cNvGrpSpPr/>
          <p:nvPr/>
        </p:nvGrpSpPr>
        <p:grpSpPr>
          <a:xfrm>
            <a:off x="1812867" y="3173105"/>
            <a:ext cx="265478" cy="330601"/>
            <a:chOff x="5653616" y="2462212"/>
            <a:chExt cx="924390" cy="951356"/>
          </a:xfrm>
          <a:solidFill>
            <a:schemeClr val="accent1">
              <a:lumMod val="75000"/>
            </a:schemeClr>
          </a:solidFill>
        </p:grpSpPr>
        <p:sp>
          <p:nvSpPr>
            <p:cNvPr id="680" name="Freeform: Shape 679">
              <a:extLst>
                <a:ext uri="{FF2B5EF4-FFF2-40B4-BE49-F238E27FC236}">
                  <a16:creationId xmlns:a16="http://schemas.microsoft.com/office/drawing/2014/main" id="{38DBA596-9C3E-48A9-82E2-4939424A1852}"/>
                </a:ext>
              </a:extLst>
            </p:cNvPr>
            <p:cNvSpPr/>
            <p:nvPr/>
          </p:nvSpPr>
          <p:spPr>
            <a:xfrm>
              <a:off x="5653616" y="2462212"/>
              <a:ext cx="924348" cy="220122"/>
            </a:xfrm>
            <a:custGeom>
              <a:avLst/>
              <a:gdLst>
                <a:gd name="connsiteX0" fmla="*/ 2709 w 924348"/>
                <a:gd name="connsiteY0" fmla="*/ 0 h 220122"/>
                <a:gd name="connsiteX1" fmla="*/ 2709 w 924348"/>
                <a:gd name="connsiteY1" fmla="*/ 220123 h 220122"/>
                <a:gd name="connsiteX2" fmla="*/ 136440 w 924348"/>
                <a:gd name="connsiteY2" fmla="*/ 220123 h 220122"/>
                <a:gd name="connsiteX3" fmla="*/ 136440 w 924348"/>
                <a:gd name="connsiteY3" fmla="*/ 124016 h 220122"/>
                <a:gd name="connsiteX4" fmla="*/ 800333 w 924348"/>
                <a:gd name="connsiteY4" fmla="*/ 124016 h 220122"/>
                <a:gd name="connsiteX5" fmla="*/ 800333 w 924348"/>
                <a:gd name="connsiteY5" fmla="*/ 220123 h 220122"/>
                <a:gd name="connsiteX6" fmla="*/ 924348 w 924348"/>
                <a:gd name="connsiteY6" fmla="*/ 220123 h 220122"/>
                <a:gd name="connsiteX7" fmla="*/ 924348 w 924348"/>
                <a:gd name="connsiteY7" fmla="*/ 0 h 220122"/>
                <a:gd name="connsiteX8" fmla="*/ 2709 w 924348"/>
                <a:gd name="connsiteY8" fmla="*/ 0 h 2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122">
                  <a:moveTo>
                    <a:pt x="2709" y="0"/>
                  </a:moveTo>
                  <a:cubicBezTo>
                    <a:pt x="2709" y="0"/>
                    <a:pt x="-3387" y="220123"/>
                    <a:pt x="2709" y="220123"/>
                  </a:cubicBezTo>
                  <a:cubicBezTo>
                    <a:pt x="8805" y="220123"/>
                    <a:pt x="136440" y="220123"/>
                    <a:pt x="136440" y="220123"/>
                  </a:cubicBezTo>
                  <a:lnTo>
                    <a:pt x="136440" y="124016"/>
                  </a:lnTo>
                  <a:lnTo>
                    <a:pt x="800333" y="124016"/>
                  </a:lnTo>
                  <a:lnTo>
                    <a:pt x="800333" y="220123"/>
                  </a:lnTo>
                  <a:lnTo>
                    <a:pt x="924348" y="220123"/>
                  </a:lnTo>
                  <a:lnTo>
                    <a:pt x="924348" y="0"/>
                  </a:lnTo>
                  <a:lnTo>
                    <a:pt x="2709"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2" name="Freeform: Shape 681">
              <a:extLst>
                <a:ext uri="{FF2B5EF4-FFF2-40B4-BE49-F238E27FC236}">
                  <a16:creationId xmlns:a16="http://schemas.microsoft.com/office/drawing/2014/main" id="{D5EB8D36-DF2A-45FF-81F2-1BE78E90DECF}"/>
                </a:ext>
              </a:extLst>
            </p:cNvPr>
            <p:cNvSpPr/>
            <p:nvPr/>
          </p:nvSpPr>
          <p:spPr>
            <a:xfrm>
              <a:off x="5653658" y="3193351"/>
              <a:ext cx="924348" cy="220217"/>
            </a:xfrm>
            <a:custGeom>
              <a:avLst/>
              <a:gdLst>
                <a:gd name="connsiteX0" fmla="*/ 921639 w 924348"/>
                <a:gd name="connsiteY0" fmla="*/ 220123 h 220217"/>
                <a:gd name="connsiteX1" fmla="*/ 921639 w 924348"/>
                <a:gd name="connsiteY1" fmla="*/ 0 h 220217"/>
                <a:gd name="connsiteX2" fmla="*/ 787908 w 924348"/>
                <a:gd name="connsiteY2" fmla="*/ 0 h 220217"/>
                <a:gd name="connsiteX3" fmla="*/ 787908 w 924348"/>
                <a:gd name="connsiteY3" fmla="*/ 96107 h 220217"/>
                <a:gd name="connsiteX4" fmla="*/ 124016 w 924348"/>
                <a:gd name="connsiteY4" fmla="*/ 96107 h 220217"/>
                <a:gd name="connsiteX5" fmla="*/ 124016 w 924348"/>
                <a:gd name="connsiteY5" fmla="*/ 95 h 220217"/>
                <a:gd name="connsiteX6" fmla="*/ 0 w 924348"/>
                <a:gd name="connsiteY6" fmla="*/ 95 h 220217"/>
                <a:gd name="connsiteX7" fmla="*/ 0 w 924348"/>
                <a:gd name="connsiteY7" fmla="*/ 220218 h 220217"/>
                <a:gd name="connsiteX8" fmla="*/ 921639 w 924348"/>
                <a:gd name="connsiteY8" fmla="*/ 220218 h 22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217">
                  <a:moveTo>
                    <a:pt x="921639" y="220123"/>
                  </a:moveTo>
                  <a:cubicBezTo>
                    <a:pt x="921639" y="220123"/>
                    <a:pt x="927735" y="0"/>
                    <a:pt x="921639" y="0"/>
                  </a:cubicBezTo>
                  <a:cubicBezTo>
                    <a:pt x="915543" y="0"/>
                    <a:pt x="787908" y="0"/>
                    <a:pt x="787908" y="0"/>
                  </a:cubicBezTo>
                  <a:lnTo>
                    <a:pt x="787908" y="96107"/>
                  </a:lnTo>
                  <a:lnTo>
                    <a:pt x="124016" y="96107"/>
                  </a:lnTo>
                  <a:lnTo>
                    <a:pt x="124016" y="95"/>
                  </a:lnTo>
                  <a:lnTo>
                    <a:pt x="0" y="95"/>
                  </a:lnTo>
                  <a:lnTo>
                    <a:pt x="0" y="220218"/>
                  </a:lnTo>
                  <a:lnTo>
                    <a:pt x="921639" y="220218"/>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3" name="Freeform: Shape 682">
              <a:extLst>
                <a:ext uri="{FF2B5EF4-FFF2-40B4-BE49-F238E27FC236}">
                  <a16:creationId xmlns:a16="http://schemas.microsoft.com/office/drawing/2014/main" id="{F6DE6A4D-6303-46C5-A8CF-7C4AD39FD10E}"/>
                </a:ext>
              </a:extLst>
            </p:cNvPr>
            <p:cNvSpPr/>
            <p:nvPr/>
          </p:nvSpPr>
          <p:spPr>
            <a:xfrm>
              <a:off x="5838729" y="268233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4" name="Freeform: Shape 683">
              <a:extLst>
                <a:ext uri="{FF2B5EF4-FFF2-40B4-BE49-F238E27FC236}">
                  <a16:creationId xmlns:a16="http://schemas.microsoft.com/office/drawing/2014/main" id="{677FA99C-6B36-4826-9DFF-016E9298AC23}"/>
                </a:ext>
              </a:extLst>
            </p:cNvPr>
            <p:cNvSpPr/>
            <p:nvPr/>
          </p:nvSpPr>
          <p:spPr>
            <a:xfrm>
              <a:off x="5838729"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5" name="Freeform: Shape 684">
              <a:extLst>
                <a:ext uri="{FF2B5EF4-FFF2-40B4-BE49-F238E27FC236}">
                  <a16:creationId xmlns:a16="http://schemas.microsoft.com/office/drawing/2014/main" id="{EC92A806-56E5-4965-83BF-4DE13C7825C5}"/>
                </a:ext>
              </a:extLst>
            </p:cNvPr>
            <p:cNvSpPr/>
            <p:nvPr/>
          </p:nvSpPr>
          <p:spPr>
            <a:xfrm>
              <a:off x="5838729" y="3065335"/>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6" name="Freeform: Shape 685">
              <a:extLst>
                <a:ext uri="{FF2B5EF4-FFF2-40B4-BE49-F238E27FC236}">
                  <a16:creationId xmlns:a16="http://schemas.microsoft.com/office/drawing/2014/main" id="{13C5F0C0-E449-4049-A5D9-5E648FF33F1B}"/>
                </a:ext>
              </a:extLst>
            </p:cNvPr>
            <p:cNvSpPr/>
            <p:nvPr/>
          </p:nvSpPr>
          <p:spPr>
            <a:xfrm>
              <a:off x="6063709" y="277348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7" name="Freeform: Shape 686">
              <a:extLst>
                <a:ext uri="{FF2B5EF4-FFF2-40B4-BE49-F238E27FC236}">
                  <a16:creationId xmlns:a16="http://schemas.microsoft.com/office/drawing/2014/main" id="{F051A9F8-4A8D-4910-8FF6-8FE53A5EC14A}"/>
                </a:ext>
              </a:extLst>
            </p:cNvPr>
            <p:cNvSpPr/>
            <p:nvPr/>
          </p:nvSpPr>
          <p:spPr>
            <a:xfrm>
              <a:off x="6063709" y="296808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8" name="Freeform: Shape 687">
              <a:extLst>
                <a:ext uri="{FF2B5EF4-FFF2-40B4-BE49-F238E27FC236}">
                  <a16:creationId xmlns:a16="http://schemas.microsoft.com/office/drawing/2014/main" id="{E260AD38-CCDB-465D-AF1B-68C4B0C6F180}"/>
                </a:ext>
              </a:extLst>
            </p:cNvPr>
            <p:cNvSpPr/>
            <p:nvPr/>
          </p:nvSpPr>
          <p:spPr>
            <a:xfrm>
              <a:off x="6294691"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689" name="Picture 688" descr="A picture containing clock&#10;&#10;Description automatically generated">
            <a:extLst>
              <a:ext uri="{FF2B5EF4-FFF2-40B4-BE49-F238E27FC236}">
                <a16:creationId xmlns:a16="http://schemas.microsoft.com/office/drawing/2014/main" id="{B8E3B39A-EA89-4EDB-A419-16EFA80E3B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867" y="4683495"/>
            <a:ext cx="341096" cy="429743"/>
          </a:xfrm>
          <a:prstGeom prst="rect">
            <a:avLst/>
          </a:prstGeom>
        </p:spPr>
      </p:pic>
      <p:sp>
        <p:nvSpPr>
          <p:cNvPr id="690" name="Rectangle 689">
            <a:extLst>
              <a:ext uri="{FF2B5EF4-FFF2-40B4-BE49-F238E27FC236}">
                <a16:creationId xmlns:a16="http://schemas.microsoft.com/office/drawing/2014/main" id="{DDD72E0A-3C6A-423A-85BC-5F48542671EC}"/>
              </a:ext>
            </a:extLst>
          </p:cNvPr>
          <p:cNvSpPr/>
          <p:nvPr/>
        </p:nvSpPr>
        <p:spPr bwMode="auto">
          <a:xfrm>
            <a:off x="834963" y="1768367"/>
            <a:ext cx="1485146"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istorical data</a:t>
            </a:r>
          </a:p>
        </p:txBody>
      </p:sp>
      <p:sp>
        <p:nvSpPr>
          <p:cNvPr id="691" name="Rectangle 690">
            <a:extLst>
              <a:ext uri="{FF2B5EF4-FFF2-40B4-BE49-F238E27FC236}">
                <a16:creationId xmlns:a16="http://schemas.microsoft.com/office/drawing/2014/main" id="{090F6280-80E6-4579-A209-AD96FE2BE686}"/>
              </a:ext>
            </a:extLst>
          </p:cNvPr>
          <p:cNvSpPr/>
          <p:nvPr/>
        </p:nvSpPr>
        <p:spPr bwMode="auto">
          <a:xfrm>
            <a:off x="6095127" y="6257050"/>
            <a:ext cx="5758943" cy="363496"/>
          </a:xfrm>
          <a:prstGeom prst="rect">
            <a:avLst/>
          </a:prstGeom>
          <a:solidFill>
            <a:schemeClr val="bg1">
              <a:lumMod val="95000"/>
            </a:schemeClr>
          </a:solidFill>
          <a:ln w="6350">
            <a:noFill/>
            <a:prstDash val="solid"/>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692" name="TextBox 691">
            <a:extLst>
              <a:ext uri="{FF2B5EF4-FFF2-40B4-BE49-F238E27FC236}">
                <a16:creationId xmlns:a16="http://schemas.microsoft.com/office/drawing/2014/main" id="{749C1344-511F-415C-AFD8-96826F8D195A}"/>
              </a:ext>
            </a:extLst>
          </p:cNvPr>
          <p:cNvSpPr txBox="1"/>
          <p:nvPr/>
        </p:nvSpPr>
        <p:spPr>
          <a:xfrm>
            <a:off x="6726426"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imeseries data</a:t>
            </a:r>
          </a:p>
        </p:txBody>
      </p:sp>
      <p:sp>
        <p:nvSpPr>
          <p:cNvPr id="693" name="TextBox 692">
            <a:extLst>
              <a:ext uri="{FF2B5EF4-FFF2-40B4-BE49-F238E27FC236}">
                <a16:creationId xmlns:a16="http://schemas.microsoft.com/office/drawing/2014/main" id="{60882BB1-B7B2-4B55-86D7-55F9D021D899}"/>
              </a:ext>
            </a:extLst>
          </p:cNvPr>
          <p:cNvSpPr txBox="1"/>
          <p:nvPr/>
        </p:nvSpPr>
        <p:spPr>
          <a:xfrm>
            <a:off x="8458967"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PI requests/returns</a:t>
            </a:r>
          </a:p>
        </p:txBody>
      </p:sp>
      <p:sp>
        <p:nvSpPr>
          <p:cNvPr id="694" name="TextBox 693">
            <a:extLst>
              <a:ext uri="{FF2B5EF4-FFF2-40B4-BE49-F238E27FC236}">
                <a16:creationId xmlns:a16="http://schemas.microsoft.com/office/drawing/2014/main" id="{E472B692-810C-4CA1-ACF1-F17A3001393C}"/>
              </a:ext>
            </a:extLst>
          </p:cNvPr>
          <p:cNvSpPr txBox="1"/>
          <p:nvPr/>
        </p:nvSpPr>
        <p:spPr>
          <a:xfrm>
            <a:off x="10530988"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I/ML workflow</a:t>
            </a:r>
          </a:p>
        </p:txBody>
      </p:sp>
      <p:cxnSp>
        <p:nvCxnSpPr>
          <p:cNvPr id="760" name="Straight Connector 759">
            <a:extLst>
              <a:ext uri="{FF2B5EF4-FFF2-40B4-BE49-F238E27FC236}">
                <a16:creationId xmlns:a16="http://schemas.microsoft.com/office/drawing/2014/main" id="{073D0903-4654-4FD3-BE4B-B94A33E47EF9}"/>
              </a:ext>
            </a:extLst>
          </p:cNvPr>
          <p:cNvCxnSpPr/>
          <p:nvPr/>
        </p:nvCxnSpPr>
        <p:spPr>
          <a:xfrm>
            <a:off x="6313117" y="6438798"/>
            <a:ext cx="340242" cy="0"/>
          </a:xfrm>
          <a:prstGeom prst="line">
            <a:avLst/>
          </a:prstGeom>
          <a:ln w="28575">
            <a:solidFill>
              <a:schemeClr val="accent3"/>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61" name="Straight Connector 760">
            <a:extLst>
              <a:ext uri="{FF2B5EF4-FFF2-40B4-BE49-F238E27FC236}">
                <a16:creationId xmlns:a16="http://schemas.microsoft.com/office/drawing/2014/main" id="{6A2E4981-D71B-4A2D-846C-ABF8360882EA}"/>
              </a:ext>
            </a:extLst>
          </p:cNvPr>
          <p:cNvCxnSpPr/>
          <p:nvPr/>
        </p:nvCxnSpPr>
        <p:spPr>
          <a:xfrm>
            <a:off x="8045658" y="6438798"/>
            <a:ext cx="340242" cy="0"/>
          </a:xfrm>
          <a:prstGeom prst="line">
            <a:avLst/>
          </a:prstGeom>
          <a:ln w="28575">
            <a:solidFill>
              <a:schemeClr val="accent4"/>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77" name="Straight Connector 776">
            <a:extLst>
              <a:ext uri="{FF2B5EF4-FFF2-40B4-BE49-F238E27FC236}">
                <a16:creationId xmlns:a16="http://schemas.microsoft.com/office/drawing/2014/main" id="{4398E34D-A48C-4927-89F0-09A5263ADCAD}"/>
              </a:ext>
            </a:extLst>
          </p:cNvPr>
          <p:cNvCxnSpPr/>
          <p:nvPr/>
        </p:nvCxnSpPr>
        <p:spPr>
          <a:xfrm>
            <a:off x="10117679" y="6438798"/>
            <a:ext cx="340242" cy="0"/>
          </a:xfrm>
          <a:prstGeom prst="line">
            <a:avLst/>
          </a:prstGeom>
          <a:ln w="28575">
            <a:solidFill>
              <a:srgbClr val="E3591B"/>
            </a:solidFill>
            <a:prstDash val="solid"/>
            <a:tailEnd type="none" w="lg" len="med"/>
          </a:ln>
        </p:spPr>
        <p:style>
          <a:lnRef idx="1">
            <a:schemeClr val="accent1"/>
          </a:lnRef>
          <a:fillRef idx="0">
            <a:schemeClr val="accent1"/>
          </a:fillRef>
          <a:effectRef idx="0">
            <a:schemeClr val="accent1"/>
          </a:effectRef>
          <a:fontRef idx="minor">
            <a:schemeClr val="tx1"/>
          </a:fontRef>
        </p:style>
      </p:cxnSp>
      <p:sp>
        <p:nvSpPr>
          <p:cNvPr id="792" name="Arrow: Pentagon 791">
            <a:extLst>
              <a:ext uri="{FF2B5EF4-FFF2-40B4-BE49-F238E27FC236}">
                <a16:creationId xmlns:a16="http://schemas.microsoft.com/office/drawing/2014/main" id="{D5EE79C3-0269-4F86-B763-692E503A8B93}"/>
              </a:ext>
              <a:ext uri="{C183D7F6-B498-43B3-948B-1728B52AA6E4}">
                <adec:decorative xmlns:adec="http://schemas.microsoft.com/office/drawing/2017/decorative" val="1"/>
              </a:ext>
            </a:extLst>
          </p:cNvPr>
          <p:cNvSpPr/>
          <p:nvPr/>
        </p:nvSpPr>
        <p:spPr>
          <a:xfrm>
            <a:off x="411479" y="1342055"/>
            <a:ext cx="4077732" cy="320040"/>
          </a:xfrm>
          <a:prstGeom prst="homePlate">
            <a:avLst>
              <a:gd name="adj" fmla="val 35480"/>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Collect</a:t>
            </a:r>
          </a:p>
        </p:txBody>
      </p:sp>
      <p:sp>
        <p:nvSpPr>
          <p:cNvPr id="793" name="Rectangle 792">
            <a:extLst>
              <a:ext uri="{FF2B5EF4-FFF2-40B4-BE49-F238E27FC236}">
                <a16:creationId xmlns:a16="http://schemas.microsoft.com/office/drawing/2014/main" id="{48C64221-06DD-4F20-A956-1B27573FAC02}"/>
              </a:ext>
              <a:ext uri="{C183D7F6-B498-43B3-948B-1728B52AA6E4}">
                <adec:decorative xmlns:adec="http://schemas.microsoft.com/office/drawing/2017/decorative" val="1"/>
              </a:ext>
            </a:extLst>
          </p:cNvPr>
          <p:cNvSpPr/>
          <p:nvPr/>
        </p:nvSpPr>
        <p:spPr>
          <a:xfrm>
            <a:off x="411479" y="5955277"/>
            <a:ext cx="3982516" cy="91440"/>
          </a:xfrm>
          <a:prstGeom prst="rect">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grpSp>
        <p:nvGrpSpPr>
          <p:cNvPr id="808" name="Group 807">
            <a:extLst>
              <a:ext uri="{FF2B5EF4-FFF2-40B4-BE49-F238E27FC236}">
                <a16:creationId xmlns:a16="http://schemas.microsoft.com/office/drawing/2014/main" id="{946095CF-1480-48FB-AEF5-18FDFAFC2041}"/>
              </a:ext>
            </a:extLst>
          </p:cNvPr>
          <p:cNvGrpSpPr/>
          <p:nvPr/>
        </p:nvGrpSpPr>
        <p:grpSpPr>
          <a:xfrm>
            <a:off x="2190205" y="1227755"/>
            <a:ext cx="548640" cy="548640"/>
            <a:chOff x="1427625" y="2265815"/>
            <a:chExt cx="844109" cy="844111"/>
          </a:xfrm>
        </p:grpSpPr>
        <p:sp>
          <p:nvSpPr>
            <p:cNvPr id="809" name="Oval 808">
              <a:extLst>
                <a:ext uri="{FF2B5EF4-FFF2-40B4-BE49-F238E27FC236}">
                  <a16:creationId xmlns:a16="http://schemas.microsoft.com/office/drawing/2014/main" id="{CE32F4DE-EF7E-47FD-B44D-34EB273E1841}"/>
                </a:ext>
                <a:ext uri="{C183D7F6-B498-43B3-948B-1728B52AA6E4}">
                  <adec:decorative xmlns:adec="http://schemas.microsoft.com/office/drawing/2017/decorative" val="1"/>
                </a:ext>
              </a:extLst>
            </p:cNvPr>
            <p:cNvSpPr/>
            <p:nvPr/>
          </p:nvSpPr>
          <p:spPr bwMode="auto">
            <a:xfrm>
              <a:off x="1427625" y="2265815"/>
              <a:ext cx="844109" cy="844111"/>
            </a:xfrm>
            <a:prstGeom prst="ellipse">
              <a:avLst/>
            </a:prstGeom>
            <a:solidFill>
              <a:schemeClr val="accent1">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10" name="Group 809">
              <a:extLst>
                <a:ext uri="{FF2B5EF4-FFF2-40B4-BE49-F238E27FC236}">
                  <a16:creationId xmlns:a16="http://schemas.microsoft.com/office/drawing/2014/main" id="{121846EC-CFA4-44D5-BD4D-4CCD9F55F76C}"/>
                </a:ext>
              </a:extLst>
            </p:cNvPr>
            <p:cNvGrpSpPr/>
            <p:nvPr/>
          </p:nvGrpSpPr>
          <p:grpSpPr>
            <a:xfrm>
              <a:off x="1653837" y="2463440"/>
              <a:ext cx="425119" cy="425320"/>
              <a:chOff x="2809993" y="1208899"/>
              <a:chExt cx="365586" cy="365760"/>
            </a:xfrm>
          </p:grpSpPr>
          <p:sp>
            <p:nvSpPr>
              <p:cNvPr id="811" name="BackToWindow_E73F" title="Icon of two arrows pointing towards eachother">
                <a:extLst>
                  <a:ext uri="{FF2B5EF4-FFF2-40B4-BE49-F238E27FC236}">
                    <a16:creationId xmlns:a16="http://schemas.microsoft.com/office/drawing/2014/main" id="{E970E958-BFD2-4D09-A9F2-49E86012E4DA}"/>
                  </a:ext>
                </a:extLst>
              </p:cNvPr>
              <p:cNvSpPr>
                <a:spLocks noChangeAspect="1" noEditPoints="1"/>
              </p:cNvSpPr>
              <p:nvPr/>
            </p:nvSpPr>
            <p:spPr bwMode="auto">
              <a:xfrm>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12" name="BackToWindow_E73F" title="Icon of two arrows pointing towards eachother">
                <a:extLst>
                  <a:ext uri="{FF2B5EF4-FFF2-40B4-BE49-F238E27FC236}">
                    <a16:creationId xmlns:a16="http://schemas.microsoft.com/office/drawing/2014/main" id="{BBD6EF54-976E-45DE-BA4E-2595C4B4B717}"/>
                  </a:ext>
                </a:extLst>
              </p:cNvPr>
              <p:cNvSpPr>
                <a:spLocks noChangeAspect="1" noEditPoints="1"/>
              </p:cNvSpPr>
              <p:nvPr/>
            </p:nvSpPr>
            <p:spPr bwMode="auto">
              <a:xfrm flipV="1">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sp>
        <p:nvSpPr>
          <p:cNvPr id="813" name="Rectangle 812">
            <a:extLst>
              <a:ext uri="{FF2B5EF4-FFF2-40B4-BE49-F238E27FC236}">
                <a16:creationId xmlns:a16="http://schemas.microsoft.com/office/drawing/2014/main" id="{DB373815-6DF0-4715-8D51-6A9A2D8542BD}"/>
              </a:ext>
            </a:extLst>
          </p:cNvPr>
          <p:cNvSpPr/>
          <p:nvPr/>
        </p:nvSpPr>
        <p:spPr bwMode="auto">
          <a:xfrm>
            <a:off x="1736965" y="4039796"/>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814" name="Graphic 21">
            <a:extLst>
              <a:ext uri="{FF2B5EF4-FFF2-40B4-BE49-F238E27FC236}">
                <a16:creationId xmlns:a16="http://schemas.microsoft.com/office/drawing/2014/main" id="{CF362D35-9B6E-4255-90D5-99DC7394FBA6}"/>
              </a:ext>
            </a:extLst>
          </p:cNvPr>
          <p:cNvGrpSpPr/>
          <p:nvPr/>
        </p:nvGrpSpPr>
        <p:grpSpPr>
          <a:xfrm>
            <a:off x="1812867" y="3987981"/>
            <a:ext cx="299102" cy="304037"/>
            <a:chOff x="5614987" y="3432237"/>
            <a:chExt cx="946785" cy="962406"/>
          </a:xfrm>
          <a:solidFill>
            <a:schemeClr val="accent1">
              <a:lumMod val="75000"/>
            </a:schemeClr>
          </a:solidFill>
        </p:grpSpPr>
        <p:sp>
          <p:nvSpPr>
            <p:cNvPr id="815" name="Freeform: Shape 814">
              <a:extLst>
                <a:ext uri="{FF2B5EF4-FFF2-40B4-BE49-F238E27FC236}">
                  <a16:creationId xmlns:a16="http://schemas.microsoft.com/office/drawing/2014/main" id="{429F6CE0-988F-4998-AAB9-CBF2B5DFB713}"/>
                </a:ext>
              </a:extLst>
            </p:cNvPr>
            <p:cNvSpPr/>
            <p:nvPr/>
          </p:nvSpPr>
          <p:spPr>
            <a:xfrm>
              <a:off x="6288880" y="3432237"/>
              <a:ext cx="272891" cy="267747"/>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6" name="Freeform: Shape 815">
              <a:extLst>
                <a:ext uri="{FF2B5EF4-FFF2-40B4-BE49-F238E27FC236}">
                  <a16:creationId xmlns:a16="http://schemas.microsoft.com/office/drawing/2014/main" id="{A6BA177D-E1B6-45B4-B7E0-2D443BE5F231}"/>
                </a:ext>
              </a:extLst>
            </p:cNvPr>
            <p:cNvSpPr/>
            <p:nvPr/>
          </p:nvSpPr>
          <p:spPr>
            <a:xfrm>
              <a:off x="5614987" y="4126991"/>
              <a:ext cx="272891" cy="267652"/>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7" name="Freeform: Shape 816">
              <a:extLst>
                <a:ext uri="{FF2B5EF4-FFF2-40B4-BE49-F238E27FC236}">
                  <a16:creationId xmlns:a16="http://schemas.microsoft.com/office/drawing/2014/main" id="{D784A879-30B8-4E9E-B383-255D5B552B3A}"/>
                </a:ext>
              </a:extLst>
            </p:cNvPr>
            <p:cNvSpPr/>
            <p:nvPr/>
          </p:nvSpPr>
          <p:spPr>
            <a:xfrm>
              <a:off x="5690329" y="3495864"/>
              <a:ext cx="803338" cy="804195"/>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818" name="Connector: Elbow 817">
            <a:extLst>
              <a:ext uri="{FF2B5EF4-FFF2-40B4-BE49-F238E27FC236}">
                <a16:creationId xmlns:a16="http://schemas.microsoft.com/office/drawing/2014/main" id="{1BACF84F-7E4C-43E8-A794-2A6F18705B41}"/>
              </a:ext>
            </a:extLst>
          </p:cNvPr>
          <p:cNvCxnSpPr>
            <a:cxnSpLocks/>
            <a:endCxn id="676" idx="3"/>
          </p:cNvCxnSpPr>
          <p:nvPr/>
        </p:nvCxnSpPr>
        <p:spPr>
          <a:xfrm>
            <a:off x="961613" y="2194832"/>
            <a:ext cx="1777233" cy="2704007"/>
          </a:xfrm>
          <a:prstGeom prst="bentConnector3">
            <a:avLst>
              <a:gd name="adj1" fmla="val 112863"/>
            </a:avLst>
          </a:prstGeom>
          <a:ln w="12700">
            <a:solidFill>
              <a:schemeClr val="accent3"/>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cxnSp>
        <p:nvCxnSpPr>
          <p:cNvPr id="819" name="Straight Arrow Connector 818">
            <a:extLst>
              <a:ext uri="{FF2B5EF4-FFF2-40B4-BE49-F238E27FC236}">
                <a16:creationId xmlns:a16="http://schemas.microsoft.com/office/drawing/2014/main" id="{70443F98-9BFA-43B8-8359-423913CD48E3}"/>
              </a:ext>
            </a:extLst>
          </p:cNvPr>
          <p:cNvCxnSpPr>
            <a:cxnSpLocks/>
          </p:cNvCxnSpPr>
          <p:nvPr/>
        </p:nvCxnSpPr>
        <p:spPr>
          <a:xfrm>
            <a:off x="2738845" y="4111386"/>
            <a:ext cx="459325" cy="0"/>
          </a:xfrm>
          <a:prstGeom prst="straightConnector1">
            <a:avLst/>
          </a:prstGeom>
          <a:ln w="12700">
            <a:solidFill>
              <a:schemeClr val="accent3"/>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820" name="Straight Arrow Connector 819">
            <a:extLst>
              <a:ext uri="{FF2B5EF4-FFF2-40B4-BE49-F238E27FC236}">
                <a16:creationId xmlns:a16="http://schemas.microsoft.com/office/drawing/2014/main" id="{715B7B92-57EB-40E8-A0B5-7B44CCCAA2A7}"/>
              </a:ext>
            </a:extLst>
          </p:cNvPr>
          <p:cNvCxnSpPr>
            <a:cxnSpLocks/>
          </p:cNvCxnSpPr>
          <p:nvPr/>
        </p:nvCxnSpPr>
        <p:spPr>
          <a:xfrm flipH="1">
            <a:off x="2738845" y="3335772"/>
            <a:ext cx="223270" cy="0"/>
          </a:xfrm>
          <a:prstGeom prst="straightConnector1">
            <a:avLst/>
          </a:prstGeom>
          <a:ln w="12700">
            <a:solidFill>
              <a:schemeClr val="accent3"/>
            </a:solidFill>
            <a:prstDash val="solid"/>
            <a:miter lim="800000"/>
            <a:tailEnd type="non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89910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4" name="Freeform: Shape 863">
            <a:extLst>
              <a:ext uri="{FF2B5EF4-FFF2-40B4-BE49-F238E27FC236}">
                <a16:creationId xmlns:a16="http://schemas.microsoft.com/office/drawing/2014/main" id="{4CFCC5AD-AE8E-41A8-AB29-93B4424088B3}"/>
              </a:ext>
            </a:extLst>
          </p:cNvPr>
          <p:cNvSpPr/>
          <p:nvPr/>
        </p:nvSpPr>
        <p:spPr bwMode="auto">
          <a:xfrm>
            <a:off x="694230" y="2897173"/>
            <a:ext cx="992070" cy="2443324"/>
          </a:xfrm>
          <a:custGeom>
            <a:avLst/>
            <a:gdLst>
              <a:gd name="connsiteX0" fmla="*/ 568562 w 992070"/>
              <a:gd name="connsiteY0" fmla="*/ 0 h 2443324"/>
              <a:gd name="connsiteX1" fmla="*/ 676485 w 992070"/>
              <a:gd name="connsiteY1" fmla="*/ 0 h 2443324"/>
              <a:gd name="connsiteX2" fmla="*/ 676485 w 992070"/>
              <a:gd name="connsiteY2" fmla="*/ 387341 h 2443324"/>
              <a:gd name="connsiteX3" fmla="*/ 992070 w 992070"/>
              <a:gd name="connsiteY3" fmla="*/ 387341 h 2443324"/>
              <a:gd name="connsiteX4" fmla="*/ 992070 w 992070"/>
              <a:gd name="connsiteY4" fmla="*/ 497069 h 2443324"/>
              <a:gd name="connsiteX5" fmla="*/ 676485 w 992070"/>
              <a:gd name="connsiteY5" fmla="*/ 497069 h 2443324"/>
              <a:gd name="connsiteX6" fmla="*/ 676485 w 992070"/>
              <a:gd name="connsiteY6" fmla="*/ 1165808 h 2443324"/>
              <a:gd name="connsiteX7" fmla="*/ 992070 w 992070"/>
              <a:gd name="connsiteY7" fmla="*/ 1165808 h 2443324"/>
              <a:gd name="connsiteX8" fmla="*/ 992070 w 992070"/>
              <a:gd name="connsiteY8" fmla="*/ 1275536 h 2443324"/>
              <a:gd name="connsiteX9" fmla="*/ 676485 w 992070"/>
              <a:gd name="connsiteY9" fmla="*/ 1275536 h 2443324"/>
              <a:gd name="connsiteX10" fmla="*/ 676485 w 992070"/>
              <a:gd name="connsiteY10" fmla="*/ 1944275 h 2443324"/>
              <a:gd name="connsiteX11" fmla="*/ 992070 w 992070"/>
              <a:gd name="connsiteY11" fmla="*/ 1944275 h 2443324"/>
              <a:gd name="connsiteX12" fmla="*/ 992070 w 992070"/>
              <a:gd name="connsiteY12" fmla="*/ 2054003 h 2443324"/>
              <a:gd name="connsiteX13" fmla="*/ 676485 w 992070"/>
              <a:gd name="connsiteY13" fmla="*/ 2054003 h 2443324"/>
              <a:gd name="connsiteX14" fmla="*/ 676485 w 992070"/>
              <a:gd name="connsiteY14" fmla="*/ 2443322 h 2443324"/>
              <a:gd name="connsiteX15" fmla="*/ 672478 w 992070"/>
              <a:gd name="connsiteY15" fmla="*/ 2443322 h 2443324"/>
              <a:gd name="connsiteX16" fmla="*/ 672478 w 992070"/>
              <a:gd name="connsiteY16" fmla="*/ 2443324 h 2443324"/>
              <a:gd name="connsiteX17" fmla="*/ 1 w 992070"/>
              <a:gd name="connsiteY17" fmla="*/ 2443324 h 2443324"/>
              <a:gd name="connsiteX18" fmla="*/ 1 w 992070"/>
              <a:gd name="connsiteY18" fmla="*/ 2335401 h 2443324"/>
              <a:gd name="connsiteX19" fmla="*/ 568562 w 992070"/>
              <a:gd name="connsiteY19" fmla="*/ 2335401 h 2443324"/>
              <a:gd name="connsiteX20" fmla="*/ 568562 w 992070"/>
              <a:gd name="connsiteY20" fmla="*/ 1664857 h 2443324"/>
              <a:gd name="connsiteX21" fmla="*/ 0 w 992070"/>
              <a:gd name="connsiteY21" fmla="*/ 1664857 h 2443324"/>
              <a:gd name="connsiteX22" fmla="*/ 0 w 992070"/>
              <a:gd name="connsiteY22" fmla="*/ 1556934 h 2443324"/>
              <a:gd name="connsiteX23" fmla="*/ 568562 w 992070"/>
              <a:gd name="connsiteY23" fmla="*/ 1556934 h 2443324"/>
              <a:gd name="connsiteX24" fmla="*/ 568562 w 992070"/>
              <a:gd name="connsiteY24" fmla="*/ 886392 h 2443324"/>
              <a:gd name="connsiteX25" fmla="*/ 2361 w 992070"/>
              <a:gd name="connsiteY25" fmla="*/ 886392 h 2443324"/>
              <a:gd name="connsiteX26" fmla="*/ 2361 w 992070"/>
              <a:gd name="connsiteY26" fmla="*/ 778469 h 2443324"/>
              <a:gd name="connsiteX27" fmla="*/ 568562 w 992070"/>
              <a:gd name="connsiteY27" fmla="*/ 778469 h 2443324"/>
              <a:gd name="connsiteX28" fmla="*/ 568562 w 992070"/>
              <a:gd name="connsiteY28" fmla="*/ 107924 h 2443324"/>
              <a:gd name="connsiteX29" fmla="*/ 0 w 992070"/>
              <a:gd name="connsiteY29" fmla="*/ 107924 h 2443324"/>
              <a:gd name="connsiteX30" fmla="*/ 0 w 992070"/>
              <a:gd name="connsiteY30" fmla="*/ 1 h 2443324"/>
              <a:gd name="connsiteX31" fmla="*/ 568562 w 992070"/>
              <a:gd name="connsiteY31" fmla="*/ 1 h 244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2070" h="2443324">
                <a:moveTo>
                  <a:pt x="568562" y="0"/>
                </a:moveTo>
                <a:lnTo>
                  <a:pt x="676485" y="0"/>
                </a:lnTo>
                <a:lnTo>
                  <a:pt x="676485" y="387341"/>
                </a:lnTo>
                <a:lnTo>
                  <a:pt x="992070" y="387341"/>
                </a:lnTo>
                <a:lnTo>
                  <a:pt x="992070" y="497069"/>
                </a:lnTo>
                <a:lnTo>
                  <a:pt x="676485" y="497069"/>
                </a:lnTo>
                <a:lnTo>
                  <a:pt x="676485" y="1165808"/>
                </a:lnTo>
                <a:lnTo>
                  <a:pt x="992070" y="1165808"/>
                </a:lnTo>
                <a:lnTo>
                  <a:pt x="992070" y="1275536"/>
                </a:lnTo>
                <a:lnTo>
                  <a:pt x="676485" y="1275536"/>
                </a:lnTo>
                <a:lnTo>
                  <a:pt x="676485" y="1944275"/>
                </a:lnTo>
                <a:lnTo>
                  <a:pt x="992070" y="1944275"/>
                </a:lnTo>
                <a:lnTo>
                  <a:pt x="992070" y="2054003"/>
                </a:lnTo>
                <a:lnTo>
                  <a:pt x="676485" y="2054003"/>
                </a:lnTo>
                <a:lnTo>
                  <a:pt x="676485" y="2443322"/>
                </a:lnTo>
                <a:lnTo>
                  <a:pt x="672478" y="2443322"/>
                </a:lnTo>
                <a:lnTo>
                  <a:pt x="672478" y="2443324"/>
                </a:lnTo>
                <a:lnTo>
                  <a:pt x="1" y="2443324"/>
                </a:lnTo>
                <a:lnTo>
                  <a:pt x="1" y="2335401"/>
                </a:lnTo>
                <a:lnTo>
                  <a:pt x="568562" y="2335401"/>
                </a:lnTo>
                <a:lnTo>
                  <a:pt x="568562" y="1664857"/>
                </a:lnTo>
                <a:lnTo>
                  <a:pt x="0" y="1664857"/>
                </a:lnTo>
                <a:lnTo>
                  <a:pt x="0" y="1556934"/>
                </a:lnTo>
                <a:lnTo>
                  <a:pt x="568562" y="1556934"/>
                </a:lnTo>
                <a:lnTo>
                  <a:pt x="568562" y="886392"/>
                </a:lnTo>
                <a:lnTo>
                  <a:pt x="2361" y="886392"/>
                </a:lnTo>
                <a:lnTo>
                  <a:pt x="2361" y="778469"/>
                </a:lnTo>
                <a:lnTo>
                  <a:pt x="568562" y="778469"/>
                </a:lnTo>
                <a:lnTo>
                  <a:pt x="568562" y="107924"/>
                </a:lnTo>
                <a:lnTo>
                  <a:pt x="0" y="107924"/>
                </a:lnTo>
                <a:lnTo>
                  <a:pt x="0" y="1"/>
                </a:lnTo>
                <a:lnTo>
                  <a:pt x="568562" y="1"/>
                </a:lnTo>
                <a:close/>
              </a:path>
            </a:pathLst>
          </a:custGeom>
          <a:solidFill>
            <a:schemeClr val="bg1"/>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865" name="Rectangle 864">
            <a:extLst>
              <a:ext uri="{FF2B5EF4-FFF2-40B4-BE49-F238E27FC236}">
                <a16:creationId xmlns:a16="http://schemas.microsoft.com/office/drawing/2014/main" id="{B75A35A6-56A1-4D9B-9AF9-6A1C3D8A1F56}"/>
              </a:ext>
            </a:extLst>
          </p:cNvPr>
          <p:cNvSpPr/>
          <p:nvPr/>
        </p:nvSpPr>
        <p:spPr bwMode="auto">
          <a:xfrm>
            <a:off x="1663901" y="3240620"/>
            <a:ext cx="260839" cy="17626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866" name="Oval 865">
            <a:extLst>
              <a:ext uri="{FF2B5EF4-FFF2-40B4-BE49-F238E27FC236}">
                <a16:creationId xmlns:a16="http://schemas.microsoft.com/office/drawing/2014/main" id="{438ECEA0-BCB9-4BF2-8B4D-F899365ED2AD}"/>
              </a:ext>
            </a:extLst>
          </p:cNvPr>
          <p:cNvSpPr/>
          <p:nvPr/>
        </p:nvSpPr>
        <p:spPr bwMode="auto">
          <a:xfrm>
            <a:off x="412973" y="1920512"/>
            <a:ext cx="548640" cy="548640"/>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67" name="network" title="Icon of a device or computer network">
            <a:extLst>
              <a:ext uri="{FF2B5EF4-FFF2-40B4-BE49-F238E27FC236}">
                <a16:creationId xmlns:a16="http://schemas.microsoft.com/office/drawing/2014/main" id="{FA1759F6-8869-4F42-A9C8-606703BB9095}"/>
              </a:ext>
            </a:extLst>
          </p:cNvPr>
          <p:cNvSpPr>
            <a:spLocks noChangeAspect="1" noEditPoints="1"/>
          </p:cNvSpPr>
          <p:nvPr/>
        </p:nvSpPr>
        <p:spPr bwMode="auto">
          <a:xfrm>
            <a:off x="544196" y="2067280"/>
            <a:ext cx="267144" cy="278158"/>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8" name="Oval 867">
            <a:extLst>
              <a:ext uri="{FF2B5EF4-FFF2-40B4-BE49-F238E27FC236}">
                <a16:creationId xmlns:a16="http://schemas.microsoft.com/office/drawing/2014/main" id="{8E39CA44-E82F-46CA-BA45-BB18B7423EE1}"/>
              </a:ext>
            </a:extLst>
          </p:cNvPr>
          <p:cNvSpPr/>
          <p:nvPr/>
        </p:nvSpPr>
        <p:spPr bwMode="auto">
          <a:xfrm>
            <a:off x="412973" y="2676814"/>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69" name="Truck" title="Icon of a truck with a storage trailer">
            <a:extLst>
              <a:ext uri="{FF2B5EF4-FFF2-40B4-BE49-F238E27FC236}">
                <a16:creationId xmlns:a16="http://schemas.microsoft.com/office/drawing/2014/main" id="{E41DBC97-934D-4850-856C-EABD8CDD7184}"/>
              </a:ext>
            </a:extLst>
          </p:cNvPr>
          <p:cNvSpPr>
            <a:spLocks noChangeAspect="1" noEditPoints="1"/>
          </p:cNvSpPr>
          <p:nvPr/>
        </p:nvSpPr>
        <p:spPr bwMode="auto">
          <a:xfrm>
            <a:off x="497126" y="2861663"/>
            <a:ext cx="380335" cy="17407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70" name="Oval 869">
            <a:extLst>
              <a:ext uri="{FF2B5EF4-FFF2-40B4-BE49-F238E27FC236}">
                <a16:creationId xmlns:a16="http://schemas.microsoft.com/office/drawing/2014/main" id="{EC0C12BB-0840-49F7-9EBD-AA0A38A5D2A3}"/>
              </a:ext>
            </a:extLst>
          </p:cNvPr>
          <p:cNvSpPr/>
          <p:nvPr/>
        </p:nvSpPr>
        <p:spPr bwMode="auto">
          <a:xfrm>
            <a:off x="412973" y="3455281"/>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871" name="building_7" title="Icon of a building with a curved section protruding from it">
            <a:extLst>
              <a:ext uri="{FF2B5EF4-FFF2-40B4-BE49-F238E27FC236}">
                <a16:creationId xmlns:a16="http://schemas.microsoft.com/office/drawing/2014/main" id="{1243AFFE-FE34-4083-8B3E-89F40C587DEC}"/>
              </a:ext>
            </a:extLst>
          </p:cNvPr>
          <p:cNvSpPr>
            <a:spLocks noChangeAspect="1" noEditPoints="1"/>
          </p:cNvSpPr>
          <p:nvPr/>
        </p:nvSpPr>
        <p:spPr bwMode="auto">
          <a:xfrm>
            <a:off x="555949" y="3575761"/>
            <a:ext cx="262689" cy="29744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2" name="Oval 871">
            <a:extLst>
              <a:ext uri="{FF2B5EF4-FFF2-40B4-BE49-F238E27FC236}">
                <a16:creationId xmlns:a16="http://schemas.microsoft.com/office/drawing/2014/main" id="{C8B677BC-3930-4F26-9AD6-10543FB70758}"/>
              </a:ext>
            </a:extLst>
          </p:cNvPr>
          <p:cNvSpPr/>
          <p:nvPr/>
        </p:nvSpPr>
        <p:spPr bwMode="auto">
          <a:xfrm>
            <a:off x="412973" y="4233748"/>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873" name="building_11" title="Icon of a school house">
            <a:extLst>
              <a:ext uri="{FF2B5EF4-FFF2-40B4-BE49-F238E27FC236}">
                <a16:creationId xmlns:a16="http://schemas.microsoft.com/office/drawing/2014/main" id="{14E90AF2-CDDB-4979-9E7B-EBC396B8D989}"/>
              </a:ext>
            </a:extLst>
          </p:cNvPr>
          <p:cNvSpPr>
            <a:spLocks noChangeAspect="1" noEditPoints="1"/>
          </p:cNvSpPr>
          <p:nvPr/>
        </p:nvSpPr>
        <p:spPr bwMode="auto">
          <a:xfrm>
            <a:off x="491865" y="4378542"/>
            <a:ext cx="371807" cy="200145"/>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4" name="Oval 873">
            <a:extLst>
              <a:ext uri="{FF2B5EF4-FFF2-40B4-BE49-F238E27FC236}">
                <a16:creationId xmlns:a16="http://schemas.microsoft.com/office/drawing/2014/main" id="{658C2A5C-4A69-4D2D-A570-8DC11EC327B1}"/>
              </a:ext>
            </a:extLst>
          </p:cNvPr>
          <p:cNvSpPr/>
          <p:nvPr/>
        </p:nvSpPr>
        <p:spPr bwMode="auto">
          <a:xfrm>
            <a:off x="412973" y="5012215"/>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75" name="factory_3" title="Icon of a factory">
            <a:extLst>
              <a:ext uri="{FF2B5EF4-FFF2-40B4-BE49-F238E27FC236}">
                <a16:creationId xmlns:a16="http://schemas.microsoft.com/office/drawing/2014/main" id="{503A7740-6557-4DD4-8110-B83D9EF3F114}"/>
              </a:ext>
            </a:extLst>
          </p:cNvPr>
          <p:cNvSpPr>
            <a:spLocks noChangeAspect="1" noEditPoints="1"/>
          </p:cNvSpPr>
          <p:nvPr/>
        </p:nvSpPr>
        <p:spPr bwMode="auto">
          <a:xfrm>
            <a:off x="523698" y="5164920"/>
            <a:ext cx="327190" cy="2026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03" name="Title 1">
            <a:extLst>
              <a:ext uri="{FF2B5EF4-FFF2-40B4-BE49-F238E27FC236}">
                <a16:creationId xmlns:a16="http://schemas.microsoft.com/office/drawing/2014/main" id="{B5FE7631-AB65-4401-8750-D79BB0EA9DC5}"/>
              </a:ext>
            </a:extLst>
          </p:cNvPr>
          <p:cNvSpPr txBox="1">
            <a:spLocks/>
          </p:cNvSpPr>
          <p:nvPr/>
        </p:nvSpPr>
        <p:spPr>
          <a:xfrm>
            <a:off x="569409" y="194800"/>
            <a:ext cx="11049000" cy="492443"/>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ED7D31"/>
                </a:solidFill>
                <a:effectLst/>
                <a:uLnTx/>
                <a:uFillTx/>
                <a:latin typeface="Calibri Light" panose="020F0302020204030204"/>
                <a:ea typeface="+mn-ea"/>
                <a:cs typeface="Segoe UI" pitchFamily="34" charset="0"/>
              </a:rPr>
              <a:t>Azure Time Series Insights pay as you go high level architecture</a:t>
            </a:r>
          </a:p>
        </p:txBody>
      </p:sp>
      <p:sp>
        <p:nvSpPr>
          <p:cNvPr id="671" name="Rectangle 670">
            <a:extLst>
              <a:ext uri="{FF2B5EF4-FFF2-40B4-BE49-F238E27FC236}">
                <a16:creationId xmlns:a16="http://schemas.microsoft.com/office/drawing/2014/main" id="{267BB8A6-DE2D-4964-8B00-015D24473577}"/>
              </a:ext>
            </a:extLst>
          </p:cNvPr>
          <p:cNvSpPr/>
          <p:nvPr/>
        </p:nvSpPr>
        <p:spPr bwMode="auto">
          <a:xfrm>
            <a:off x="3687390" y="2493902"/>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78" name="Rectangle 677">
            <a:extLst>
              <a:ext uri="{FF2B5EF4-FFF2-40B4-BE49-F238E27FC236}">
                <a16:creationId xmlns:a16="http://schemas.microsoft.com/office/drawing/2014/main" id="{6F01D72F-3D59-4533-808F-24234DBEBB0B}"/>
              </a:ext>
            </a:extLst>
          </p:cNvPr>
          <p:cNvSpPr/>
          <p:nvPr/>
        </p:nvSpPr>
        <p:spPr bwMode="auto">
          <a:xfrm>
            <a:off x="2058364" y="462070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Digital Twins</a:t>
            </a:r>
          </a:p>
        </p:txBody>
      </p:sp>
      <p:sp>
        <p:nvSpPr>
          <p:cNvPr id="679" name="Rectangle 678">
            <a:extLst>
              <a:ext uri="{FF2B5EF4-FFF2-40B4-BE49-F238E27FC236}">
                <a16:creationId xmlns:a16="http://schemas.microsoft.com/office/drawing/2014/main" id="{8A34E71B-8DBD-48CE-ABE9-62368BFDB591}"/>
              </a:ext>
            </a:extLst>
          </p:cNvPr>
          <p:cNvSpPr/>
          <p:nvPr/>
        </p:nvSpPr>
        <p:spPr bwMode="auto">
          <a:xfrm>
            <a:off x="2058364" y="386186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IO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sp>
        <p:nvSpPr>
          <p:cNvPr id="680" name="Rectangle 679">
            <a:extLst>
              <a:ext uri="{FF2B5EF4-FFF2-40B4-BE49-F238E27FC236}">
                <a16:creationId xmlns:a16="http://schemas.microsoft.com/office/drawing/2014/main" id="{6C672CDC-6F9C-4F51-8C8A-EDF8B4270A5F}"/>
              </a:ext>
            </a:extLst>
          </p:cNvPr>
          <p:cNvSpPr/>
          <p:nvPr/>
        </p:nvSpPr>
        <p:spPr bwMode="auto">
          <a:xfrm>
            <a:off x="2058364" y="3062268"/>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ven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grpSp>
        <p:nvGrpSpPr>
          <p:cNvPr id="682" name="Graphic 21">
            <a:extLst>
              <a:ext uri="{FF2B5EF4-FFF2-40B4-BE49-F238E27FC236}">
                <a16:creationId xmlns:a16="http://schemas.microsoft.com/office/drawing/2014/main" id="{39780D76-63B6-4365-8002-CBE121FB0E09}"/>
              </a:ext>
            </a:extLst>
          </p:cNvPr>
          <p:cNvGrpSpPr/>
          <p:nvPr/>
        </p:nvGrpSpPr>
        <p:grpSpPr>
          <a:xfrm>
            <a:off x="1812867" y="3173105"/>
            <a:ext cx="265478" cy="330601"/>
            <a:chOff x="5653616" y="2462212"/>
            <a:chExt cx="924390" cy="951356"/>
          </a:xfrm>
          <a:solidFill>
            <a:schemeClr val="accent1">
              <a:lumMod val="75000"/>
            </a:schemeClr>
          </a:solidFill>
        </p:grpSpPr>
        <p:sp>
          <p:nvSpPr>
            <p:cNvPr id="684" name="Freeform: Shape 683">
              <a:extLst>
                <a:ext uri="{FF2B5EF4-FFF2-40B4-BE49-F238E27FC236}">
                  <a16:creationId xmlns:a16="http://schemas.microsoft.com/office/drawing/2014/main" id="{AEC0536C-D221-46FF-8A6C-C793EF0DBEAC}"/>
                </a:ext>
              </a:extLst>
            </p:cNvPr>
            <p:cNvSpPr/>
            <p:nvPr/>
          </p:nvSpPr>
          <p:spPr>
            <a:xfrm>
              <a:off x="5653616" y="2462212"/>
              <a:ext cx="924348" cy="220122"/>
            </a:xfrm>
            <a:custGeom>
              <a:avLst/>
              <a:gdLst>
                <a:gd name="connsiteX0" fmla="*/ 2709 w 924348"/>
                <a:gd name="connsiteY0" fmla="*/ 0 h 220122"/>
                <a:gd name="connsiteX1" fmla="*/ 2709 w 924348"/>
                <a:gd name="connsiteY1" fmla="*/ 220123 h 220122"/>
                <a:gd name="connsiteX2" fmla="*/ 136440 w 924348"/>
                <a:gd name="connsiteY2" fmla="*/ 220123 h 220122"/>
                <a:gd name="connsiteX3" fmla="*/ 136440 w 924348"/>
                <a:gd name="connsiteY3" fmla="*/ 124016 h 220122"/>
                <a:gd name="connsiteX4" fmla="*/ 800333 w 924348"/>
                <a:gd name="connsiteY4" fmla="*/ 124016 h 220122"/>
                <a:gd name="connsiteX5" fmla="*/ 800333 w 924348"/>
                <a:gd name="connsiteY5" fmla="*/ 220123 h 220122"/>
                <a:gd name="connsiteX6" fmla="*/ 924348 w 924348"/>
                <a:gd name="connsiteY6" fmla="*/ 220123 h 220122"/>
                <a:gd name="connsiteX7" fmla="*/ 924348 w 924348"/>
                <a:gd name="connsiteY7" fmla="*/ 0 h 220122"/>
                <a:gd name="connsiteX8" fmla="*/ 2709 w 924348"/>
                <a:gd name="connsiteY8" fmla="*/ 0 h 2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122">
                  <a:moveTo>
                    <a:pt x="2709" y="0"/>
                  </a:moveTo>
                  <a:cubicBezTo>
                    <a:pt x="2709" y="0"/>
                    <a:pt x="-3387" y="220123"/>
                    <a:pt x="2709" y="220123"/>
                  </a:cubicBezTo>
                  <a:cubicBezTo>
                    <a:pt x="8805" y="220123"/>
                    <a:pt x="136440" y="220123"/>
                    <a:pt x="136440" y="220123"/>
                  </a:cubicBezTo>
                  <a:lnTo>
                    <a:pt x="136440" y="124016"/>
                  </a:lnTo>
                  <a:lnTo>
                    <a:pt x="800333" y="124016"/>
                  </a:lnTo>
                  <a:lnTo>
                    <a:pt x="800333" y="220123"/>
                  </a:lnTo>
                  <a:lnTo>
                    <a:pt x="924348" y="220123"/>
                  </a:lnTo>
                  <a:lnTo>
                    <a:pt x="924348" y="0"/>
                  </a:lnTo>
                  <a:lnTo>
                    <a:pt x="2709"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5" name="Freeform: Shape 684">
              <a:extLst>
                <a:ext uri="{FF2B5EF4-FFF2-40B4-BE49-F238E27FC236}">
                  <a16:creationId xmlns:a16="http://schemas.microsoft.com/office/drawing/2014/main" id="{509E009B-594F-4A4A-B2F0-5BD8E66191D7}"/>
                </a:ext>
              </a:extLst>
            </p:cNvPr>
            <p:cNvSpPr/>
            <p:nvPr/>
          </p:nvSpPr>
          <p:spPr>
            <a:xfrm>
              <a:off x="5653658" y="3193351"/>
              <a:ext cx="924348" cy="220217"/>
            </a:xfrm>
            <a:custGeom>
              <a:avLst/>
              <a:gdLst>
                <a:gd name="connsiteX0" fmla="*/ 921639 w 924348"/>
                <a:gd name="connsiteY0" fmla="*/ 220123 h 220217"/>
                <a:gd name="connsiteX1" fmla="*/ 921639 w 924348"/>
                <a:gd name="connsiteY1" fmla="*/ 0 h 220217"/>
                <a:gd name="connsiteX2" fmla="*/ 787908 w 924348"/>
                <a:gd name="connsiteY2" fmla="*/ 0 h 220217"/>
                <a:gd name="connsiteX3" fmla="*/ 787908 w 924348"/>
                <a:gd name="connsiteY3" fmla="*/ 96107 h 220217"/>
                <a:gd name="connsiteX4" fmla="*/ 124016 w 924348"/>
                <a:gd name="connsiteY4" fmla="*/ 96107 h 220217"/>
                <a:gd name="connsiteX5" fmla="*/ 124016 w 924348"/>
                <a:gd name="connsiteY5" fmla="*/ 95 h 220217"/>
                <a:gd name="connsiteX6" fmla="*/ 0 w 924348"/>
                <a:gd name="connsiteY6" fmla="*/ 95 h 220217"/>
                <a:gd name="connsiteX7" fmla="*/ 0 w 924348"/>
                <a:gd name="connsiteY7" fmla="*/ 220218 h 220217"/>
                <a:gd name="connsiteX8" fmla="*/ 921639 w 924348"/>
                <a:gd name="connsiteY8" fmla="*/ 220218 h 22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217">
                  <a:moveTo>
                    <a:pt x="921639" y="220123"/>
                  </a:moveTo>
                  <a:cubicBezTo>
                    <a:pt x="921639" y="220123"/>
                    <a:pt x="927735" y="0"/>
                    <a:pt x="921639" y="0"/>
                  </a:cubicBezTo>
                  <a:cubicBezTo>
                    <a:pt x="915543" y="0"/>
                    <a:pt x="787908" y="0"/>
                    <a:pt x="787908" y="0"/>
                  </a:cubicBezTo>
                  <a:lnTo>
                    <a:pt x="787908" y="96107"/>
                  </a:lnTo>
                  <a:lnTo>
                    <a:pt x="124016" y="96107"/>
                  </a:lnTo>
                  <a:lnTo>
                    <a:pt x="124016" y="95"/>
                  </a:lnTo>
                  <a:lnTo>
                    <a:pt x="0" y="95"/>
                  </a:lnTo>
                  <a:lnTo>
                    <a:pt x="0" y="220218"/>
                  </a:lnTo>
                  <a:lnTo>
                    <a:pt x="921639" y="220218"/>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6" name="Freeform: Shape 685">
              <a:extLst>
                <a:ext uri="{FF2B5EF4-FFF2-40B4-BE49-F238E27FC236}">
                  <a16:creationId xmlns:a16="http://schemas.microsoft.com/office/drawing/2014/main" id="{171B2FEE-FA2F-426B-9D7D-F8520CE6B4E4}"/>
                </a:ext>
              </a:extLst>
            </p:cNvPr>
            <p:cNvSpPr/>
            <p:nvPr/>
          </p:nvSpPr>
          <p:spPr>
            <a:xfrm>
              <a:off x="5838729" y="268233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7" name="Freeform: Shape 686">
              <a:extLst>
                <a:ext uri="{FF2B5EF4-FFF2-40B4-BE49-F238E27FC236}">
                  <a16:creationId xmlns:a16="http://schemas.microsoft.com/office/drawing/2014/main" id="{3929480C-6063-40FF-B620-7881342164F9}"/>
                </a:ext>
              </a:extLst>
            </p:cNvPr>
            <p:cNvSpPr/>
            <p:nvPr/>
          </p:nvSpPr>
          <p:spPr>
            <a:xfrm>
              <a:off x="5838729"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8" name="Freeform: Shape 687">
              <a:extLst>
                <a:ext uri="{FF2B5EF4-FFF2-40B4-BE49-F238E27FC236}">
                  <a16:creationId xmlns:a16="http://schemas.microsoft.com/office/drawing/2014/main" id="{D6AF5744-A421-4C19-AAC0-D360AB176D9A}"/>
                </a:ext>
              </a:extLst>
            </p:cNvPr>
            <p:cNvSpPr/>
            <p:nvPr/>
          </p:nvSpPr>
          <p:spPr>
            <a:xfrm>
              <a:off x="5838729" y="3065335"/>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9" name="Freeform: Shape 688">
              <a:extLst>
                <a:ext uri="{FF2B5EF4-FFF2-40B4-BE49-F238E27FC236}">
                  <a16:creationId xmlns:a16="http://schemas.microsoft.com/office/drawing/2014/main" id="{1D8ACA15-6EC1-4486-84EA-287A4720EE0C}"/>
                </a:ext>
              </a:extLst>
            </p:cNvPr>
            <p:cNvSpPr/>
            <p:nvPr/>
          </p:nvSpPr>
          <p:spPr>
            <a:xfrm>
              <a:off x="6063709" y="277348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0" name="Freeform: Shape 689">
              <a:extLst>
                <a:ext uri="{FF2B5EF4-FFF2-40B4-BE49-F238E27FC236}">
                  <a16:creationId xmlns:a16="http://schemas.microsoft.com/office/drawing/2014/main" id="{F0E719A7-EAB7-4D47-B987-C9A5162EC118}"/>
                </a:ext>
              </a:extLst>
            </p:cNvPr>
            <p:cNvSpPr/>
            <p:nvPr/>
          </p:nvSpPr>
          <p:spPr>
            <a:xfrm>
              <a:off x="6063709" y="296808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1" name="Freeform: Shape 690">
              <a:extLst>
                <a:ext uri="{FF2B5EF4-FFF2-40B4-BE49-F238E27FC236}">
                  <a16:creationId xmlns:a16="http://schemas.microsoft.com/office/drawing/2014/main" id="{5258A1C9-51A3-4177-893A-7B11EABC50BF}"/>
                </a:ext>
              </a:extLst>
            </p:cNvPr>
            <p:cNvSpPr/>
            <p:nvPr/>
          </p:nvSpPr>
          <p:spPr>
            <a:xfrm>
              <a:off x="6294691"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692" name="Picture 691" descr="A picture containing clock&#10;&#10;Description automatically generated">
            <a:extLst>
              <a:ext uri="{FF2B5EF4-FFF2-40B4-BE49-F238E27FC236}">
                <a16:creationId xmlns:a16="http://schemas.microsoft.com/office/drawing/2014/main" id="{D120856B-084B-49C0-8CD2-D126A3D280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867" y="4683495"/>
            <a:ext cx="341096" cy="429743"/>
          </a:xfrm>
          <a:prstGeom prst="rect">
            <a:avLst/>
          </a:prstGeom>
        </p:spPr>
      </p:pic>
      <p:sp>
        <p:nvSpPr>
          <p:cNvPr id="693" name="Rectangle 692">
            <a:extLst>
              <a:ext uri="{FF2B5EF4-FFF2-40B4-BE49-F238E27FC236}">
                <a16:creationId xmlns:a16="http://schemas.microsoft.com/office/drawing/2014/main" id="{1642FA6E-567E-4357-B48D-643E4C75ED56}"/>
              </a:ext>
            </a:extLst>
          </p:cNvPr>
          <p:cNvSpPr/>
          <p:nvPr/>
        </p:nvSpPr>
        <p:spPr bwMode="auto">
          <a:xfrm>
            <a:off x="834963" y="1768367"/>
            <a:ext cx="1485146"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istorical data</a:t>
            </a:r>
          </a:p>
        </p:txBody>
      </p:sp>
      <p:sp>
        <p:nvSpPr>
          <p:cNvPr id="694" name="Rectangle 693">
            <a:extLst>
              <a:ext uri="{FF2B5EF4-FFF2-40B4-BE49-F238E27FC236}">
                <a16:creationId xmlns:a16="http://schemas.microsoft.com/office/drawing/2014/main" id="{EA3ED8F1-719E-4C47-8E6C-8EBA7C61CC0C}"/>
              </a:ext>
            </a:extLst>
          </p:cNvPr>
          <p:cNvSpPr/>
          <p:nvPr/>
        </p:nvSpPr>
        <p:spPr bwMode="auto">
          <a:xfrm>
            <a:off x="6095127" y="6257050"/>
            <a:ext cx="5758943" cy="363496"/>
          </a:xfrm>
          <a:prstGeom prst="rect">
            <a:avLst/>
          </a:prstGeom>
          <a:solidFill>
            <a:schemeClr val="bg1">
              <a:lumMod val="95000"/>
            </a:schemeClr>
          </a:solidFill>
          <a:ln w="6350">
            <a:noFill/>
            <a:prstDash val="solid"/>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695" name="TextBox 694">
            <a:extLst>
              <a:ext uri="{FF2B5EF4-FFF2-40B4-BE49-F238E27FC236}">
                <a16:creationId xmlns:a16="http://schemas.microsoft.com/office/drawing/2014/main" id="{AAA4DD4A-C61E-495F-B089-871AF6665AAF}"/>
              </a:ext>
            </a:extLst>
          </p:cNvPr>
          <p:cNvSpPr txBox="1"/>
          <p:nvPr/>
        </p:nvSpPr>
        <p:spPr>
          <a:xfrm>
            <a:off x="6726426"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imeseries data</a:t>
            </a:r>
          </a:p>
        </p:txBody>
      </p:sp>
      <p:sp>
        <p:nvSpPr>
          <p:cNvPr id="696" name="TextBox 695">
            <a:extLst>
              <a:ext uri="{FF2B5EF4-FFF2-40B4-BE49-F238E27FC236}">
                <a16:creationId xmlns:a16="http://schemas.microsoft.com/office/drawing/2014/main" id="{5D716932-950E-4D8E-B228-627BFA493553}"/>
              </a:ext>
            </a:extLst>
          </p:cNvPr>
          <p:cNvSpPr txBox="1"/>
          <p:nvPr/>
        </p:nvSpPr>
        <p:spPr>
          <a:xfrm>
            <a:off x="8458967"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PI requests/returns</a:t>
            </a:r>
          </a:p>
        </p:txBody>
      </p:sp>
      <p:sp>
        <p:nvSpPr>
          <p:cNvPr id="697" name="TextBox 696">
            <a:extLst>
              <a:ext uri="{FF2B5EF4-FFF2-40B4-BE49-F238E27FC236}">
                <a16:creationId xmlns:a16="http://schemas.microsoft.com/office/drawing/2014/main" id="{82C5D5C9-4878-4E02-96FF-4354DB83B568}"/>
              </a:ext>
            </a:extLst>
          </p:cNvPr>
          <p:cNvSpPr txBox="1"/>
          <p:nvPr/>
        </p:nvSpPr>
        <p:spPr>
          <a:xfrm>
            <a:off x="10530988"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I/ML workflow</a:t>
            </a:r>
          </a:p>
        </p:txBody>
      </p:sp>
      <p:pic>
        <p:nvPicPr>
          <p:cNvPr id="704" name="Picture 703">
            <a:extLst>
              <a:ext uri="{FF2B5EF4-FFF2-40B4-BE49-F238E27FC236}">
                <a16:creationId xmlns:a16="http://schemas.microsoft.com/office/drawing/2014/main" id="{E677F167-8FB1-44AC-839D-2EA4CA6A45CC}"/>
              </a:ext>
            </a:extLst>
          </p:cNvPr>
          <p:cNvPicPr>
            <a:picLocks noChangeAspect="1"/>
          </p:cNvPicPr>
          <p:nvPr/>
        </p:nvPicPr>
        <p:blipFill>
          <a:blip r:embed="rId4">
            <a:duotone>
              <a:schemeClr val="accent1">
                <a:shade val="45000"/>
                <a:satMod val="135000"/>
              </a:schemeClr>
              <a:prstClr val="white"/>
            </a:duotone>
            <a:lum bright="-20000"/>
          </a:blip>
          <a:stretch>
            <a:fillRect/>
          </a:stretch>
        </p:blipFill>
        <p:spPr>
          <a:xfrm>
            <a:off x="3268636" y="3628691"/>
            <a:ext cx="1048388" cy="904388"/>
          </a:xfrm>
          <a:prstGeom prst="rect">
            <a:avLst/>
          </a:prstGeom>
        </p:spPr>
      </p:pic>
      <p:cxnSp>
        <p:nvCxnSpPr>
          <p:cNvPr id="763" name="Straight Connector 762">
            <a:extLst>
              <a:ext uri="{FF2B5EF4-FFF2-40B4-BE49-F238E27FC236}">
                <a16:creationId xmlns:a16="http://schemas.microsoft.com/office/drawing/2014/main" id="{75AF8397-BC56-4E2D-8587-57974DD658A5}"/>
              </a:ext>
            </a:extLst>
          </p:cNvPr>
          <p:cNvCxnSpPr/>
          <p:nvPr/>
        </p:nvCxnSpPr>
        <p:spPr>
          <a:xfrm>
            <a:off x="6313117" y="6438798"/>
            <a:ext cx="340242" cy="0"/>
          </a:xfrm>
          <a:prstGeom prst="line">
            <a:avLst/>
          </a:prstGeom>
          <a:ln w="28575">
            <a:solidFill>
              <a:schemeClr val="accent3"/>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64" name="Straight Connector 763">
            <a:extLst>
              <a:ext uri="{FF2B5EF4-FFF2-40B4-BE49-F238E27FC236}">
                <a16:creationId xmlns:a16="http://schemas.microsoft.com/office/drawing/2014/main" id="{240388A3-D3E3-4B0B-90CA-25C32278844E}"/>
              </a:ext>
            </a:extLst>
          </p:cNvPr>
          <p:cNvCxnSpPr/>
          <p:nvPr/>
        </p:nvCxnSpPr>
        <p:spPr>
          <a:xfrm>
            <a:off x="8045658" y="6438798"/>
            <a:ext cx="340242" cy="0"/>
          </a:xfrm>
          <a:prstGeom prst="line">
            <a:avLst/>
          </a:prstGeom>
          <a:ln w="28575">
            <a:solidFill>
              <a:schemeClr val="accent4"/>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80" name="Straight Connector 779">
            <a:extLst>
              <a:ext uri="{FF2B5EF4-FFF2-40B4-BE49-F238E27FC236}">
                <a16:creationId xmlns:a16="http://schemas.microsoft.com/office/drawing/2014/main" id="{24107D49-564E-498B-B1DA-4F9B085A572F}"/>
              </a:ext>
            </a:extLst>
          </p:cNvPr>
          <p:cNvCxnSpPr/>
          <p:nvPr/>
        </p:nvCxnSpPr>
        <p:spPr>
          <a:xfrm>
            <a:off x="10117679" y="6438798"/>
            <a:ext cx="340242" cy="0"/>
          </a:xfrm>
          <a:prstGeom prst="line">
            <a:avLst/>
          </a:prstGeom>
          <a:ln w="28575">
            <a:solidFill>
              <a:srgbClr val="E3591B"/>
            </a:solidFill>
            <a:prstDash val="solid"/>
            <a:tailEnd type="none" w="lg" len="med"/>
          </a:ln>
        </p:spPr>
        <p:style>
          <a:lnRef idx="1">
            <a:schemeClr val="accent1"/>
          </a:lnRef>
          <a:fillRef idx="0">
            <a:schemeClr val="accent1"/>
          </a:fillRef>
          <a:effectRef idx="0">
            <a:schemeClr val="accent1"/>
          </a:effectRef>
          <a:fontRef idx="minor">
            <a:schemeClr val="tx1"/>
          </a:fontRef>
        </p:style>
      </p:cxnSp>
      <p:sp>
        <p:nvSpPr>
          <p:cNvPr id="787" name="Oval 786">
            <a:extLst>
              <a:ext uri="{FF2B5EF4-FFF2-40B4-BE49-F238E27FC236}">
                <a16:creationId xmlns:a16="http://schemas.microsoft.com/office/drawing/2014/main" id="{DB54D437-E62E-404C-AA47-024C4AC273B7}"/>
              </a:ext>
            </a:extLst>
          </p:cNvPr>
          <p:cNvSpPr/>
          <p:nvPr/>
        </p:nvSpPr>
        <p:spPr bwMode="auto">
          <a:xfrm>
            <a:off x="3497023" y="2671875"/>
            <a:ext cx="548640" cy="54864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pic>
        <p:nvPicPr>
          <p:cNvPr id="791" name="Graphic 790">
            <a:extLst>
              <a:ext uri="{FF2B5EF4-FFF2-40B4-BE49-F238E27FC236}">
                <a16:creationId xmlns:a16="http://schemas.microsoft.com/office/drawing/2014/main" id="{7BDFF83E-615A-4EBD-8E35-85826424B74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94648" y="2900533"/>
            <a:ext cx="228421" cy="228421"/>
          </a:xfrm>
          <a:prstGeom prst="rect">
            <a:avLst/>
          </a:prstGeom>
        </p:spPr>
      </p:pic>
      <p:sp>
        <p:nvSpPr>
          <p:cNvPr id="794" name="Rounded Rectangle 21">
            <a:extLst>
              <a:ext uri="{FF2B5EF4-FFF2-40B4-BE49-F238E27FC236}">
                <a16:creationId xmlns:a16="http://schemas.microsoft.com/office/drawing/2014/main" id="{FFA667E4-A723-45F7-8983-05B4930C3EC5}"/>
              </a:ext>
            </a:extLst>
          </p:cNvPr>
          <p:cNvSpPr/>
          <p:nvPr/>
        </p:nvSpPr>
        <p:spPr bwMode="auto">
          <a:xfrm>
            <a:off x="3059935" y="4607189"/>
            <a:ext cx="1439157" cy="324083"/>
          </a:xfrm>
          <a:prstGeom prst="roundRect">
            <a:avLst>
              <a:gd name="adj" fmla="val 274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tream </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processing</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ngine</a:t>
            </a:r>
          </a:p>
        </p:txBody>
      </p:sp>
      <p:sp>
        <p:nvSpPr>
          <p:cNvPr id="795" name="Arrow: Pentagon 794">
            <a:extLst>
              <a:ext uri="{FF2B5EF4-FFF2-40B4-BE49-F238E27FC236}">
                <a16:creationId xmlns:a16="http://schemas.microsoft.com/office/drawing/2014/main" id="{9FD4BBA1-F42C-4BE3-A7C9-DEE388FF3B91}"/>
              </a:ext>
              <a:ext uri="{C183D7F6-B498-43B3-948B-1728B52AA6E4}">
                <adec:decorative xmlns:adec="http://schemas.microsoft.com/office/drawing/2017/decorative" val="1"/>
              </a:ext>
            </a:extLst>
          </p:cNvPr>
          <p:cNvSpPr/>
          <p:nvPr/>
        </p:nvSpPr>
        <p:spPr>
          <a:xfrm>
            <a:off x="411479" y="1342055"/>
            <a:ext cx="4077732" cy="320040"/>
          </a:xfrm>
          <a:prstGeom prst="homePlate">
            <a:avLst>
              <a:gd name="adj" fmla="val 35480"/>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Collect</a:t>
            </a:r>
          </a:p>
        </p:txBody>
      </p:sp>
      <p:sp>
        <p:nvSpPr>
          <p:cNvPr id="796" name="Rectangle 795">
            <a:extLst>
              <a:ext uri="{FF2B5EF4-FFF2-40B4-BE49-F238E27FC236}">
                <a16:creationId xmlns:a16="http://schemas.microsoft.com/office/drawing/2014/main" id="{31528BE6-3CA3-4DEF-9C0F-DD192F285842}"/>
              </a:ext>
              <a:ext uri="{C183D7F6-B498-43B3-948B-1728B52AA6E4}">
                <adec:decorative xmlns:adec="http://schemas.microsoft.com/office/drawing/2017/decorative" val="1"/>
              </a:ext>
            </a:extLst>
          </p:cNvPr>
          <p:cNvSpPr/>
          <p:nvPr/>
        </p:nvSpPr>
        <p:spPr>
          <a:xfrm>
            <a:off x="411479" y="5955277"/>
            <a:ext cx="3982516" cy="91440"/>
          </a:xfrm>
          <a:prstGeom prst="rect">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cxnSp>
        <p:nvCxnSpPr>
          <p:cNvPr id="799" name="Straight Arrow Connector 798">
            <a:extLst>
              <a:ext uri="{FF2B5EF4-FFF2-40B4-BE49-F238E27FC236}">
                <a16:creationId xmlns:a16="http://schemas.microsoft.com/office/drawing/2014/main" id="{35973497-41A7-4F5A-9FF5-8CA035628FDB}"/>
              </a:ext>
            </a:extLst>
          </p:cNvPr>
          <p:cNvCxnSpPr>
            <a:cxnSpLocks/>
          </p:cNvCxnSpPr>
          <p:nvPr/>
        </p:nvCxnSpPr>
        <p:spPr>
          <a:xfrm flipV="1">
            <a:off x="3771343" y="3276744"/>
            <a:ext cx="0" cy="285208"/>
          </a:xfrm>
          <a:prstGeom prst="straightConnector1">
            <a:avLst/>
          </a:prstGeom>
          <a:ln w="12700">
            <a:solidFill>
              <a:schemeClr val="accent3"/>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811" name="Group 810">
            <a:extLst>
              <a:ext uri="{FF2B5EF4-FFF2-40B4-BE49-F238E27FC236}">
                <a16:creationId xmlns:a16="http://schemas.microsoft.com/office/drawing/2014/main" id="{8040B788-44B3-4BFE-8635-6DE013EF5E00}"/>
              </a:ext>
            </a:extLst>
          </p:cNvPr>
          <p:cNvGrpSpPr/>
          <p:nvPr/>
        </p:nvGrpSpPr>
        <p:grpSpPr>
          <a:xfrm>
            <a:off x="2190205" y="1227755"/>
            <a:ext cx="548640" cy="548640"/>
            <a:chOff x="1427625" y="2265815"/>
            <a:chExt cx="844109" cy="844111"/>
          </a:xfrm>
        </p:grpSpPr>
        <p:sp>
          <p:nvSpPr>
            <p:cNvPr id="812" name="Oval 811">
              <a:extLst>
                <a:ext uri="{FF2B5EF4-FFF2-40B4-BE49-F238E27FC236}">
                  <a16:creationId xmlns:a16="http://schemas.microsoft.com/office/drawing/2014/main" id="{8777EFCC-0560-41C0-BA6D-0F6412B905FB}"/>
                </a:ext>
                <a:ext uri="{C183D7F6-B498-43B3-948B-1728B52AA6E4}">
                  <adec:decorative xmlns:adec="http://schemas.microsoft.com/office/drawing/2017/decorative" val="1"/>
                </a:ext>
              </a:extLst>
            </p:cNvPr>
            <p:cNvSpPr/>
            <p:nvPr/>
          </p:nvSpPr>
          <p:spPr bwMode="auto">
            <a:xfrm>
              <a:off x="1427625" y="2265815"/>
              <a:ext cx="844109" cy="844111"/>
            </a:xfrm>
            <a:prstGeom prst="ellipse">
              <a:avLst/>
            </a:prstGeom>
            <a:solidFill>
              <a:schemeClr val="accent1">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13" name="Group 812">
              <a:extLst>
                <a:ext uri="{FF2B5EF4-FFF2-40B4-BE49-F238E27FC236}">
                  <a16:creationId xmlns:a16="http://schemas.microsoft.com/office/drawing/2014/main" id="{312BDF88-1CC8-48A9-AB20-626439ACD342}"/>
                </a:ext>
              </a:extLst>
            </p:cNvPr>
            <p:cNvGrpSpPr/>
            <p:nvPr/>
          </p:nvGrpSpPr>
          <p:grpSpPr>
            <a:xfrm>
              <a:off x="1653837" y="2463440"/>
              <a:ext cx="425119" cy="425320"/>
              <a:chOff x="2809993" y="1208899"/>
              <a:chExt cx="365586" cy="365760"/>
            </a:xfrm>
          </p:grpSpPr>
          <p:sp>
            <p:nvSpPr>
              <p:cNvPr id="814" name="BackToWindow_E73F" title="Icon of two arrows pointing towards eachother">
                <a:extLst>
                  <a:ext uri="{FF2B5EF4-FFF2-40B4-BE49-F238E27FC236}">
                    <a16:creationId xmlns:a16="http://schemas.microsoft.com/office/drawing/2014/main" id="{E60A9221-6CFF-4767-A0D4-5B444C9EF9B9}"/>
                  </a:ext>
                </a:extLst>
              </p:cNvPr>
              <p:cNvSpPr>
                <a:spLocks noChangeAspect="1" noEditPoints="1"/>
              </p:cNvSpPr>
              <p:nvPr/>
            </p:nvSpPr>
            <p:spPr bwMode="auto">
              <a:xfrm>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15" name="BackToWindow_E73F" title="Icon of two arrows pointing towards eachother">
                <a:extLst>
                  <a:ext uri="{FF2B5EF4-FFF2-40B4-BE49-F238E27FC236}">
                    <a16:creationId xmlns:a16="http://schemas.microsoft.com/office/drawing/2014/main" id="{B0BAC901-9783-4A6C-A1C6-5B20335C7152}"/>
                  </a:ext>
                </a:extLst>
              </p:cNvPr>
              <p:cNvSpPr>
                <a:spLocks noChangeAspect="1" noEditPoints="1"/>
              </p:cNvSpPr>
              <p:nvPr/>
            </p:nvSpPr>
            <p:spPr bwMode="auto">
              <a:xfrm flipV="1">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sp>
        <p:nvSpPr>
          <p:cNvPr id="816" name="Rectangle 815">
            <a:extLst>
              <a:ext uri="{FF2B5EF4-FFF2-40B4-BE49-F238E27FC236}">
                <a16:creationId xmlns:a16="http://schemas.microsoft.com/office/drawing/2014/main" id="{B8703805-81F2-4234-A5F7-A8DC48325123}"/>
              </a:ext>
            </a:extLst>
          </p:cNvPr>
          <p:cNvSpPr/>
          <p:nvPr/>
        </p:nvSpPr>
        <p:spPr bwMode="auto">
          <a:xfrm>
            <a:off x="1736965" y="4039796"/>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817" name="Graphic 21">
            <a:extLst>
              <a:ext uri="{FF2B5EF4-FFF2-40B4-BE49-F238E27FC236}">
                <a16:creationId xmlns:a16="http://schemas.microsoft.com/office/drawing/2014/main" id="{D2DB0488-7374-4B91-B0D1-75549DE56611}"/>
              </a:ext>
            </a:extLst>
          </p:cNvPr>
          <p:cNvGrpSpPr/>
          <p:nvPr/>
        </p:nvGrpSpPr>
        <p:grpSpPr>
          <a:xfrm>
            <a:off x="1812867" y="3987981"/>
            <a:ext cx="299102" cy="304037"/>
            <a:chOff x="5614987" y="3432237"/>
            <a:chExt cx="946785" cy="962406"/>
          </a:xfrm>
          <a:solidFill>
            <a:schemeClr val="accent1">
              <a:lumMod val="75000"/>
            </a:schemeClr>
          </a:solidFill>
        </p:grpSpPr>
        <p:sp>
          <p:nvSpPr>
            <p:cNvPr id="818" name="Freeform: Shape 817">
              <a:extLst>
                <a:ext uri="{FF2B5EF4-FFF2-40B4-BE49-F238E27FC236}">
                  <a16:creationId xmlns:a16="http://schemas.microsoft.com/office/drawing/2014/main" id="{7A5EAC99-5F30-4EED-A360-7ABC878B67C2}"/>
                </a:ext>
              </a:extLst>
            </p:cNvPr>
            <p:cNvSpPr/>
            <p:nvPr/>
          </p:nvSpPr>
          <p:spPr>
            <a:xfrm>
              <a:off x="6288880" y="3432237"/>
              <a:ext cx="272891" cy="267747"/>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9" name="Freeform: Shape 818">
              <a:extLst>
                <a:ext uri="{FF2B5EF4-FFF2-40B4-BE49-F238E27FC236}">
                  <a16:creationId xmlns:a16="http://schemas.microsoft.com/office/drawing/2014/main" id="{52242C35-ABE9-4C4F-A83B-A3E1A01761C2}"/>
                </a:ext>
              </a:extLst>
            </p:cNvPr>
            <p:cNvSpPr/>
            <p:nvPr/>
          </p:nvSpPr>
          <p:spPr>
            <a:xfrm>
              <a:off x="5614987" y="4126991"/>
              <a:ext cx="272891" cy="267652"/>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 name="Freeform: Shape 819">
              <a:extLst>
                <a:ext uri="{FF2B5EF4-FFF2-40B4-BE49-F238E27FC236}">
                  <a16:creationId xmlns:a16="http://schemas.microsoft.com/office/drawing/2014/main" id="{C5DB2279-0FE6-4F75-8909-DD17C2A42912}"/>
                </a:ext>
              </a:extLst>
            </p:cNvPr>
            <p:cNvSpPr/>
            <p:nvPr/>
          </p:nvSpPr>
          <p:spPr>
            <a:xfrm>
              <a:off x="5690329" y="3495864"/>
              <a:ext cx="803338" cy="804195"/>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821" name="Connector: Elbow 820">
            <a:extLst>
              <a:ext uri="{FF2B5EF4-FFF2-40B4-BE49-F238E27FC236}">
                <a16:creationId xmlns:a16="http://schemas.microsoft.com/office/drawing/2014/main" id="{0F5FBFD8-130B-4883-A24B-B04A78D85E6A}"/>
              </a:ext>
            </a:extLst>
          </p:cNvPr>
          <p:cNvCxnSpPr>
            <a:cxnSpLocks/>
            <a:endCxn id="678" idx="3"/>
          </p:cNvCxnSpPr>
          <p:nvPr/>
        </p:nvCxnSpPr>
        <p:spPr>
          <a:xfrm>
            <a:off x="961613" y="2194832"/>
            <a:ext cx="1777233" cy="2704007"/>
          </a:xfrm>
          <a:prstGeom prst="bentConnector3">
            <a:avLst>
              <a:gd name="adj1" fmla="val 112863"/>
            </a:avLst>
          </a:prstGeom>
          <a:ln w="12700">
            <a:solidFill>
              <a:schemeClr val="accent3"/>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cxnSp>
        <p:nvCxnSpPr>
          <p:cNvPr id="822" name="Straight Arrow Connector 821">
            <a:extLst>
              <a:ext uri="{FF2B5EF4-FFF2-40B4-BE49-F238E27FC236}">
                <a16:creationId xmlns:a16="http://schemas.microsoft.com/office/drawing/2014/main" id="{F6EA7494-1E8A-4C70-B61A-FF6301EBC4B5}"/>
              </a:ext>
            </a:extLst>
          </p:cNvPr>
          <p:cNvCxnSpPr>
            <a:cxnSpLocks/>
          </p:cNvCxnSpPr>
          <p:nvPr/>
        </p:nvCxnSpPr>
        <p:spPr>
          <a:xfrm>
            <a:off x="2738845" y="4111386"/>
            <a:ext cx="459325" cy="0"/>
          </a:xfrm>
          <a:prstGeom prst="straightConnector1">
            <a:avLst/>
          </a:prstGeom>
          <a:ln w="12700">
            <a:solidFill>
              <a:schemeClr val="accent3"/>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823" name="Straight Arrow Connector 822">
            <a:extLst>
              <a:ext uri="{FF2B5EF4-FFF2-40B4-BE49-F238E27FC236}">
                <a16:creationId xmlns:a16="http://schemas.microsoft.com/office/drawing/2014/main" id="{98560304-2342-4E18-BA66-E08D54EA448D}"/>
              </a:ext>
            </a:extLst>
          </p:cNvPr>
          <p:cNvCxnSpPr>
            <a:cxnSpLocks/>
          </p:cNvCxnSpPr>
          <p:nvPr/>
        </p:nvCxnSpPr>
        <p:spPr>
          <a:xfrm flipH="1">
            <a:off x="2738845" y="3335772"/>
            <a:ext cx="223270" cy="0"/>
          </a:xfrm>
          <a:prstGeom prst="straightConnector1">
            <a:avLst/>
          </a:prstGeom>
          <a:ln w="12700">
            <a:solidFill>
              <a:schemeClr val="accent3"/>
            </a:solidFill>
            <a:prstDash val="solid"/>
            <a:miter lim="800000"/>
            <a:tailEnd type="none" w="med" len="sm"/>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E544D48-3541-504B-8F2B-81747BBB20F3}"/>
              </a:ext>
            </a:extLst>
          </p:cNvPr>
          <p:cNvPicPr>
            <a:picLocks noChangeAspect="1"/>
          </p:cNvPicPr>
          <p:nvPr/>
        </p:nvPicPr>
        <p:blipFill>
          <a:blip r:embed="rId7"/>
          <a:stretch>
            <a:fillRect/>
          </a:stretch>
        </p:blipFill>
        <p:spPr>
          <a:xfrm>
            <a:off x="3712269" y="2736833"/>
            <a:ext cx="137197" cy="137197"/>
          </a:xfrm>
          <a:prstGeom prst="rect">
            <a:avLst/>
          </a:prstGeom>
        </p:spPr>
      </p:pic>
      <p:pic>
        <p:nvPicPr>
          <p:cNvPr id="63" name="Picture 62">
            <a:extLst>
              <a:ext uri="{FF2B5EF4-FFF2-40B4-BE49-F238E27FC236}">
                <a16:creationId xmlns:a16="http://schemas.microsoft.com/office/drawing/2014/main" id="{D57EC17C-ABE2-E349-B161-23FFC22170B7}"/>
              </a:ext>
            </a:extLst>
          </p:cNvPr>
          <p:cNvPicPr>
            <a:picLocks noChangeAspect="1"/>
          </p:cNvPicPr>
          <p:nvPr/>
        </p:nvPicPr>
        <p:blipFill>
          <a:blip r:embed="rId7"/>
          <a:stretch>
            <a:fillRect/>
          </a:stretch>
        </p:blipFill>
        <p:spPr>
          <a:xfrm>
            <a:off x="3826958" y="2817845"/>
            <a:ext cx="137197" cy="137197"/>
          </a:xfrm>
          <a:prstGeom prst="rect">
            <a:avLst/>
          </a:prstGeom>
        </p:spPr>
      </p:pic>
      <p:sp>
        <p:nvSpPr>
          <p:cNvPr id="4" name="Rectangle 3">
            <a:extLst>
              <a:ext uri="{FF2B5EF4-FFF2-40B4-BE49-F238E27FC236}">
                <a16:creationId xmlns:a16="http://schemas.microsoft.com/office/drawing/2014/main" id="{836C5456-8590-40FE-B129-D6B41657FA71}"/>
              </a:ext>
            </a:extLst>
          </p:cNvPr>
          <p:cNvSpPr/>
          <p:nvPr/>
        </p:nvSpPr>
        <p:spPr bwMode="auto">
          <a:xfrm>
            <a:off x="3038448" y="2294016"/>
            <a:ext cx="1453888" cy="375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Real Time Processing engine</a:t>
            </a:r>
          </a:p>
        </p:txBody>
      </p:sp>
    </p:spTree>
    <p:extLst>
      <p:ext uri="{BB962C8B-B14F-4D97-AF65-F5344CB8AC3E}">
        <p14:creationId xmlns:p14="http://schemas.microsoft.com/office/powerpoint/2010/main" val="80310975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8" name="Freeform: Shape 867">
            <a:extLst>
              <a:ext uri="{FF2B5EF4-FFF2-40B4-BE49-F238E27FC236}">
                <a16:creationId xmlns:a16="http://schemas.microsoft.com/office/drawing/2014/main" id="{C037E4C1-FE31-40F7-BCC7-16045A4D7D9B}"/>
              </a:ext>
            </a:extLst>
          </p:cNvPr>
          <p:cNvSpPr/>
          <p:nvPr/>
        </p:nvSpPr>
        <p:spPr bwMode="auto">
          <a:xfrm>
            <a:off x="694230" y="2897173"/>
            <a:ext cx="992070" cy="2443324"/>
          </a:xfrm>
          <a:custGeom>
            <a:avLst/>
            <a:gdLst>
              <a:gd name="connsiteX0" fmla="*/ 568562 w 992070"/>
              <a:gd name="connsiteY0" fmla="*/ 0 h 2443324"/>
              <a:gd name="connsiteX1" fmla="*/ 676485 w 992070"/>
              <a:gd name="connsiteY1" fmla="*/ 0 h 2443324"/>
              <a:gd name="connsiteX2" fmla="*/ 676485 w 992070"/>
              <a:gd name="connsiteY2" fmla="*/ 387341 h 2443324"/>
              <a:gd name="connsiteX3" fmla="*/ 992070 w 992070"/>
              <a:gd name="connsiteY3" fmla="*/ 387341 h 2443324"/>
              <a:gd name="connsiteX4" fmla="*/ 992070 w 992070"/>
              <a:gd name="connsiteY4" fmla="*/ 497069 h 2443324"/>
              <a:gd name="connsiteX5" fmla="*/ 676485 w 992070"/>
              <a:gd name="connsiteY5" fmla="*/ 497069 h 2443324"/>
              <a:gd name="connsiteX6" fmla="*/ 676485 w 992070"/>
              <a:gd name="connsiteY6" fmla="*/ 1165808 h 2443324"/>
              <a:gd name="connsiteX7" fmla="*/ 992070 w 992070"/>
              <a:gd name="connsiteY7" fmla="*/ 1165808 h 2443324"/>
              <a:gd name="connsiteX8" fmla="*/ 992070 w 992070"/>
              <a:gd name="connsiteY8" fmla="*/ 1275536 h 2443324"/>
              <a:gd name="connsiteX9" fmla="*/ 676485 w 992070"/>
              <a:gd name="connsiteY9" fmla="*/ 1275536 h 2443324"/>
              <a:gd name="connsiteX10" fmla="*/ 676485 w 992070"/>
              <a:gd name="connsiteY10" fmla="*/ 1944275 h 2443324"/>
              <a:gd name="connsiteX11" fmla="*/ 992070 w 992070"/>
              <a:gd name="connsiteY11" fmla="*/ 1944275 h 2443324"/>
              <a:gd name="connsiteX12" fmla="*/ 992070 w 992070"/>
              <a:gd name="connsiteY12" fmla="*/ 2054003 h 2443324"/>
              <a:gd name="connsiteX13" fmla="*/ 676485 w 992070"/>
              <a:gd name="connsiteY13" fmla="*/ 2054003 h 2443324"/>
              <a:gd name="connsiteX14" fmla="*/ 676485 w 992070"/>
              <a:gd name="connsiteY14" fmla="*/ 2443322 h 2443324"/>
              <a:gd name="connsiteX15" fmla="*/ 672478 w 992070"/>
              <a:gd name="connsiteY15" fmla="*/ 2443322 h 2443324"/>
              <a:gd name="connsiteX16" fmla="*/ 672478 w 992070"/>
              <a:gd name="connsiteY16" fmla="*/ 2443324 h 2443324"/>
              <a:gd name="connsiteX17" fmla="*/ 1 w 992070"/>
              <a:gd name="connsiteY17" fmla="*/ 2443324 h 2443324"/>
              <a:gd name="connsiteX18" fmla="*/ 1 w 992070"/>
              <a:gd name="connsiteY18" fmla="*/ 2335401 h 2443324"/>
              <a:gd name="connsiteX19" fmla="*/ 568562 w 992070"/>
              <a:gd name="connsiteY19" fmla="*/ 2335401 h 2443324"/>
              <a:gd name="connsiteX20" fmla="*/ 568562 w 992070"/>
              <a:gd name="connsiteY20" fmla="*/ 1664857 h 2443324"/>
              <a:gd name="connsiteX21" fmla="*/ 0 w 992070"/>
              <a:gd name="connsiteY21" fmla="*/ 1664857 h 2443324"/>
              <a:gd name="connsiteX22" fmla="*/ 0 w 992070"/>
              <a:gd name="connsiteY22" fmla="*/ 1556934 h 2443324"/>
              <a:gd name="connsiteX23" fmla="*/ 568562 w 992070"/>
              <a:gd name="connsiteY23" fmla="*/ 1556934 h 2443324"/>
              <a:gd name="connsiteX24" fmla="*/ 568562 w 992070"/>
              <a:gd name="connsiteY24" fmla="*/ 886392 h 2443324"/>
              <a:gd name="connsiteX25" fmla="*/ 2361 w 992070"/>
              <a:gd name="connsiteY25" fmla="*/ 886392 h 2443324"/>
              <a:gd name="connsiteX26" fmla="*/ 2361 w 992070"/>
              <a:gd name="connsiteY26" fmla="*/ 778469 h 2443324"/>
              <a:gd name="connsiteX27" fmla="*/ 568562 w 992070"/>
              <a:gd name="connsiteY27" fmla="*/ 778469 h 2443324"/>
              <a:gd name="connsiteX28" fmla="*/ 568562 w 992070"/>
              <a:gd name="connsiteY28" fmla="*/ 107924 h 2443324"/>
              <a:gd name="connsiteX29" fmla="*/ 0 w 992070"/>
              <a:gd name="connsiteY29" fmla="*/ 107924 h 2443324"/>
              <a:gd name="connsiteX30" fmla="*/ 0 w 992070"/>
              <a:gd name="connsiteY30" fmla="*/ 1 h 2443324"/>
              <a:gd name="connsiteX31" fmla="*/ 568562 w 992070"/>
              <a:gd name="connsiteY31" fmla="*/ 1 h 244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2070" h="2443324">
                <a:moveTo>
                  <a:pt x="568562" y="0"/>
                </a:moveTo>
                <a:lnTo>
                  <a:pt x="676485" y="0"/>
                </a:lnTo>
                <a:lnTo>
                  <a:pt x="676485" y="387341"/>
                </a:lnTo>
                <a:lnTo>
                  <a:pt x="992070" y="387341"/>
                </a:lnTo>
                <a:lnTo>
                  <a:pt x="992070" y="497069"/>
                </a:lnTo>
                <a:lnTo>
                  <a:pt x="676485" y="497069"/>
                </a:lnTo>
                <a:lnTo>
                  <a:pt x="676485" y="1165808"/>
                </a:lnTo>
                <a:lnTo>
                  <a:pt x="992070" y="1165808"/>
                </a:lnTo>
                <a:lnTo>
                  <a:pt x="992070" y="1275536"/>
                </a:lnTo>
                <a:lnTo>
                  <a:pt x="676485" y="1275536"/>
                </a:lnTo>
                <a:lnTo>
                  <a:pt x="676485" y="1944275"/>
                </a:lnTo>
                <a:lnTo>
                  <a:pt x="992070" y="1944275"/>
                </a:lnTo>
                <a:lnTo>
                  <a:pt x="992070" y="2054003"/>
                </a:lnTo>
                <a:lnTo>
                  <a:pt x="676485" y="2054003"/>
                </a:lnTo>
                <a:lnTo>
                  <a:pt x="676485" y="2443322"/>
                </a:lnTo>
                <a:lnTo>
                  <a:pt x="672478" y="2443322"/>
                </a:lnTo>
                <a:lnTo>
                  <a:pt x="672478" y="2443324"/>
                </a:lnTo>
                <a:lnTo>
                  <a:pt x="1" y="2443324"/>
                </a:lnTo>
                <a:lnTo>
                  <a:pt x="1" y="2335401"/>
                </a:lnTo>
                <a:lnTo>
                  <a:pt x="568562" y="2335401"/>
                </a:lnTo>
                <a:lnTo>
                  <a:pt x="568562" y="1664857"/>
                </a:lnTo>
                <a:lnTo>
                  <a:pt x="0" y="1664857"/>
                </a:lnTo>
                <a:lnTo>
                  <a:pt x="0" y="1556934"/>
                </a:lnTo>
                <a:lnTo>
                  <a:pt x="568562" y="1556934"/>
                </a:lnTo>
                <a:lnTo>
                  <a:pt x="568562" y="886392"/>
                </a:lnTo>
                <a:lnTo>
                  <a:pt x="2361" y="886392"/>
                </a:lnTo>
                <a:lnTo>
                  <a:pt x="2361" y="778469"/>
                </a:lnTo>
                <a:lnTo>
                  <a:pt x="568562" y="778469"/>
                </a:lnTo>
                <a:lnTo>
                  <a:pt x="568562" y="107924"/>
                </a:lnTo>
                <a:lnTo>
                  <a:pt x="0" y="107924"/>
                </a:lnTo>
                <a:lnTo>
                  <a:pt x="0" y="1"/>
                </a:lnTo>
                <a:lnTo>
                  <a:pt x="568562" y="1"/>
                </a:lnTo>
                <a:close/>
              </a:path>
            </a:pathLst>
          </a:custGeom>
          <a:solidFill>
            <a:schemeClr val="bg1"/>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869" name="Rectangle 868">
            <a:extLst>
              <a:ext uri="{FF2B5EF4-FFF2-40B4-BE49-F238E27FC236}">
                <a16:creationId xmlns:a16="http://schemas.microsoft.com/office/drawing/2014/main" id="{347E0E01-B266-4A2B-969E-B5E67FDA065C}"/>
              </a:ext>
            </a:extLst>
          </p:cNvPr>
          <p:cNvSpPr/>
          <p:nvPr/>
        </p:nvSpPr>
        <p:spPr bwMode="auto">
          <a:xfrm>
            <a:off x="1663901" y="3240620"/>
            <a:ext cx="260839" cy="17626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871" name="network" title="Icon of a device or computer network">
            <a:extLst>
              <a:ext uri="{FF2B5EF4-FFF2-40B4-BE49-F238E27FC236}">
                <a16:creationId xmlns:a16="http://schemas.microsoft.com/office/drawing/2014/main" id="{7D5EA9EE-A6AB-4FE0-975F-8C9CD5AFD8AB}"/>
              </a:ext>
            </a:extLst>
          </p:cNvPr>
          <p:cNvSpPr>
            <a:spLocks noChangeAspect="1" noEditPoints="1"/>
          </p:cNvSpPr>
          <p:nvPr/>
        </p:nvSpPr>
        <p:spPr bwMode="auto">
          <a:xfrm>
            <a:off x="544196" y="2067280"/>
            <a:ext cx="267144" cy="278158"/>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2" name="Oval 871">
            <a:extLst>
              <a:ext uri="{FF2B5EF4-FFF2-40B4-BE49-F238E27FC236}">
                <a16:creationId xmlns:a16="http://schemas.microsoft.com/office/drawing/2014/main" id="{A7C7C77F-48E6-428C-9C10-8C9C59ECAD22}"/>
              </a:ext>
            </a:extLst>
          </p:cNvPr>
          <p:cNvSpPr/>
          <p:nvPr/>
        </p:nvSpPr>
        <p:spPr bwMode="auto">
          <a:xfrm>
            <a:off x="412973" y="2676814"/>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73" name="Truck" title="Icon of a truck with a storage trailer">
            <a:extLst>
              <a:ext uri="{FF2B5EF4-FFF2-40B4-BE49-F238E27FC236}">
                <a16:creationId xmlns:a16="http://schemas.microsoft.com/office/drawing/2014/main" id="{82A5EFF4-7688-42A1-B76E-88C0B3209596}"/>
              </a:ext>
            </a:extLst>
          </p:cNvPr>
          <p:cNvSpPr>
            <a:spLocks noChangeAspect="1" noEditPoints="1"/>
          </p:cNvSpPr>
          <p:nvPr/>
        </p:nvSpPr>
        <p:spPr bwMode="auto">
          <a:xfrm>
            <a:off x="497126" y="2861663"/>
            <a:ext cx="380335" cy="17407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74" name="Oval 873">
            <a:extLst>
              <a:ext uri="{FF2B5EF4-FFF2-40B4-BE49-F238E27FC236}">
                <a16:creationId xmlns:a16="http://schemas.microsoft.com/office/drawing/2014/main" id="{3421B1BB-0A6E-4B23-87B1-B25C0FD66C5C}"/>
              </a:ext>
            </a:extLst>
          </p:cNvPr>
          <p:cNvSpPr/>
          <p:nvPr/>
        </p:nvSpPr>
        <p:spPr bwMode="auto">
          <a:xfrm>
            <a:off x="412973" y="3455281"/>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875" name="building_7" title="Icon of a building with a curved section protruding from it">
            <a:extLst>
              <a:ext uri="{FF2B5EF4-FFF2-40B4-BE49-F238E27FC236}">
                <a16:creationId xmlns:a16="http://schemas.microsoft.com/office/drawing/2014/main" id="{6C4C6BF1-60C0-4FDF-9350-4FDD870D5F78}"/>
              </a:ext>
            </a:extLst>
          </p:cNvPr>
          <p:cNvSpPr>
            <a:spLocks noChangeAspect="1" noEditPoints="1"/>
          </p:cNvSpPr>
          <p:nvPr/>
        </p:nvSpPr>
        <p:spPr bwMode="auto">
          <a:xfrm>
            <a:off x="555949" y="3575761"/>
            <a:ext cx="262689" cy="29744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6" name="Oval 875">
            <a:extLst>
              <a:ext uri="{FF2B5EF4-FFF2-40B4-BE49-F238E27FC236}">
                <a16:creationId xmlns:a16="http://schemas.microsoft.com/office/drawing/2014/main" id="{67A3A89F-3F25-41B3-BC80-E056A23544D6}"/>
              </a:ext>
            </a:extLst>
          </p:cNvPr>
          <p:cNvSpPr/>
          <p:nvPr/>
        </p:nvSpPr>
        <p:spPr bwMode="auto">
          <a:xfrm>
            <a:off x="412973" y="4233748"/>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877" name="building_11" title="Icon of a school house">
            <a:extLst>
              <a:ext uri="{FF2B5EF4-FFF2-40B4-BE49-F238E27FC236}">
                <a16:creationId xmlns:a16="http://schemas.microsoft.com/office/drawing/2014/main" id="{F15EE9E0-74C2-4BCB-B532-F2737C12621F}"/>
              </a:ext>
            </a:extLst>
          </p:cNvPr>
          <p:cNvSpPr>
            <a:spLocks noChangeAspect="1" noEditPoints="1"/>
          </p:cNvSpPr>
          <p:nvPr/>
        </p:nvSpPr>
        <p:spPr bwMode="auto">
          <a:xfrm>
            <a:off x="491865" y="4378542"/>
            <a:ext cx="371807" cy="200145"/>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8" name="Oval 877">
            <a:extLst>
              <a:ext uri="{FF2B5EF4-FFF2-40B4-BE49-F238E27FC236}">
                <a16:creationId xmlns:a16="http://schemas.microsoft.com/office/drawing/2014/main" id="{FB344D19-E5C7-4047-9D8D-D5084E34F703}"/>
              </a:ext>
            </a:extLst>
          </p:cNvPr>
          <p:cNvSpPr/>
          <p:nvPr/>
        </p:nvSpPr>
        <p:spPr bwMode="auto">
          <a:xfrm>
            <a:off x="412973" y="5012215"/>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79" name="factory_3" title="Icon of a factory">
            <a:extLst>
              <a:ext uri="{FF2B5EF4-FFF2-40B4-BE49-F238E27FC236}">
                <a16:creationId xmlns:a16="http://schemas.microsoft.com/office/drawing/2014/main" id="{D5AD669F-371D-4FAC-8CF4-FC54682764AC}"/>
              </a:ext>
            </a:extLst>
          </p:cNvPr>
          <p:cNvSpPr>
            <a:spLocks noChangeAspect="1" noEditPoints="1"/>
          </p:cNvSpPr>
          <p:nvPr/>
        </p:nvSpPr>
        <p:spPr bwMode="auto">
          <a:xfrm>
            <a:off x="523698" y="5164920"/>
            <a:ext cx="327190" cy="2026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03" name="Title 1">
            <a:extLst>
              <a:ext uri="{FF2B5EF4-FFF2-40B4-BE49-F238E27FC236}">
                <a16:creationId xmlns:a16="http://schemas.microsoft.com/office/drawing/2014/main" id="{B5FE7631-AB65-4401-8750-D79BB0EA9DC5}"/>
              </a:ext>
            </a:extLst>
          </p:cNvPr>
          <p:cNvSpPr txBox="1">
            <a:spLocks/>
          </p:cNvSpPr>
          <p:nvPr/>
        </p:nvSpPr>
        <p:spPr>
          <a:xfrm>
            <a:off x="569409" y="194800"/>
            <a:ext cx="11049000" cy="492443"/>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ED7D31"/>
                </a:solidFill>
                <a:effectLst/>
                <a:uLnTx/>
                <a:uFillTx/>
                <a:latin typeface="Calibri Light" panose="020F0302020204030204"/>
                <a:ea typeface="+mn-ea"/>
                <a:cs typeface="Segoe UI" pitchFamily="34" charset="0"/>
              </a:rPr>
              <a:t>Azure Time Series Insights pay as you go high level architecture</a:t>
            </a:r>
          </a:p>
        </p:txBody>
      </p:sp>
      <p:sp>
        <p:nvSpPr>
          <p:cNvPr id="667" name="Rectangle 666">
            <a:extLst>
              <a:ext uri="{FF2B5EF4-FFF2-40B4-BE49-F238E27FC236}">
                <a16:creationId xmlns:a16="http://schemas.microsoft.com/office/drawing/2014/main" id="{34D27DA8-3170-43DB-B275-F8499A6EC8AF}"/>
              </a:ext>
            </a:extLst>
          </p:cNvPr>
          <p:cNvSpPr/>
          <p:nvPr/>
        </p:nvSpPr>
        <p:spPr bwMode="auto">
          <a:xfrm>
            <a:off x="5703707"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68" name="Arrow: Chevron 667">
            <a:extLst>
              <a:ext uri="{FF2B5EF4-FFF2-40B4-BE49-F238E27FC236}">
                <a16:creationId xmlns:a16="http://schemas.microsoft.com/office/drawing/2014/main" id="{AF603719-CD5A-4E9B-A1A8-B90EFFB57817}"/>
              </a:ext>
              <a:ext uri="{C183D7F6-B498-43B3-948B-1728B52AA6E4}">
                <adec:decorative xmlns:adec="http://schemas.microsoft.com/office/drawing/2017/decorative" val="1"/>
              </a:ext>
            </a:extLst>
          </p:cNvPr>
          <p:cNvSpPr/>
          <p:nvPr/>
        </p:nvSpPr>
        <p:spPr>
          <a:xfrm>
            <a:off x="4414712" y="1342055"/>
            <a:ext cx="2225997" cy="320040"/>
          </a:xfrm>
          <a:prstGeom prst="chevron">
            <a:avLst>
              <a:gd name="adj" fmla="val 35474"/>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Store</a:t>
            </a:r>
          </a:p>
        </p:txBody>
      </p:sp>
      <p:sp>
        <p:nvSpPr>
          <p:cNvPr id="670" name="Rectangle 669">
            <a:extLst>
              <a:ext uri="{FF2B5EF4-FFF2-40B4-BE49-F238E27FC236}">
                <a16:creationId xmlns:a16="http://schemas.microsoft.com/office/drawing/2014/main" id="{9E6A2BF0-76A9-4944-B1C4-3625D2D8025A}"/>
              </a:ext>
              <a:ext uri="{C183D7F6-B498-43B3-948B-1728B52AA6E4}">
                <adec:decorative xmlns:adec="http://schemas.microsoft.com/office/drawing/2017/decorative" val="1"/>
              </a:ext>
            </a:extLst>
          </p:cNvPr>
          <p:cNvSpPr/>
          <p:nvPr/>
        </p:nvSpPr>
        <p:spPr>
          <a:xfrm>
            <a:off x="4411675" y="5955277"/>
            <a:ext cx="2152728" cy="91440"/>
          </a:xfrm>
          <a:prstGeom prst="rect">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672" name="Rectangle 671">
            <a:extLst>
              <a:ext uri="{FF2B5EF4-FFF2-40B4-BE49-F238E27FC236}">
                <a16:creationId xmlns:a16="http://schemas.microsoft.com/office/drawing/2014/main" id="{083E2185-0D94-476E-9B24-2100A1F968BF}"/>
              </a:ext>
            </a:extLst>
          </p:cNvPr>
          <p:cNvSpPr/>
          <p:nvPr/>
        </p:nvSpPr>
        <p:spPr bwMode="auto">
          <a:xfrm>
            <a:off x="5703707" y="364381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73" name="Rectangle 672">
            <a:extLst>
              <a:ext uri="{FF2B5EF4-FFF2-40B4-BE49-F238E27FC236}">
                <a16:creationId xmlns:a16="http://schemas.microsoft.com/office/drawing/2014/main" id="{C4436A46-FCA1-4CEF-A775-A9935F55D049}"/>
              </a:ext>
            </a:extLst>
          </p:cNvPr>
          <p:cNvSpPr/>
          <p:nvPr/>
        </p:nvSpPr>
        <p:spPr bwMode="auto">
          <a:xfrm>
            <a:off x="3687390" y="2493902"/>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76" name="Rectangle 675">
            <a:extLst>
              <a:ext uri="{FF2B5EF4-FFF2-40B4-BE49-F238E27FC236}">
                <a16:creationId xmlns:a16="http://schemas.microsoft.com/office/drawing/2014/main" id="{B427DA0D-7135-48BF-B4EC-D08661AF05CE}"/>
              </a:ext>
            </a:extLst>
          </p:cNvPr>
          <p:cNvSpPr/>
          <p:nvPr/>
        </p:nvSpPr>
        <p:spPr bwMode="auto">
          <a:xfrm>
            <a:off x="5170163"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79" name="Rectangle 678">
            <a:extLst>
              <a:ext uri="{FF2B5EF4-FFF2-40B4-BE49-F238E27FC236}">
                <a16:creationId xmlns:a16="http://schemas.microsoft.com/office/drawing/2014/main" id="{548911D9-B6A3-4B9E-A77B-C0741915AEA9}"/>
              </a:ext>
            </a:extLst>
          </p:cNvPr>
          <p:cNvSpPr/>
          <p:nvPr/>
        </p:nvSpPr>
        <p:spPr bwMode="auto">
          <a:xfrm>
            <a:off x="5170163" y="364381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84" name="Rectangle 683">
            <a:extLst>
              <a:ext uri="{FF2B5EF4-FFF2-40B4-BE49-F238E27FC236}">
                <a16:creationId xmlns:a16="http://schemas.microsoft.com/office/drawing/2014/main" id="{46A97597-4E0C-4073-B15E-FA4F5718F6D7}"/>
              </a:ext>
            </a:extLst>
          </p:cNvPr>
          <p:cNvSpPr/>
          <p:nvPr/>
        </p:nvSpPr>
        <p:spPr bwMode="auto">
          <a:xfrm>
            <a:off x="2058364" y="462070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Digital Twins</a:t>
            </a:r>
          </a:p>
        </p:txBody>
      </p:sp>
      <p:sp>
        <p:nvSpPr>
          <p:cNvPr id="685" name="Rectangle 684">
            <a:extLst>
              <a:ext uri="{FF2B5EF4-FFF2-40B4-BE49-F238E27FC236}">
                <a16:creationId xmlns:a16="http://schemas.microsoft.com/office/drawing/2014/main" id="{661D1BD7-00A1-4066-92FF-FF0D2F2A055C}"/>
              </a:ext>
            </a:extLst>
          </p:cNvPr>
          <p:cNvSpPr/>
          <p:nvPr/>
        </p:nvSpPr>
        <p:spPr bwMode="auto">
          <a:xfrm>
            <a:off x="2058364" y="386186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IO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sp>
        <p:nvSpPr>
          <p:cNvPr id="686" name="Rectangle 685">
            <a:extLst>
              <a:ext uri="{FF2B5EF4-FFF2-40B4-BE49-F238E27FC236}">
                <a16:creationId xmlns:a16="http://schemas.microsoft.com/office/drawing/2014/main" id="{1CBED79F-6213-4C56-9C3F-E85C2D87CF0C}"/>
              </a:ext>
            </a:extLst>
          </p:cNvPr>
          <p:cNvSpPr/>
          <p:nvPr/>
        </p:nvSpPr>
        <p:spPr bwMode="auto">
          <a:xfrm>
            <a:off x="2058364" y="3062268"/>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ven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grpSp>
        <p:nvGrpSpPr>
          <p:cNvPr id="687" name="Graphic 21">
            <a:extLst>
              <a:ext uri="{FF2B5EF4-FFF2-40B4-BE49-F238E27FC236}">
                <a16:creationId xmlns:a16="http://schemas.microsoft.com/office/drawing/2014/main" id="{BE30A7D9-0544-4913-A767-66E978B77064}"/>
              </a:ext>
            </a:extLst>
          </p:cNvPr>
          <p:cNvGrpSpPr/>
          <p:nvPr/>
        </p:nvGrpSpPr>
        <p:grpSpPr>
          <a:xfrm>
            <a:off x="1812867" y="3173105"/>
            <a:ext cx="265478" cy="330601"/>
            <a:chOff x="5653616" y="2462212"/>
            <a:chExt cx="924390" cy="951356"/>
          </a:xfrm>
          <a:solidFill>
            <a:schemeClr val="accent1">
              <a:lumMod val="75000"/>
            </a:schemeClr>
          </a:solidFill>
        </p:grpSpPr>
        <p:sp>
          <p:nvSpPr>
            <p:cNvPr id="688" name="Freeform: Shape 687">
              <a:extLst>
                <a:ext uri="{FF2B5EF4-FFF2-40B4-BE49-F238E27FC236}">
                  <a16:creationId xmlns:a16="http://schemas.microsoft.com/office/drawing/2014/main" id="{2CD420B8-5028-4309-B01D-1AFCA66C6BFE}"/>
                </a:ext>
              </a:extLst>
            </p:cNvPr>
            <p:cNvSpPr/>
            <p:nvPr/>
          </p:nvSpPr>
          <p:spPr>
            <a:xfrm>
              <a:off x="5653616" y="2462212"/>
              <a:ext cx="924348" cy="220122"/>
            </a:xfrm>
            <a:custGeom>
              <a:avLst/>
              <a:gdLst>
                <a:gd name="connsiteX0" fmla="*/ 2709 w 924348"/>
                <a:gd name="connsiteY0" fmla="*/ 0 h 220122"/>
                <a:gd name="connsiteX1" fmla="*/ 2709 w 924348"/>
                <a:gd name="connsiteY1" fmla="*/ 220123 h 220122"/>
                <a:gd name="connsiteX2" fmla="*/ 136440 w 924348"/>
                <a:gd name="connsiteY2" fmla="*/ 220123 h 220122"/>
                <a:gd name="connsiteX3" fmla="*/ 136440 w 924348"/>
                <a:gd name="connsiteY3" fmla="*/ 124016 h 220122"/>
                <a:gd name="connsiteX4" fmla="*/ 800333 w 924348"/>
                <a:gd name="connsiteY4" fmla="*/ 124016 h 220122"/>
                <a:gd name="connsiteX5" fmla="*/ 800333 w 924348"/>
                <a:gd name="connsiteY5" fmla="*/ 220123 h 220122"/>
                <a:gd name="connsiteX6" fmla="*/ 924348 w 924348"/>
                <a:gd name="connsiteY6" fmla="*/ 220123 h 220122"/>
                <a:gd name="connsiteX7" fmla="*/ 924348 w 924348"/>
                <a:gd name="connsiteY7" fmla="*/ 0 h 220122"/>
                <a:gd name="connsiteX8" fmla="*/ 2709 w 924348"/>
                <a:gd name="connsiteY8" fmla="*/ 0 h 2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122">
                  <a:moveTo>
                    <a:pt x="2709" y="0"/>
                  </a:moveTo>
                  <a:cubicBezTo>
                    <a:pt x="2709" y="0"/>
                    <a:pt x="-3387" y="220123"/>
                    <a:pt x="2709" y="220123"/>
                  </a:cubicBezTo>
                  <a:cubicBezTo>
                    <a:pt x="8805" y="220123"/>
                    <a:pt x="136440" y="220123"/>
                    <a:pt x="136440" y="220123"/>
                  </a:cubicBezTo>
                  <a:lnTo>
                    <a:pt x="136440" y="124016"/>
                  </a:lnTo>
                  <a:lnTo>
                    <a:pt x="800333" y="124016"/>
                  </a:lnTo>
                  <a:lnTo>
                    <a:pt x="800333" y="220123"/>
                  </a:lnTo>
                  <a:lnTo>
                    <a:pt x="924348" y="220123"/>
                  </a:lnTo>
                  <a:lnTo>
                    <a:pt x="924348" y="0"/>
                  </a:lnTo>
                  <a:lnTo>
                    <a:pt x="2709"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9" name="Freeform: Shape 688">
              <a:extLst>
                <a:ext uri="{FF2B5EF4-FFF2-40B4-BE49-F238E27FC236}">
                  <a16:creationId xmlns:a16="http://schemas.microsoft.com/office/drawing/2014/main" id="{5B825B91-D0F2-4219-9983-52A45318CA78}"/>
                </a:ext>
              </a:extLst>
            </p:cNvPr>
            <p:cNvSpPr/>
            <p:nvPr/>
          </p:nvSpPr>
          <p:spPr>
            <a:xfrm>
              <a:off x="5653658" y="3193351"/>
              <a:ext cx="924348" cy="220217"/>
            </a:xfrm>
            <a:custGeom>
              <a:avLst/>
              <a:gdLst>
                <a:gd name="connsiteX0" fmla="*/ 921639 w 924348"/>
                <a:gd name="connsiteY0" fmla="*/ 220123 h 220217"/>
                <a:gd name="connsiteX1" fmla="*/ 921639 w 924348"/>
                <a:gd name="connsiteY1" fmla="*/ 0 h 220217"/>
                <a:gd name="connsiteX2" fmla="*/ 787908 w 924348"/>
                <a:gd name="connsiteY2" fmla="*/ 0 h 220217"/>
                <a:gd name="connsiteX3" fmla="*/ 787908 w 924348"/>
                <a:gd name="connsiteY3" fmla="*/ 96107 h 220217"/>
                <a:gd name="connsiteX4" fmla="*/ 124016 w 924348"/>
                <a:gd name="connsiteY4" fmla="*/ 96107 h 220217"/>
                <a:gd name="connsiteX5" fmla="*/ 124016 w 924348"/>
                <a:gd name="connsiteY5" fmla="*/ 95 h 220217"/>
                <a:gd name="connsiteX6" fmla="*/ 0 w 924348"/>
                <a:gd name="connsiteY6" fmla="*/ 95 h 220217"/>
                <a:gd name="connsiteX7" fmla="*/ 0 w 924348"/>
                <a:gd name="connsiteY7" fmla="*/ 220218 h 220217"/>
                <a:gd name="connsiteX8" fmla="*/ 921639 w 924348"/>
                <a:gd name="connsiteY8" fmla="*/ 220218 h 22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217">
                  <a:moveTo>
                    <a:pt x="921639" y="220123"/>
                  </a:moveTo>
                  <a:cubicBezTo>
                    <a:pt x="921639" y="220123"/>
                    <a:pt x="927735" y="0"/>
                    <a:pt x="921639" y="0"/>
                  </a:cubicBezTo>
                  <a:cubicBezTo>
                    <a:pt x="915543" y="0"/>
                    <a:pt x="787908" y="0"/>
                    <a:pt x="787908" y="0"/>
                  </a:cubicBezTo>
                  <a:lnTo>
                    <a:pt x="787908" y="96107"/>
                  </a:lnTo>
                  <a:lnTo>
                    <a:pt x="124016" y="96107"/>
                  </a:lnTo>
                  <a:lnTo>
                    <a:pt x="124016" y="95"/>
                  </a:lnTo>
                  <a:lnTo>
                    <a:pt x="0" y="95"/>
                  </a:lnTo>
                  <a:lnTo>
                    <a:pt x="0" y="220218"/>
                  </a:lnTo>
                  <a:lnTo>
                    <a:pt x="921639" y="220218"/>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0" name="Freeform: Shape 689">
              <a:extLst>
                <a:ext uri="{FF2B5EF4-FFF2-40B4-BE49-F238E27FC236}">
                  <a16:creationId xmlns:a16="http://schemas.microsoft.com/office/drawing/2014/main" id="{D2FA5D8C-6EE9-4B80-934F-9996F2DB956B}"/>
                </a:ext>
              </a:extLst>
            </p:cNvPr>
            <p:cNvSpPr/>
            <p:nvPr/>
          </p:nvSpPr>
          <p:spPr>
            <a:xfrm>
              <a:off x="5838729" y="268233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1" name="Freeform: Shape 690">
              <a:extLst>
                <a:ext uri="{FF2B5EF4-FFF2-40B4-BE49-F238E27FC236}">
                  <a16:creationId xmlns:a16="http://schemas.microsoft.com/office/drawing/2014/main" id="{4F2C59E3-1AA6-4209-8FCB-862222FFF764}"/>
                </a:ext>
              </a:extLst>
            </p:cNvPr>
            <p:cNvSpPr/>
            <p:nvPr/>
          </p:nvSpPr>
          <p:spPr>
            <a:xfrm>
              <a:off x="5838729"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2" name="Freeform: Shape 691">
              <a:extLst>
                <a:ext uri="{FF2B5EF4-FFF2-40B4-BE49-F238E27FC236}">
                  <a16:creationId xmlns:a16="http://schemas.microsoft.com/office/drawing/2014/main" id="{FEE5E908-96EB-48E1-85FC-547044483B14}"/>
                </a:ext>
              </a:extLst>
            </p:cNvPr>
            <p:cNvSpPr/>
            <p:nvPr/>
          </p:nvSpPr>
          <p:spPr>
            <a:xfrm>
              <a:off x="5838729" y="3065335"/>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3" name="Freeform: Shape 692">
              <a:extLst>
                <a:ext uri="{FF2B5EF4-FFF2-40B4-BE49-F238E27FC236}">
                  <a16:creationId xmlns:a16="http://schemas.microsoft.com/office/drawing/2014/main" id="{47D6D932-C907-4545-AF81-42E7F523AD85}"/>
                </a:ext>
              </a:extLst>
            </p:cNvPr>
            <p:cNvSpPr/>
            <p:nvPr/>
          </p:nvSpPr>
          <p:spPr>
            <a:xfrm>
              <a:off x="6063709" y="277348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4" name="Freeform: Shape 693">
              <a:extLst>
                <a:ext uri="{FF2B5EF4-FFF2-40B4-BE49-F238E27FC236}">
                  <a16:creationId xmlns:a16="http://schemas.microsoft.com/office/drawing/2014/main" id="{F6D78DCD-A5D3-4D8B-97E4-630BA2D33C39}"/>
                </a:ext>
              </a:extLst>
            </p:cNvPr>
            <p:cNvSpPr/>
            <p:nvPr/>
          </p:nvSpPr>
          <p:spPr>
            <a:xfrm>
              <a:off x="6063709" y="296808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5" name="Freeform: Shape 694">
              <a:extLst>
                <a:ext uri="{FF2B5EF4-FFF2-40B4-BE49-F238E27FC236}">
                  <a16:creationId xmlns:a16="http://schemas.microsoft.com/office/drawing/2014/main" id="{DECE1554-F88A-44E9-914B-4800919833C6}"/>
                </a:ext>
              </a:extLst>
            </p:cNvPr>
            <p:cNvSpPr/>
            <p:nvPr/>
          </p:nvSpPr>
          <p:spPr>
            <a:xfrm>
              <a:off x="6294691"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696" name="Picture 695" descr="A picture containing clock&#10;&#10;Description automatically generated">
            <a:extLst>
              <a:ext uri="{FF2B5EF4-FFF2-40B4-BE49-F238E27FC236}">
                <a16:creationId xmlns:a16="http://schemas.microsoft.com/office/drawing/2014/main" id="{25452147-903F-40F5-BEA1-427A7AE7D3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867" y="4683495"/>
            <a:ext cx="341096" cy="429743"/>
          </a:xfrm>
          <a:prstGeom prst="rect">
            <a:avLst/>
          </a:prstGeom>
        </p:spPr>
      </p:pic>
      <p:sp>
        <p:nvSpPr>
          <p:cNvPr id="698" name="Rectangle 697">
            <a:extLst>
              <a:ext uri="{FF2B5EF4-FFF2-40B4-BE49-F238E27FC236}">
                <a16:creationId xmlns:a16="http://schemas.microsoft.com/office/drawing/2014/main" id="{BA030FEE-8B06-4153-9B13-F463CDB54B28}"/>
              </a:ext>
            </a:extLst>
          </p:cNvPr>
          <p:cNvSpPr/>
          <p:nvPr/>
        </p:nvSpPr>
        <p:spPr bwMode="auto">
          <a:xfrm>
            <a:off x="6095127" y="6257050"/>
            <a:ext cx="5758943" cy="363496"/>
          </a:xfrm>
          <a:prstGeom prst="rect">
            <a:avLst/>
          </a:prstGeom>
          <a:solidFill>
            <a:schemeClr val="bg1">
              <a:lumMod val="95000"/>
            </a:schemeClr>
          </a:solidFill>
          <a:ln w="6350">
            <a:noFill/>
            <a:prstDash val="solid"/>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699" name="TextBox 698">
            <a:extLst>
              <a:ext uri="{FF2B5EF4-FFF2-40B4-BE49-F238E27FC236}">
                <a16:creationId xmlns:a16="http://schemas.microsoft.com/office/drawing/2014/main" id="{6A4742F6-32A7-4B6C-8288-E6B3EE8C949A}"/>
              </a:ext>
            </a:extLst>
          </p:cNvPr>
          <p:cNvSpPr txBox="1"/>
          <p:nvPr/>
        </p:nvSpPr>
        <p:spPr>
          <a:xfrm>
            <a:off x="6726426"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imeseries data</a:t>
            </a:r>
          </a:p>
        </p:txBody>
      </p:sp>
      <p:sp>
        <p:nvSpPr>
          <p:cNvPr id="700" name="TextBox 699">
            <a:extLst>
              <a:ext uri="{FF2B5EF4-FFF2-40B4-BE49-F238E27FC236}">
                <a16:creationId xmlns:a16="http://schemas.microsoft.com/office/drawing/2014/main" id="{131C6C02-B1F9-4EBD-8E29-236F9FDFE840}"/>
              </a:ext>
            </a:extLst>
          </p:cNvPr>
          <p:cNvSpPr txBox="1"/>
          <p:nvPr/>
        </p:nvSpPr>
        <p:spPr>
          <a:xfrm>
            <a:off x="8458967"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PI requests/returns</a:t>
            </a:r>
          </a:p>
        </p:txBody>
      </p:sp>
      <p:sp>
        <p:nvSpPr>
          <p:cNvPr id="701" name="TextBox 700">
            <a:extLst>
              <a:ext uri="{FF2B5EF4-FFF2-40B4-BE49-F238E27FC236}">
                <a16:creationId xmlns:a16="http://schemas.microsoft.com/office/drawing/2014/main" id="{9E14B8CB-1A1D-418D-93AF-8EE4ACF5E2CF}"/>
              </a:ext>
            </a:extLst>
          </p:cNvPr>
          <p:cNvSpPr txBox="1"/>
          <p:nvPr/>
        </p:nvSpPr>
        <p:spPr>
          <a:xfrm>
            <a:off x="10530988"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I/ML workflow</a:t>
            </a:r>
          </a:p>
        </p:txBody>
      </p:sp>
      <p:pic>
        <p:nvPicPr>
          <p:cNvPr id="708" name="Picture 707">
            <a:extLst>
              <a:ext uri="{FF2B5EF4-FFF2-40B4-BE49-F238E27FC236}">
                <a16:creationId xmlns:a16="http://schemas.microsoft.com/office/drawing/2014/main" id="{8F61F6C5-5C40-4D76-93AD-3641582D90EC}"/>
              </a:ext>
            </a:extLst>
          </p:cNvPr>
          <p:cNvPicPr>
            <a:picLocks noChangeAspect="1"/>
          </p:cNvPicPr>
          <p:nvPr/>
        </p:nvPicPr>
        <p:blipFill>
          <a:blip r:embed="rId4">
            <a:duotone>
              <a:schemeClr val="accent1">
                <a:shade val="45000"/>
                <a:satMod val="135000"/>
              </a:schemeClr>
              <a:prstClr val="white"/>
            </a:duotone>
            <a:lum bright="-20000"/>
          </a:blip>
          <a:stretch>
            <a:fillRect/>
          </a:stretch>
        </p:blipFill>
        <p:spPr>
          <a:xfrm>
            <a:off x="3268636" y="3628691"/>
            <a:ext cx="1048388" cy="904388"/>
          </a:xfrm>
          <a:prstGeom prst="rect">
            <a:avLst/>
          </a:prstGeom>
        </p:spPr>
      </p:pic>
      <p:grpSp>
        <p:nvGrpSpPr>
          <p:cNvPr id="742" name="Group 741">
            <a:extLst>
              <a:ext uri="{FF2B5EF4-FFF2-40B4-BE49-F238E27FC236}">
                <a16:creationId xmlns:a16="http://schemas.microsoft.com/office/drawing/2014/main" id="{589C4392-A494-4CA3-8563-C43C9A0E2ED1}"/>
              </a:ext>
            </a:extLst>
          </p:cNvPr>
          <p:cNvGrpSpPr/>
          <p:nvPr/>
        </p:nvGrpSpPr>
        <p:grpSpPr>
          <a:xfrm>
            <a:off x="5253390" y="1227755"/>
            <a:ext cx="548640" cy="548640"/>
            <a:chOff x="4258502" y="2265815"/>
            <a:chExt cx="844109" cy="844111"/>
          </a:xfrm>
        </p:grpSpPr>
        <p:sp>
          <p:nvSpPr>
            <p:cNvPr id="743" name="Oval 742">
              <a:extLst>
                <a:ext uri="{FF2B5EF4-FFF2-40B4-BE49-F238E27FC236}">
                  <a16:creationId xmlns:a16="http://schemas.microsoft.com/office/drawing/2014/main" id="{EA1F17A5-311D-4C0E-BBF2-044C98AD9ACE}"/>
                </a:ext>
                <a:ext uri="{C183D7F6-B498-43B3-948B-1728B52AA6E4}">
                  <adec:decorative xmlns:adec="http://schemas.microsoft.com/office/drawing/2017/decorative" val="1"/>
                </a:ext>
              </a:extLst>
            </p:cNvPr>
            <p:cNvSpPr/>
            <p:nvPr/>
          </p:nvSpPr>
          <p:spPr bwMode="auto">
            <a:xfrm>
              <a:off x="4258502" y="2265815"/>
              <a:ext cx="844109" cy="844111"/>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4" name="Database_EFC7" title="Icon of a cylinder">
              <a:extLst>
                <a:ext uri="{FF2B5EF4-FFF2-40B4-BE49-F238E27FC236}">
                  <a16:creationId xmlns:a16="http://schemas.microsoft.com/office/drawing/2014/main" id="{A10621FF-BA05-4BE2-95AE-F32186E97C11}"/>
                </a:ext>
              </a:extLst>
            </p:cNvPr>
            <p:cNvSpPr>
              <a:spLocks noChangeAspect="1" noEditPoints="1"/>
            </p:cNvSpPr>
            <p:nvPr/>
          </p:nvSpPr>
          <p:spPr bwMode="auto">
            <a:xfrm>
              <a:off x="4501709" y="2455397"/>
              <a:ext cx="357695" cy="4649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754" name="Graphic 276">
            <a:extLst>
              <a:ext uri="{FF2B5EF4-FFF2-40B4-BE49-F238E27FC236}">
                <a16:creationId xmlns:a16="http://schemas.microsoft.com/office/drawing/2014/main" id="{40932EF1-1536-4372-A349-325979C9E716}"/>
              </a:ext>
            </a:extLst>
          </p:cNvPr>
          <p:cNvGrpSpPr/>
          <p:nvPr/>
        </p:nvGrpSpPr>
        <p:grpSpPr>
          <a:xfrm>
            <a:off x="5270118" y="3238488"/>
            <a:ext cx="510189" cy="716571"/>
            <a:chOff x="5755481" y="2939577"/>
            <a:chExt cx="680085" cy="955195"/>
          </a:xfrm>
          <a:solidFill>
            <a:schemeClr val="bg1"/>
          </a:solidFill>
        </p:grpSpPr>
        <p:sp>
          <p:nvSpPr>
            <p:cNvPr id="755" name="Freeform: Shape 278">
              <a:extLst>
                <a:ext uri="{FF2B5EF4-FFF2-40B4-BE49-F238E27FC236}">
                  <a16:creationId xmlns:a16="http://schemas.microsoft.com/office/drawing/2014/main" id="{4C9101E9-9808-4761-8E5A-2F6D8FB1A197}"/>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6" name="Freeform: Shape 279">
              <a:extLst>
                <a:ext uri="{FF2B5EF4-FFF2-40B4-BE49-F238E27FC236}">
                  <a16:creationId xmlns:a16="http://schemas.microsoft.com/office/drawing/2014/main" id="{BA308E47-AE71-4C57-91D0-DE75508319E1}"/>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7" name="Freeform: Shape 280">
              <a:extLst>
                <a:ext uri="{FF2B5EF4-FFF2-40B4-BE49-F238E27FC236}">
                  <a16:creationId xmlns:a16="http://schemas.microsoft.com/office/drawing/2014/main" id="{04F72D4B-5BE3-40C1-94AA-D9956A41C8A7}"/>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8" name="Freeform: Shape 281">
              <a:extLst>
                <a:ext uri="{FF2B5EF4-FFF2-40B4-BE49-F238E27FC236}">
                  <a16:creationId xmlns:a16="http://schemas.microsoft.com/office/drawing/2014/main" id="{8385FADA-340C-43D3-AE88-DAB8472E350D}"/>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59" name="Graphic 276">
            <a:extLst>
              <a:ext uri="{FF2B5EF4-FFF2-40B4-BE49-F238E27FC236}">
                <a16:creationId xmlns:a16="http://schemas.microsoft.com/office/drawing/2014/main" id="{1C0FB3AB-E5C0-427F-AB1B-360E424C9184}"/>
              </a:ext>
            </a:extLst>
          </p:cNvPr>
          <p:cNvGrpSpPr/>
          <p:nvPr/>
        </p:nvGrpSpPr>
        <p:grpSpPr>
          <a:xfrm>
            <a:off x="5269447" y="4182268"/>
            <a:ext cx="510189" cy="716571"/>
            <a:chOff x="5755481" y="2939577"/>
            <a:chExt cx="680085" cy="955195"/>
          </a:xfrm>
          <a:solidFill>
            <a:schemeClr val="bg1"/>
          </a:solidFill>
        </p:grpSpPr>
        <p:sp>
          <p:nvSpPr>
            <p:cNvPr id="760" name="Freeform: Shape 288">
              <a:extLst>
                <a:ext uri="{FF2B5EF4-FFF2-40B4-BE49-F238E27FC236}">
                  <a16:creationId xmlns:a16="http://schemas.microsoft.com/office/drawing/2014/main" id="{6F9150E2-35E7-4F65-9957-BA03FF5C10AB}"/>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1" name="Freeform: Shape 289">
              <a:extLst>
                <a:ext uri="{FF2B5EF4-FFF2-40B4-BE49-F238E27FC236}">
                  <a16:creationId xmlns:a16="http://schemas.microsoft.com/office/drawing/2014/main" id="{1B94EE4C-3A60-48A3-BA5C-F01E44F7B656}"/>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2" name="Freeform: Shape 290">
              <a:extLst>
                <a:ext uri="{FF2B5EF4-FFF2-40B4-BE49-F238E27FC236}">
                  <a16:creationId xmlns:a16="http://schemas.microsoft.com/office/drawing/2014/main" id="{1FEA900F-36C2-469D-B86F-33ED678D714E}"/>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3" name="Freeform: Shape 291">
              <a:extLst>
                <a:ext uri="{FF2B5EF4-FFF2-40B4-BE49-F238E27FC236}">
                  <a16:creationId xmlns:a16="http://schemas.microsoft.com/office/drawing/2014/main" id="{72360D77-C560-421E-9A93-3C3CD8D1FA57}"/>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4" name="Rectangle 763">
            <a:extLst>
              <a:ext uri="{FF2B5EF4-FFF2-40B4-BE49-F238E27FC236}">
                <a16:creationId xmlns:a16="http://schemas.microsoft.com/office/drawing/2014/main" id="{9F681D0F-E5EB-4E12-B7F8-5807F0027C6E}"/>
              </a:ext>
            </a:extLst>
          </p:cNvPr>
          <p:cNvSpPr/>
          <p:nvPr/>
        </p:nvSpPr>
        <p:spPr bwMode="auto">
          <a:xfrm>
            <a:off x="4993139" y="4754502"/>
            <a:ext cx="1062804" cy="556260"/>
          </a:xfrm>
          <a:prstGeom prst="rect">
            <a:avLst/>
          </a:prstGeom>
          <a:noFill/>
          <a:ln>
            <a:noFill/>
          </a:ln>
        </p:spPr>
        <p:txBody>
          <a:bodyPr vert="horz" wrap="square" lIns="91440" tIns="45720" rIns="91440" bIns="4572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WARM STORE</a:t>
            </a:r>
          </a:p>
        </p:txBody>
      </p:sp>
      <p:cxnSp>
        <p:nvCxnSpPr>
          <p:cNvPr id="767" name="Straight Connector 766">
            <a:extLst>
              <a:ext uri="{FF2B5EF4-FFF2-40B4-BE49-F238E27FC236}">
                <a16:creationId xmlns:a16="http://schemas.microsoft.com/office/drawing/2014/main" id="{2C631160-BF59-4748-AA85-3A13023E48C6}"/>
              </a:ext>
            </a:extLst>
          </p:cNvPr>
          <p:cNvCxnSpPr/>
          <p:nvPr/>
        </p:nvCxnSpPr>
        <p:spPr>
          <a:xfrm>
            <a:off x="6313117" y="6438798"/>
            <a:ext cx="340242" cy="0"/>
          </a:xfrm>
          <a:prstGeom prst="line">
            <a:avLst/>
          </a:prstGeom>
          <a:ln w="28575">
            <a:solidFill>
              <a:schemeClr val="accent3"/>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68" name="Straight Connector 767">
            <a:extLst>
              <a:ext uri="{FF2B5EF4-FFF2-40B4-BE49-F238E27FC236}">
                <a16:creationId xmlns:a16="http://schemas.microsoft.com/office/drawing/2014/main" id="{15352335-85F1-4B4E-9C1A-C38EDC924EAB}"/>
              </a:ext>
            </a:extLst>
          </p:cNvPr>
          <p:cNvCxnSpPr/>
          <p:nvPr/>
        </p:nvCxnSpPr>
        <p:spPr>
          <a:xfrm>
            <a:off x="8045658" y="6438798"/>
            <a:ext cx="340242" cy="0"/>
          </a:xfrm>
          <a:prstGeom prst="line">
            <a:avLst/>
          </a:prstGeom>
          <a:ln w="28575">
            <a:solidFill>
              <a:schemeClr val="accent4"/>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84" name="Straight Connector 783">
            <a:extLst>
              <a:ext uri="{FF2B5EF4-FFF2-40B4-BE49-F238E27FC236}">
                <a16:creationId xmlns:a16="http://schemas.microsoft.com/office/drawing/2014/main" id="{2898D51A-1E3B-497F-BFA6-BDA413032A88}"/>
              </a:ext>
            </a:extLst>
          </p:cNvPr>
          <p:cNvCxnSpPr/>
          <p:nvPr/>
        </p:nvCxnSpPr>
        <p:spPr>
          <a:xfrm>
            <a:off x="10117679" y="6438798"/>
            <a:ext cx="340242" cy="0"/>
          </a:xfrm>
          <a:prstGeom prst="line">
            <a:avLst/>
          </a:prstGeom>
          <a:ln w="28575">
            <a:solidFill>
              <a:srgbClr val="E3591B"/>
            </a:solidFill>
            <a:prstDash val="solid"/>
            <a:tailEnd type="none" w="lg" len="med"/>
          </a:ln>
        </p:spPr>
        <p:style>
          <a:lnRef idx="1">
            <a:schemeClr val="accent1"/>
          </a:lnRef>
          <a:fillRef idx="0">
            <a:schemeClr val="accent1"/>
          </a:fillRef>
          <a:effectRef idx="0">
            <a:schemeClr val="accent1"/>
          </a:effectRef>
          <a:fontRef idx="minor">
            <a:schemeClr val="tx1"/>
          </a:fontRef>
        </p:style>
      </p:cxnSp>
      <p:grpSp>
        <p:nvGrpSpPr>
          <p:cNvPr id="792" name="Group 791">
            <a:extLst>
              <a:ext uri="{FF2B5EF4-FFF2-40B4-BE49-F238E27FC236}">
                <a16:creationId xmlns:a16="http://schemas.microsoft.com/office/drawing/2014/main" id="{8436424C-099A-4E11-96E4-42B5B119DC2A}"/>
              </a:ext>
            </a:extLst>
          </p:cNvPr>
          <p:cNvGrpSpPr/>
          <p:nvPr/>
        </p:nvGrpSpPr>
        <p:grpSpPr>
          <a:xfrm>
            <a:off x="3594648" y="2747945"/>
            <a:ext cx="353076" cy="381008"/>
            <a:chOff x="3218968" y="2962504"/>
            <a:chExt cx="388384" cy="419109"/>
          </a:xfrm>
        </p:grpSpPr>
        <p:pic>
          <p:nvPicPr>
            <p:cNvPr id="793" name="Picture 792">
              <a:extLst>
                <a:ext uri="{FF2B5EF4-FFF2-40B4-BE49-F238E27FC236}">
                  <a16:creationId xmlns:a16="http://schemas.microsoft.com/office/drawing/2014/main" id="{D06A089D-AEDE-4AE5-BB3D-3F053C20A038}"/>
                </a:ext>
              </a:extLst>
            </p:cNvPr>
            <p:cNvPicPr>
              <a:picLocks noChangeAspect="1"/>
            </p:cNvPicPr>
            <p:nvPr/>
          </p:nvPicPr>
          <p:blipFill>
            <a:blip r:embed="rId5">
              <a:duotone>
                <a:schemeClr val="bg2">
                  <a:shade val="45000"/>
                  <a:satMod val="135000"/>
                </a:schemeClr>
                <a:prstClr val="white"/>
              </a:duotone>
              <a:lum bright="40000" contrast="40000"/>
            </a:blip>
            <a:stretch>
              <a:fillRect/>
            </a:stretch>
          </p:blipFill>
          <p:spPr>
            <a:xfrm>
              <a:off x="3331329" y="2962504"/>
              <a:ext cx="150917" cy="150917"/>
            </a:xfrm>
            <a:prstGeom prst="rect">
              <a:avLst/>
            </a:prstGeom>
          </p:spPr>
        </p:pic>
        <p:pic>
          <p:nvPicPr>
            <p:cNvPr id="794" name="Picture 793">
              <a:extLst>
                <a:ext uri="{FF2B5EF4-FFF2-40B4-BE49-F238E27FC236}">
                  <a16:creationId xmlns:a16="http://schemas.microsoft.com/office/drawing/2014/main" id="{7B7B267F-FD7D-49BE-A81C-DF339F1B0123}"/>
                </a:ext>
              </a:extLst>
            </p:cNvPr>
            <p:cNvPicPr>
              <a:picLocks noChangeAspect="1"/>
            </p:cNvPicPr>
            <p:nvPr/>
          </p:nvPicPr>
          <p:blipFill>
            <a:blip r:embed="rId5">
              <a:duotone>
                <a:schemeClr val="bg2">
                  <a:shade val="45000"/>
                  <a:satMod val="135000"/>
                </a:schemeClr>
                <a:prstClr val="white"/>
              </a:duotone>
              <a:lum bright="40000" contrast="40000"/>
            </a:blip>
            <a:stretch>
              <a:fillRect/>
            </a:stretch>
          </p:blipFill>
          <p:spPr>
            <a:xfrm>
              <a:off x="3456435" y="3051218"/>
              <a:ext cx="150917" cy="150917"/>
            </a:xfrm>
            <a:prstGeom prst="rect">
              <a:avLst/>
            </a:prstGeom>
          </p:spPr>
        </p:pic>
        <p:pic>
          <p:nvPicPr>
            <p:cNvPr id="795" name="Graphic 794">
              <a:extLst>
                <a:ext uri="{FF2B5EF4-FFF2-40B4-BE49-F238E27FC236}">
                  <a16:creationId xmlns:a16="http://schemas.microsoft.com/office/drawing/2014/main" id="{8002763F-D808-45E2-A194-F98410EB0E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18968" y="3130350"/>
              <a:ext cx="251263" cy="251263"/>
            </a:xfrm>
            <a:prstGeom prst="rect">
              <a:avLst/>
            </a:prstGeom>
          </p:spPr>
        </p:pic>
      </p:grpSp>
      <p:sp>
        <p:nvSpPr>
          <p:cNvPr id="796" name="Rectangle 795">
            <a:extLst>
              <a:ext uri="{FF2B5EF4-FFF2-40B4-BE49-F238E27FC236}">
                <a16:creationId xmlns:a16="http://schemas.microsoft.com/office/drawing/2014/main" id="{718D1A8D-AC93-44DB-8D39-13B39F2CFFDA}"/>
              </a:ext>
            </a:extLst>
          </p:cNvPr>
          <p:cNvSpPr/>
          <p:nvPr/>
        </p:nvSpPr>
        <p:spPr bwMode="auto">
          <a:xfrm>
            <a:off x="3038448" y="2427634"/>
            <a:ext cx="1453888" cy="2420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Calculation engine</a:t>
            </a:r>
          </a:p>
        </p:txBody>
      </p:sp>
      <p:cxnSp>
        <p:nvCxnSpPr>
          <p:cNvPr id="797" name="Connector: Elbow 796">
            <a:extLst>
              <a:ext uri="{FF2B5EF4-FFF2-40B4-BE49-F238E27FC236}">
                <a16:creationId xmlns:a16="http://schemas.microsoft.com/office/drawing/2014/main" id="{E77F849D-0CA4-46D1-81ED-9584F572B3DE}"/>
              </a:ext>
            </a:extLst>
          </p:cNvPr>
          <p:cNvCxnSpPr>
            <a:cxnSpLocks/>
            <a:stCxn id="676" idx="1"/>
            <a:endCxn id="679" idx="1"/>
          </p:cNvCxnSpPr>
          <p:nvPr/>
        </p:nvCxnSpPr>
        <p:spPr>
          <a:xfrm rot="10800000">
            <a:off x="5170163" y="3724396"/>
            <a:ext cx="12700" cy="735856"/>
          </a:xfrm>
          <a:prstGeom prst="bentConnector3">
            <a:avLst>
              <a:gd name="adj1" fmla="val 1800000"/>
            </a:avLst>
          </a:prstGeom>
          <a:ln w="12700">
            <a:solidFill>
              <a:schemeClr val="accent3"/>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98" name="Rounded Rectangle 21">
            <a:extLst>
              <a:ext uri="{FF2B5EF4-FFF2-40B4-BE49-F238E27FC236}">
                <a16:creationId xmlns:a16="http://schemas.microsoft.com/office/drawing/2014/main" id="{677F08F7-87EB-47E0-A797-4796B3D4A09F}"/>
              </a:ext>
            </a:extLst>
          </p:cNvPr>
          <p:cNvSpPr/>
          <p:nvPr/>
        </p:nvSpPr>
        <p:spPr bwMode="auto">
          <a:xfrm>
            <a:off x="3059935" y="4607189"/>
            <a:ext cx="1439157" cy="324083"/>
          </a:xfrm>
          <a:prstGeom prst="roundRect">
            <a:avLst>
              <a:gd name="adj" fmla="val 274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tream </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processing</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ngine</a:t>
            </a:r>
          </a:p>
        </p:txBody>
      </p:sp>
      <p:sp>
        <p:nvSpPr>
          <p:cNvPr id="799" name="Arrow: Pentagon 798">
            <a:extLst>
              <a:ext uri="{FF2B5EF4-FFF2-40B4-BE49-F238E27FC236}">
                <a16:creationId xmlns:a16="http://schemas.microsoft.com/office/drawing/2014/main" id="{3495AAD5-20FC-4CA3-A8F4-D1A02B9A0843}"/>
              </a:ext>
              <a:ext uri="{C183D7F6-B498-43B3-948B-1728B52AA6E4}">
                <adec:decorative xmlns:adec="http://schemas.microsoft.com/office/drawing/2017/decorative" val="1"/>
              </a:ext>
            </a:extLst>
          </p:cNvPr>
          <p:cNvSpPr/>
          <p:nvPr/>
        </p:nvSpPr>
        <p:spPr>
          <a:xfrm>
            <a:off x="411479" y="1342055"/>
            <a:ext cx="4077732" cy="320040"/>
          </a:xfrm>
          <a:prstGeom prst="homePlate">
            <a:avLst>
              <a:gd name="adj" fmla="val 35480"/>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Collect</a:t>
            </a:r>
          </a:p>
        </p:txBody>
      </p:sp>
      <p:sp>
        <p:nvSpPr>
          <p:cNvPr id="800" name="Rectangle 799">
            <a:extLst>
              <a:ext uri="{FF2B5EF4-FFF2-40B4-BE49-F238E27FC236}">
                <a16:creationId xmlns:a16="http://schemas.microsoft.com/office/drawing/2014/main" id="{321513E4-00BB-42B3-9B54-C3A488FAC082}"/>
              </a:ext>
              <a:ext uri="{C183D7F6-B498-43B3-948B-1728B52AA6E4}">
                <adec:decorative xmlns:adec="http://schemas.microsoft.com/office/drawing/2017/decorative" val="1"/>
              </a:ext>
            </a:extLst>
          </p:cNvPr>
          <p:cNvSpPr/>
          <p:nvPr/>
        </p:nvSpPr>
        <p:spPr>
          <a:xfrm>
            <a:off x="411479" y="5955277"/>
            <a:ext cx="3982516" cy="91440"/>
          </a:xfrm>
          <a:prstGeom prst="rect">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cxnSp>
        <p:nvCxnSpPr>
          <p:cNvPr id="803" name="Straight Arrow Connector 802">
            <a:extLst>
              <a:ext uri="{FF2B5EF4-FFF2-40B4-BE49-F238E27FC236}">
                <a16:creationId xmlns:a16="http://schemas.microsoft.com/office/drawing/2014/main" id="{CA420E48-4BE9-42C9-A831-ABA272E7E6CD}"/>
              </a:ext>
            </a:extLst>
          </p:cNvPr>
          <p:cNvCxnSpPr>
            <a:cxnSpLocks/>
          </p:cNvCxnSpPr>
          <p:nvPr/>
        </p:nvCxnSpPr>
        <p:spPr>
          <a:xfrm flipV="1">
            <a:off x="3771343" y="3276744"/>
            <a:ext cx="0" cy="285208"/>
          </a:xfrm>
          <a:prstGeom prst="straightConnector1">
            <a:avLst/>
          </a:prstGeom>
          <a:ln w="12700">
            <a:solidFill>
              <a:schemeClr val="accent3"/>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12" name="Straight Arrow Connector 811">
            <a:extLst>
              <a:ext uri="{FF2B5EF4-FFF2-40B4-BE49-F238E27FC236}">
                <a16:creationId xmlns:a16="http://schemas.microsoft.com/office/drawing/2014/main" id="{32A3C4F3-9D5C-4637-971E-FFC57D0E0D04}"/>
              </a:ext>
            </a:extLst>
          </p:cNvPr>
          <p:cNvCxnSpPr>
            <a:cxnSpLocks/>
          </p:cNvCxnSpPr>
          <p:nvPr/>
        </p:nvCxnSpPr>
        <p:spPr>
          <a:xfrm>
            <a:off x="4421200" y="4111386"/>
            <a:ext cx="532030" cy="0"/>
          </a:xfrm>
          <a:prstGeom prst="straightConnector1">
            <a:avLst/>
          </a:prstGeom>
          <a:ln w="12700">
            <a:solidFill>
              <a:schemeClr val="accent3"/>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grpSp>
        <p:nvGrpSpPr>
          <p:cNvPr id="815" name="Group 814">
            <a:extLst>
              <a:ext uri="{FF2B5EF4-FFF2-40B4-BE49-F238E27FC236}">
                <a16:creationId xmlns:a16="http://schemas.microsoft.com/office/drawing/2014/main" id="{D592CC3F-7545-422B-AAEC-FC145271C58D}"/>
              </a:ext>
            </a:extLst>
          </p:cNvPr>
          <p:cNvGrpSpPr/>
          <p:nvPr/>
        </p:nvGrpSpPr>
        <p:grpSpPr>
          <a:xfrm>
            <a:off x="2190205" y="1227755"/>
            <a:ext cx="548640" cy="548640"/>
            <a:chOff x="1427625" y="2265815"/>
            <a:chExt cx="844109" cy="844111"/>
          </a:xfrm>
        </p:grpSpPr>
        <p:sp>
          <p:nvSpPr>
            <p:cNvPr id="816" name="Oval 815">
              <a:extLst>
                <a:ext uri="{FF2B5EF4-FFF2-40B4-BE49-F238E27FC236}">
                  <a16:creationId xmlns:a16="http://schemas.microsoft.com/office/drawing/2014/main" id="{7483BD57-D1D8-40E7-8898-625930C6D366}"/>
                </a:ext>
                <a:ext uri="{C183D7F6-B498-43B3-948B-1728B52AA6E4}">
                  <adec:decorative xmlns:adec="http://schemas.microsoft.com/office/drawing/2017/decorative" val="1"/>
                </a:ext>
              </a:extLst>
            </p:cNvPr>
            <p:cNvSpPr/>
            <p:nvPr/>
          </p:nvSpPr>
          <p:spPr bwMode="auto">
            <a:xfrm>
              <a:off x="1427625" y="2265815"/>
              <a:ext cx="844109" cy="844111"/>
            </a:xfrm>
            <a:prstGeom prst="ellipse">
              <a:avLst/>
            </a:prstGeom>
            <a:solidFill>
              <a:schemeClr val="accent1">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17" name="Group 816">
              <a:extLst>
                <a:ext uri="{FF2B5EF4-FFF2-40B4-BE49-F238E27FC236}">
                  <a16:creationId xmlns:a16="http://schemas.microsoft.com/office/drawing/2014/main" id="{49240439-E7F1-4261-AD96-105419BB55A5}"/>
                </a:ext>
              </a:extLst>
            </p:cNvPr>
            <p:cNvGrpSpPr/>
            <p:nvPr/>
          </p:nvGrpSpPr>
          <p:grpSpPr>
            <a:xfrm>
              <a:off x="1653837" y="2463440"/>
              <a:ext cx="425119" cy="425320"/>
              <a:chOff x="2809993" y="1208899"/>
              <a:chExt cx="365586" cy="365760"/>
            </a:xfrm>
          </p:grpSpPr>
          <p:sp>
            <p:nvSpPr>
              <p:cNvPr id="818" name="BackToWindow_E73F" title="Icon of two arrows pointing towards eachother">
                <a:extLst>
                  <a:ext uri="{FF2B5EF4-FFF2-40B4-BE49-F238E27FC236}">
                    <a16:creationId xmlns:a16="http://schemas.microsoft.com/office/drawing/2014/main" id="{82D52922-B932-49A7-9B60-1BCD9705D552}"/>
                  </a:ext>
                </a:extLst>
              </p:cNvPr>
              <p:cNvSpPr>
                <a:spLocks noChangeAspect="1" noEditPoints="1"/>
              </p:cNvSpPr>
              <p:nvPr/>
            </p:nvSpPr>
            <p:spPr bwMode="auto">
              <a:xfrm>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19" name="BackToWindow_E73F" title="Icon of two arrows pointing towards eachother">
                <a:extLst>
                  <a:ext uri="{FF2B5EF4-FFF2-40B4-BE49-F238E27FC236}">
                    <a16:creationId xmlns:a16="http://schemas.microsoft.com/office/drawing/2014/main" id="{72DAD674-4C3A-4551-B473-907EC8E9355F}"/>
                  </a:ext>
                </a:extLst>
              </p:cNvPr>
              <p:cNvSpPr>
                <a:spLocks noChangeAspect="1" noEditPoints="1"/>
              </p:cNvSpPr>
              <p:nvPr/>
            </p:nvSpPr>
            <p:spPr bwMode="auto">
              <a:xfrm flipV="1">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sp>
        <p:nvSpPr>
          <p:cNvPr id="820" name="Rectangle 819">
            <a:extLst>
              <a:ext uri="{FF2B5EF4-FFF2-40B4-BE49-F238E27FC236}">
                <a16:creationId xmlns:a16="http://schemas.microsoft.com/office/drawing/2014/main" id="{68E1BC31-BC9B-4CDB-AADB-ACC6E25C67DC}"/>
              </a:ext>
            </a:extLst>
          </p:cNvPr>
          <p:cNvSpPr/>
          <p:nvPr/>
        </p:nvSpPr>
        <p:spPr bwMode="auto">
          <a:xfrm>
            <a:off x="1736965" y="4039796"/>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821" name="Graphic 21">
            <a:extLst>
              <a:ext uri="{FF2B5EF4-FFF2-40B4-BE49-F238E27FC236}">
                <a16:creationId xmlns:a16="http://schemas.microsoft.com/office/drawing/2014/main" id="{C3B41FB4-0671-4AAB-81B7-D94045E396D4}"/>
              </a:ext>
            </a:extLst>
          </p:cNvPr>
          <p:cNvGrpSpPr/>
          <p:nvPr/>
        </p:nvGrpSpPr>
        <p:grpSpPr>
          <a:xfrm>
            <a:off x="1812867" y="3987981"/>
            <a:ext cx="299102" cy="304037"/>
            <a:chOff x="5614987" y="3432237"/>
            <a:chExt cx="946785" cy="962406"/>
          </a:xfrm>
          <a:solidFill>
            <a:schemeClr val="accent1">
              <a:lumMod val="75000"/>
            </a:schemeClr>
          </a:solidFill>
        </p:grpSpPr>
        <p:sp>
          <p:nvSpPr>
            <p:cNvPr id="822" name="Freeform: Shape 821">
              <a:extLst>
                <a:ext uri="{FF2B5EF4-FFF2-40B4-BE49-F238E27FC236}">
                  <a16:creationId xmlns:a16="http://schemas.microsoft.com/office/drawing/2014/main" id="{9180F953-ACD9-4F62-AD6A-3E5AE0138910}"/>
                </a:ext>
              </a:extLst>
            </p:cNvPr>
            <p:cNvSpPr/>
            <p:nvPr/>
          </p:nvSpPr>
          <p:spPr>
            <a:xfrm>
              <a:off x="6288880" y="3432237"/>
              <a:ext cx="272891" cy="267747"/>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3" name="Freeform: Shape 822">
              <a:extLst>
                <a:ext uri="{FF2B5EF4-FFF2-40B4-BE49-F238E27FC236}">
                  <a16:creationId xmlns:a16="http://schemas.microsoft.com/office/drawing/2014/main" id="{4D2543AA-597A-4D75-84E9-37AD09A2974A}"/>
                </a:ext>
              </a:extLst>
            </p:cNvPr>
            <p:cNvSpPr/>
            <p:nvPr/>
          </p:nvSpPr>
          <p:spPr>
            <a:xfrm>
              <a:off x="5614987" y="4126991"/>
              <a:ext cx="272891" cy="267652"/>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4" name="Freeform: Shape 823">
              <a:extLst>
                <a:ext uri="{FF2B5EF4-FFF2-40B4-BE49-F238E27FC236}">
                  <a16:creationId xmlns:a16="http://schemas.microsoft.com/office/drawing/2014/main" id="{F0BED055-18BE-47FF-A921-3904FEFFE184}"/>
                </a:ext>
              </a:extLst>
            </p:cNvPr>
            <p:cNvSpPr/>
            <p:nvPr/>
          </p:nvSpPr>
          <p:spPr>
            <a:xfrm>
              <a:off x="5690329" y="3495864"/>
              <a:ext cx="803338" cy="804195"/>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825" name="Connector: Elbow 824">
            <a:extLst>
              <a:ext uri="{FF2B5EF4-FFF2-40B4-BE49-F238E27FC236}">
                <a16:creationId xmlns:a16="http://schemas.microsoft.com/office/drawing/2014/main" id="{87D28AA3-05FE-4345-8162-4BE347AC0485}"/>
              </a:ext>
            </a:extLst>
          </p:cNvPr>
          <p:cNvCxnSpPr>
            <a:cxnSpLocks/>
            <a:endCxn id="684" idx="3"/>
          </p:cNvCxnSpPr>
          <p:nvPr/>
        </p:nvCxnSpPr>
        <p:spPr>
          <a:xfrm rot="5400000">
            <a:off x="2068948" y="4005671"/>
            <a:ext cx="1563067" cy="223269"/>
          </a:xfrm>
          <a:prstGeom prst="bentConnector2">
            <a:avLst/>
          </a:prstGeom>
          <a:ln w="12700">
            <a:solidFill>
              <a:schemeClr val="accent3"/>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cxnSp>
        <p:nvCxnSpPr>
          <p:cNvPr id="826" name="Straight Arrow Connector 825">
            <a:extLst>
              <a:ext uri="{FF2B5EF4-FFF2-40B4-BE49-F238E27FC236}">
                <a16:creationId xmlns:a16="http://schemas.microsoft.com/office/drawing/2014/main" id="{6F3EF301-CDB8-45B5-AF43-25B7CAE17B1A}"/>
              </a:ext>
            </a:extLst>
          </p:cNvPr>
          <p:cNvCxnSpPr>
            <a:cxnSpLocks/>
          </p:cNvCxnSpPr>
          <p:nvPr/>
        </p:nvCxnSpPr>
        <p:spPr>
          <a:xfrm>
            <a:off x="2738845" y="4111386"/>
            <a:ext cx="459325" cy="0"/>
          </a:xfrm>
          <a:prstGeom prst="straightConnector1">
            <a:avLst/>
          </a:prstGeom>
          <a:ln w="12700">
            <a:solidFill>
              <a:schemeClr val="accent3"/>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827" name="Straight Arrow Connector 826">
            <a:extLst>
              <a:ext uri="{FF2B5EF4-FFF2-40B4-BE49-F238E27FC236}">
                <a16:creationId xmlns:a16="http://schemas.microsoft.com/office/drawing/2014/main" id="{6549DFDD-9F4C-41FE-A113-0A823D320037}"/>
              </a:ext>
            </a:extLst>
          </p:cNvPr>
          <p:cNvCxnSpPr>
            <a:cxnSpLocks/>
          </p:cNvCxnSpPr>
          <p:nvPr/>
        </p:nvCxnSpPr>
        <p:spPr>
          <a:xfrm flipH="1">
            <a:off x="2738845" y="3335772"/>
            <a:ext cx="223270" cy="0"/>
          </a:xfrm>
          <a:prstGeom prst="straightConnector1">
            <a:avLst/>
          </a:prstGeom>
          <a:ln w="12700">
            <a:solidFill>
              <a:schemeClr val="accent3"/>
            </a:solidFill>
            <a:prstDash val="solid"/>
            <a:miter lim="800000"/>
            <a:tailEnd type="none" w="med" len="sm"/>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F772BAA-F760-054D-A9A0-9CF3F4024CED}"/>
              </a:ext>
            </a:extLst>
          </p:cNvPr>
          <p:cNvGrpSpPr/>
          <p:nvPr/>
        </p:nvGrpSpPr>
        <p:grpSpPr>
          <a:xfrm>
            <a:off x="3497023" y="2671875"/>
            <a:ext cx="548640" cy="548640"/>
            <a:chOff x="3497023" y="2671875"/>
            <a:chExt cx="548640" cy="548640"/>
          </a:xfrm>
        </p:grpSpPr>
        <p:sp>
          <p:nvSpPr>
            <p:cNvPr id="85" name="Oval 84">
              <a:extLst>
                <a:ext uri="{FF2B5EF4-FFF2-40B4-BE49-F238E27FC236}">
                  <a16:creationId xmlns:a16="http://schemas.microsoft.com/office/drawing/2014/main" id="{BE5F8CB5-38C0-9E4C-9567-C72CEE817928}"/>
                </a:ext>
              </a:extLst>
            </p:cNvPr>
            <p:cNvSpPr/>
            <p:nvPr/>
          </p:nvSpPr>
          <p:spPr bwMode="auto">
            <a:xfrm>
              <a:off x="3497023" y="2671875"/>
              <a:ext cx="548640" cy="548640"/>
            </a:xfrm>
            <a:prstGeom prst="ellips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pic>
          <p:nvPicPr>
            <p:cNvPr id="86" name="Graphic 85">
              <a:extLst>
                <a:ext uri="{FF2B5EF4-FFF2-40B4-BE49-F238E27FC236}">
                  <a16:creationId xmlns:a16="http://schemas.microsoft.com/office/drawing/2014/main" id="{4C40548A-C8C2-2F4E-94CA-023817E62C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94648" y="2900533"/>
              <a:ext cx="228421" cy="228421"/>
            </a:xfrm>
            <a:prstGeom prst="rect">
              <a:avLst/>
            </a:prstGeom>
          </p:spPr>
        </p:pic>
        <p:pic>
          <p:nvPicPr>
            <p:cNvPr id="87" name="Picture 86">
              <a:extLst>
                <a:ext uri="{FF2B5EF4-FFF2-40B4-BE49-F238E27FC236}">
                  <a16:creationId xmlns:a16="http://schemas.microsoft.com/office/drawing/2014/main" id="{1546E081-B617-0148-8BD1-1DECF5DE0F5D}"/>
                </a:ext>
              </a:extLst>
            </p:cNvPr>
            <p:cNvPicPr>
              <a:picLocks noChangeAspect="1"/>
            </p:cNvPicPr>
            <p:nvPr/>
          </p:nvPicPr>
          <p:blipFill>
            <a:blip r:embed="rId10"/>
            <a:stretch>
              <a:fillRect/>
            </a:stretch>
          </p:blipFill>
          <p:spPr>
            <a:xfrm>
              <a:off x="3712269" y="2736833"/>
              <a:ext cx="137197" cy="137197"/>
            </a:xfrm>
            <a:prstGeom prst="rect">
              <a:avLst/>
            </a:prstGeom>
          </p:spPr>
        </p:pic>
        <p:pic>
          <p:nvPicPr>
            <p:cNvPr id="88" name="Picture 87">
              <a:extLst>
                <a:ext uri="{FF2B5EF4-FFF2-40B4-BE49-F238E27FC236}">
                  <a16:creationId xmlns:a16="http://schemas.microsoft.com/office/drawing/2014/main" id="{996F2B51-1ACF-7145-875E-B51C42C0CBB7}"/>
                </a:ext>
              </a:extLst>
            </p:cNvPr>
            <p:cNvPicPr>
              <a:picLocks noChangeAspect="1"/>
            </p:cNvPicPr>
            <p:nvPr/>
          </p:nvPicPr>
          <p:blipFill>
            <a:blip r:embed="rId10"/>
            <a:stretch>
              <a:fillRect/>
            </a:stretch>
          </p:blipFill>
          <p:spPr>
            <a:xfrm>
              <a:off x="3826958" y="2817845"/>
              <a:ext cx="137197" cy="137197"/>
            </a:xfrm>
            <a:prstGeom prst="rect">
              <a:avLst/>
            </a:prstGeom>
          </p:spPr>
        </p:pic>
      </p:grpSp>
      <p:sp>
        <p:nvSpPr>
          <p:cNvPr id="5" name="Rectangle 4">
            <a:extLst>
              <a:ext uri="{FF2B5EF4-FFF2-40B4-BE49-F238E27FC236}">
                <a16:creationId xmlns:a16="http://schemas.microsoft.com/office/drawing/2014/main" id="{08B129D9-1976-488D-B132-92B2EC02C0A1}"/>
              </a:ext>
            </a:extLst>
          </p:cNvPr>
          <p:cNvSpPr/>
          <p:nvPr/>
        </p:nvSpPr>
        <p:spPr bwMode="auto">
          <a:xfrm>
            <a:off x="4993139" y="2707321"/>
            <a:ext cx="1062804" cy="741510"/>
          </a:xfrm>
          <a:prstGeom prst="rect">
            <a:avLst/>
          </a:prstGeom>
          <a:no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COLD STORE</a:t>
            </a:r>
            <a:b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800" b="0" i="0" u="none" strike="noStrike" kern="1200" cap="none" spc="0" normalizeH="0" baseline="0" noProof="0" dirty="0">
                <a:ln>
                  <a:noFill/>
                </a:ln>
                <a:solidFill>
                  <a:srgbClr val="4472C4"/>
                </a:solidFill>
                <a:effectLst/>
                <a:uLnTx/>
                <a:uFillTx/>
                <a:latin typeface="Calibri Light" panose="020F0302020204030204"/>
                <a:ea typeface="+mn-ea"/>
                <a:cs typeface="+mn-cs"/>
              </a:rPr>
              <a:t>ADLS Gen 2/ Azure Blog</a:t>
            </a:r>
            <a:endPar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171355511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ED67F29-0B42-4F6D-A12D-F47213B88AAF}"/>
              </a:ext>
            </a:extLst>
          </p:cNvPr>
          <p:cNvSpPr/>
          <p:nvPr/>
        </p:nvSpPr>
        <p:spPr bwMode="auto">
          <a:xfrm>
            <a:off x="3059935" y="2194832"/>
            <a:ext cx="4611624" cy="3145664"/>
          </a:xfrm>
          <a:prstGeom prst="rect">
            <a:avLst/>
          </a:pr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3" name="Rectangle 2">
            <a:extLst>
              <a:ext uri="{FF2B5EF4-FFF2-40B4-BE49-F238E27FC236}">
                <a16:creationId xmlns:a16="http://schemas.microsoft.com/office/drawing/2014/main" id="{079756E4-223F-6348-9EE5-C0E095FA6330}"/>
              </a:ext>
            </a:extLst>
          </p:cNvPr>
          <p:cNvSpPr/>
          <p:nvPr/>
        </p:nvSpPr>
        <p:spPr bwMode="auto">
          <a:xfrm>
            <a:off x="7042451" y="2817845"/>
            <a:ext cx="1271011" cy="21591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871" name="Freeform: Shape 870">
            <a:extLst>
              <a:ext uri="{FF2B5EF4-FFF2-40B4-BE49-F238E27FC236}">
                <a16:creationId xmlns:a16="http://schemas.microsoft.com/office/drawing/2014/main" id="{4A3FF5BA-C5A5-44CD-B8C2-80B0ED684136}"/>
              </a:ext>
            </a:extLst>
          </p:cNvPr>
          <p:cNvSpPr/>
          <p:nvPr/>
        </p:nvSpPr>
        <p:spPr bwMode="auto">
          <a:xfrm>
            <a:off x="694230" y="2897173"/>
            <a:ext cx="992070" cy="2443324"/>
          </a:xfrm>
          <a:custGeom>
            <a:avLst/>
            <a:gdLst>
              <a:gd name="connsiteX0" fmla="*/ 568562 w 992070"/>
              <a:gd name="connsiteY0" fmla="*/ 0 h 2443324"/>
              <a:gd name="connsiteX1" fmla="*/ 676485 w 992070"/>
              <a:gd name="connsiteY1" fmla="*/ 0 h 2443324"/>
              <a:gd name="connsiteX2" fmla="*/ 676485 w 992070"/>
              <a:gd name="connsiteY2" fmla="*/ 387341 h 2443324"/>
              <a:gd name="connsiteX3" fmla="*/ 992070 w 992070"/>
              <a:gd name="connsiteY3" fmla="*/ 387341 h 2443324"/>
              <a:gd name="connsiteX4" fmla="*/ 992070 w 992070"/>
              <a:gd name="connsiteY4" fmla="*/ 497069 h 2443324"/>
              <a:gd name="connsiteX5" fmla="*/ 676485 w 992070"/>
              <a:gd name="connsiteY5" fmla="*/ 497069 h 2443324"/>
              <a:gd name="connsiteX6" fmla="*/ 676485 w 992070"/>
              <a:gd name="connsiteY6" fmla="*/ 1165808 h 2443324"/>
              <a:gd name="connsiteX7" fmla="*/ 992070 w 992070"/>
              <a:gd name="connsiteY7" fmla="*/ 1165808 h 2443324"/>
              <a:gd name="connsiteX8" fmla="*/ 992070 w 992070"/>
              <a:gd name="connsiteY8" fmla="*/ 1275536 h 2443324"/>
              <a:gd name="connsiteX9" fmla="*/ 676485 w 992070"/>
              <a:gd name="connsiteY9" fmla="*/ 1275536 h 2443324"/>
              <a:gd name="connsiteX10" fmla="*/ 676485 w 992070"/>
              <a:gd name="connsiteY10" fmla="*/ 1944275 h 2443324"/>
              <a:gd name="connsiteX11" fmla="*/ 992070 w 992070"/>
              <a:gd name="connsiteY11" fmla="*/ 1944275 h 2443324"/>
              <a:gd name="connsiteX12" fmla="*/ 992070 w 992070"/>
              <a:gd name="connsiteY12" fmla="*/ 2054003 h 2443324"/>
              <a:gd name="connsiteX13" fmla="*/ 676485 w 992070"/>
              <a:gd name="connsiteY13" fmla="*/ 2054003 h 2443324"/>
              <a:gd name="connsiteX14" fmla="*/ 676485 w 992070"/>
              <a:gd name="connsiteY14" fmla="*/ 2443322 h 2443324"/>
              <a:gd name="connsiteX15" fmla="*/ 672478 w 992070"/>
              <a:gd name="connsiteY15" fmla="*/ 2443322 h 2443324"/>
              <a:gd name="connsiteX16" fmla="*/ 672478 w 992070"/>
              <a:gd name="connsiteY16" fmla="*/ 2443324 h 2443324"/>
              <a:gd name="connsiteX17" fmla="*/ 1 w 992070"/>
              <a:gd name="connsiteY17" fmla="*/ 2443324 h 2443324"/>
              <a:gd name="connsiteX18" fmla="*/ 1 w 992070"/>
              <a:gd name="connsiteY18" fmla="*/ 2335401 h 2443324"/>
              <a:gd name="connsiteX19" fmla="*/ 568562 w 992070"/>
              <a:gd name="connsiteY19" fmla="*/ 2335401 h 2443324"/>
              <a:gd name="connsiteX20" fmla="*/ 568562 w 992070"/>
              <a:gd name="connsiteY20" fmla="*/ 1664857 h 2443324"/>
              <a:gd name="connsiteX21" fmla="*/ 0 w 992070"/>
              <a:gd name="connsiteY21" fmla="*/ 1664857 h 2443324"/>
              <a:gd name="connsiteX22" fmla="*/ 0 w 992070"/>
              <a:gd name="connsiteY22" fmla="*/ 1556934 h 2443324"/>
              <a:gd name="connsiteX23" fmla="*/ 568562 w 992070"/>
              <a:gd name="connsiteY23" fmla="*/ 1556934 h 2443324"/>
              <a:gd name="connsiteX24" fmla="*/ 568562 w 992070"/>
              <a:gd name="connsiteY24" fmla="*/ 886392 h 2443324"/>
              <a:gd name="connsiteX25" fmla="*/ 2361 w 992070"/>
              <a:gd name="connsiteY25" fmla="*/ 886392 h 2443324"/>
              <a:gd name="connsiteX26" fmla="*/ 2361 w 992070"/>
              <a:gd name="connsiteY26" fmla="*/ 778469 h 2443324"/>
              <a:gd name="connsiteX27" fmla="*/ 568562 w 992070"/>
              <a:gd name="connsiteY27" fmla="*/ 778469 h 2443324"/>
              <a:gd name="connsiteX28" fmla="*/ 568562 w 992070"/>
              <a:gd name="connsiteY28" fmla="*/ 107924 h 2443324"/>
              <a:gd name="connsiteX29" fmla="*/ 0 w 992070"/>
              <a:gd name="connsiteY29" fmla="*/ 107924 h 2443324"/>
              <a:gd name="connsiteX30" fmla="*/ 0 w 992070"/>
              <a:gd name="connsiteY30" fmla="*/ 1 h 2443324"/>
              <a:gd name="connsiteX31" fmla="*/ 568562 w 992070"/>
              <a:gd name="connsiteY31" fmla="*/ 1 h 244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2070" h="2443324">
                <a:moveTo>
                  <a:pt x="568562" y="0"/>
                </a:moveTo>
                <a:lnTo>
                  <a:pt x="676485" y="0"/>
                </a:lnTo>
                <a:lnTo>
                  <a:pt x="676485" y="387341"/>
                </a:lnTo>
                <a:lnTo>
                  <a:pt x="992070" y="387341"/>
                </a:lnTo>
                <a:lnTo>
                  <a:pt x="992070" y="497069"/>
                </a:lnTo>
                <a:lnTo>
                  <a:pt x="676485" y="497069"/>
                </a:lnTo>
                <a:lnTo>
                  <a:pt x="676485" y="1165808"/>
                </a:lnTo>
                <a:lnTo>
                  <a:pt x="992070" y="1165808"/>
                </a:lnTo>
                <a:lnTo>
                  <a:pt x="992070" y="1275536"/>
                </a:lnTo>
                <a:lnTo>
                  <a:pt x="676485" y="1275536"/>
                </a:lnTo>
                <a:lnTo>
                  <a:pt x="676485" y="1944275"/>
                </a:lnTo>
                <a:lnTo>
                  <a:pt x="992070" y="1944275"/>
                </a:lnTo>
                <a:lnTo>
                  <a:pt x="992070" y="2054003"/>
                </a:lnTo>
                <a:lnTo>
                  <a:pt x="676485" y="2054003"/>
                </a:lnTo>
                <a:lnTo>
                  <a:pt x="676485" y="2443322"/>
                </a:lnTo>
                <a:lnTo>
                  <a:pt x="672478" y="2443322"/>
                </a:lnTo>
                <a:lnTo>
                  <a:pt x="672478" y="2443324"/>
                </a:lnTo>
                <a:lnTo>
                  <a:pt x="1" y="2443324"/>
                </a:lnTo>
                <a:lnTo>
                  <a:pt x="1" y="2335401"/>
                </a:lnTo>
                <a:lnTo>
                  <a:pt x="568562" y="2335401"/>
                </a:lnTo>
                <a:lnTo>
                  <a:pt x="568562" y="1664857"/>
                </a:lnTo>
                <a:lnTo>
                  <a:pt x="0" y="1664857"/>
                </a:lnTo>
                <a:lnTo>
                  <a:pt x="0" y="1556934"/>
                </a:lnTo>
                <a:lnTo>
                  <a:pt x="568562" y="1556934"/>
                </a:lnTo>
                <a:lnTo>
                  <a:pt x="568562" y="886392"/>
                </a:lnTo>
                <a:lnTo>
                  <a:pt x="2361" y="886392"/>
                </a:lnTo>
                <a:lnTo>
                  <a:pt x="2361" y="778469"/>
                </a:lnTo>
                <a:lnTo>
                  <a:pt x="568562" y="778469"/>
                </a:lnTo>
                <a:lnTo>
                  <a:pt x="568562" y="107924"/>
                </a:lnTo>
                <a:lnTo>
                  <a:pt x="0" y="107924"/>
                </a:lnTo>
                <a:lnTo>
                  <a:pt x="0" y="1"/>
                </a:lnTo>
                <a:lnTo>
                  <a:pt x="568562" y="1"/>
                </a:lnTo>
                <a:close/>
              </a:path>
            </a:pathLst>
          </a:custGeom>
          <a:solidFill>
            <a:schemeClr val="bg1"/>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872" name="Rectangle 871">
            <a:extLst>
              <a:ext uri="{FF2B5EF4-FFF2-40B4-BE49-F238E27FC236}">
                <a16:creationId xmlns:a16="http://schemas.microsoft.com/office/drawing/2014/main" id="{36A2590E-2967-4BB4-AE43-0E062BDD2F0B}"/>
              </a:ext>
            </a:extLst>
          </p:cNvPr>
          <p:cNvSpPr/>
          <p:nvPr/>
        </p:nvSpPr>
        <p:spPr bwMode="auto">
          <a:xfrm>
            <a:off x="1663901" y="3240620"/>
            <a:ext cx="260839" cy="17626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874" name="network" title="Icon of a device or computer network">
            <a:extLst>
              <a:ext uri="{FF2B5EF4-FFF2-40B4-BE49-F238E27FC236}">
                <a16:creationId xmlns:a16="http://schemas.microsoft.com/office/drawing/2014/main" id="{1041C69E-BA31-4721-AA75-C3706B9897DD}"/>
              </a:ext>
            </a:extLst>
          </p:cNvPr>
          <p:cNvSpPr>
            <a:spLocks noChangeAspect="1" noEditPoints="1"/>
          </p:cNvSpPr>
          <p:nvPr/>
        </p:nvSpPr>
        <p:spPr bwMode="auto">
          <a:xfrm>
            <a:off x="544196" y="2067280"/>
            <a:ext cx="267144" cy="278158"/>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5" name="Oval 874">
            <a:extLst>
              <a:ext uri="{FF2B5EF4-FFF2-40B4-BE49-F238E27FC236}">
                <a16:creationId xmlns:a16="http://schemas.microsoft.com/office/drawing/2014/main" id="{CE7EA79A-626D-4701-961F-20CC4BEDBA01}"/>
              </a:ext>
            </a:extLst>
          </p:cNvPr>
          <p:cNvSpPr/>
          <p:nvPr/>
        </p:nvSpPr>
        <p:spPr bwMode="auto">
          <a:xfrm>
            <a:off x="412973" y="2676814"/>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76" name="Truck" title="Icon of a truck with a storage trailer">
            <a:extLst>
              <a:ext uri="{FF2B5EF4-FFF2-40B4-BE49-F238E27FC236}">
                <a16:creationId xmlns:a16="http://schemas.microsoft.com/office/drawing/2014/main" id="{5F9B0CF2-FCBA-4435-9DAC-3FF9FAF68B7E}"/>
              </a:ext>
            </a:extLst>
          </p:cNvPr>
          <p:cNvSpPr>
            <a:spLocks noChangeAspect="1" noEditPoints="1"/>
          </p:cNvSpPr>
          <p:nvPr/>
        </p:nvSpPr>
        <p:spPr bwMode="auto">
          <a:xfrm>
            <a:off x="497126" y="2861663"/>
            <a:ext cx="380335" cy="17407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77" name="Oval 876">
            <a:extLst>
              <a:ext uri="{FF2B5EF4-FFF2-40B4-BE49-F238E27FC236}">
                <a16:creationId xmlns:a16="http://schemas.microsoft.com/office/drawing/2014/main" id="{99FDB513-F70D-45BB-8FD7-AF59274D0F20}"/>
              </a:ext>
            </a:extLst>
          </p:cNvPr>
          <p:cNvSpPr/>
          <p:nvPr/>
        </p:nvSpPr>
        <p:spPr bwMode="auto">
          <a:xfrm>
            <a:off x="412973" y="3455281"/>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878" name="building_7" title="Icon of a building with a curved section protruding from it">
            <a:extLst>
              <a:ext uri="{FF2B5EF4-FFF2-40B4-BE49-F238E27FC236}">
                <a16:creationId xmlns:a16="http://schemas.microsoft.com/office/drawing/2014/main" id="{2E270054-646A-41FF-AEE3-454AD3285635}"/>
              </a:ext>
            </a:extLst>
          </p:cNvPr>
          <p:cNvSpPr>
            <a:spLocks noChangeAspect="1" noEditPoints="1"/>
          </p:cNvSpPr>
          <p:nvPr/>
        </p:nvSpPr>
        <p:spPr bwMode="auto">
          <a:xfrm>
            <a:off x="555949" y="3575761"/>
            <a:ext cx="262689" cy="29744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9" name="Oval 878">
            <a:extLst>
              <a:ext uri="{FF2B5EF4-FFF2-40B4-BE49-F238E27FC236}">
                <a16:creationId xmlns:a16="http://schemas.microsoft.com/office/drawing/2014/main" id="{C95280F5-496F-4129-9632-FB9E886C331F}"/>
              </a:ext>
            </a:extLst>
          </p:cNvPr>
          <p:cNvSpPr/>
          <p:nvPr/>
        </p:nvSpPr>
        <p:spPr bwMode="auto">
          <a:xfrm>
            <a:off x="412973" y="4233748"/>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880" name="building_11" title="Icon of a school house">
            <a:extLst>
              <a:ext uri="{FF2B5EF4-FFF2-40B4-BE49-F238E27FC236}">
                <a16:creationId xmlns:a16="http://schemas.microsoft.com/office/drawing/2014/main" id="{B981F863-9FD9-4B65-AB4A-7F8CE7FBDF54}"/>
              </a:ext>
            </a:extLst>
          </p:cNvPr>
          <p:cNvSpPr>
            <a:spLocks noChangeAspect="1" noEditPoints="1"/>
          </p:cNvSpPr>
          <p:nvPr/>
        </p:nvSpPr>
        <p:spPr bwMode="auto">
          <a:xfrm>
            <a:off x="491865" y="4378542"/>
            <a:ext cx="371807" cy="200145"/>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1" name="Oval 880">
            <a:extLst>
              <a:ext uri="{FF2B5EF4-FFF2-40B4-BE49-F238E27FC236}">
                <a16:creationId xmlns:a16="http://schemas.microsoft.com/office/drawing/2014/main" id="{78BEB8F5-640F-4C9A-9143-DF097AF2A458}"/>
              </a:ext>
            </a:extLst>
          </p:cNvPr>
          <p:cNvSpPr/>
          <p:nvPr/>
        </p:nvSpPr>
        <p:spPr bwMode="auto">
          <a:xfrm>
            <a:off x="412973" y="5012215"/>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82" name="factory_3" title="Icon of a factory">
            <a:extLst>
              <a:ext uri="{FF2B5EF4-FFF2-40B4-BE49-F238E27FC236}">
                <a16:creationId xmlns:a16="http://schemas.microsoft.com/office/drawing/2014/main" id="{198FA050-A105-4E5F-9254-07CE0B394678}"/>
              </a:ext>
            </a:extLst>
          </p:cNvPr>
          <p:cNvSpPr>
            <a:spLocks noChangeAspect="1" noEditPoints="1"/>
          </p:cNvSpPr>
          <p:nvPr/>
        </p:nvSpPr>
        <p:spPr bwMode="auto">
          <a:xfrm>
            <a:off x="523698" y="5164920"/>
            <a:ext cx="327190" cy="2026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03" name="Title 1">
            <a:extLst>
              <a:ext uri="{FF2B5EF4-FFF2-40B4-BE49-F238E27FC236}">
                <a16:creationId xmlns:a16="http://schemas.microsoft.com/office/drawing/2014/main" id="{B5FE7631-AB65-4401-8750-D79BB0EA9DC5}"/>
              </a:ext>
            </a:extLst>
          </p:cNvPr>
          <p:cNvSpPr txBox="1">
            <a:spLocks/>
          </p:cNvSpPr>
          <p:nvPr/>
        </p:nvSpPr>
        <p:spPr>
          <a:xfrm>
            <a:off x="569409" y="194800"/>
            <a:ext cx="11049000" cy="492443"/>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ED7D31"/>
                </a:solidFill>
                <a:effectLst/>
                <a:uLnTx/>
                <a:uFillTx/>
                <a:latin typeface="Calibri Light" panose="020F0302020204030204"/>
                <a:ea typeface="+mn-ea"/>
                <a:cs typeface="Segoe UI" pitchFamily="34" charset="0"/>
              </a:rPr>
              <a:t>Azure Time Series Insights pay as you go high level architecture</a:t>
            </a:r>
          </a:p>
        </p:txBody>
      </p:sp>
      <p:sp>
        <p:nvSpPr>
          <p:cNvPr id="670" name="Rectangle 669">
            <a:extLst>
              <a:ext uri="{FF2B5EF4-FFF2-40B4-BE49-F238E27FC236}">
                <a16:creationId xmlns:a16="http://schemas.microsoft.com/office/drawing/2014/main" id="{CE73E3A4-D628-401E-91AB-26C265413E3E}"/>
              </a:ext>
            </a:extLst>
          </p:cNvPr>
          <p:cNvSpPr/>
          <p:nvPr/>
        </p:nvSpPr>
        <p:spPr bwMode="auto">
          <a:xfrm>
            <a:off x="5703707"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71" name="Arrow: Chevron 670">
            <a:extLst>
              <a:ext uri="{FF2B5EF4-FFF2-40B4-BE49-F238E27FC236}">
                <a16:creationId xmlns:a16="http://schemas.microsoft.com/office/drawing/2014/main" id="{2795D30E-28ED-4F58-83AD-EAD8A528B11C}"/>
              </a:ext>
              <a:ext uri="{C183D7F6-B498-43B3-948B-1728B52AA6E4}">
                <adec:decorative xmlns:adec="http://schemas.microsoft.com/office/drawing/2017/decorative" val="1"/>
              </a:ext>
            </a:extLst>
          </p:cNvPr>
          <p:cNvSpPr/>
          <p:nvPr/>
        </p:nvSpPr>
        <p:spPr>
          <a:xfrm>
            <a:off x="4414712" y="1342055"/>
            <a:ext cx="2225997" cy="320040"/>
          </a:xfrm>
          <a:prstGeom prst="chevron">
            <a:avLst>
              <a:gd name="adj" fmla="val 35474"/>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Store</a:t>
            </a:r>
          </a:p>
        </p:txBody>
      </p:sp>
      <p:sp>
        <p:nvSpPr>
          <p:cNvPr id="672" name="Arrow: Chevron 671">
            <a:extLst>
              <a:ext uri="{FF2B5EF4-FFF2-40B4-BE49-F238E27FC236}">
                <a16:creationId xmlns:a16="http://schemas.microsoft.com/office/drawing/2014/main" id="{16823248-6057-4F03-B9C8-945B42F89A4A}"/>
              </a:ext>
              <a:ext uri="{C183D7F6-B498-43B3-948B-1728B52AA6E4}">
                <adec:decorative xmlns:adec="http://schemas.microsoft.com/office/drawing/2017/decorative" val="1"/>
              </a:ext>
            </a:extLst>
          </p:cNvPr>
          <p:cNvSpPr/>
          <p:nvPr/>
        </p:nvSpPr>
        <p:spPr>
          <a:xfrm>
            <a:off x="6566210" y="1342055"/>
            <a:ext cx="2225997" cy="320040"/>
          </a:xfrm>
          <a:prstGeom prst="chevron">
            <a:avLst>
              <a:gd name="adj" fmla="val 35474"/>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Model</a:t>
            </a:r>
          </a:p>
        </p:txBody>
      </p:sp>
      <p:sp>
        <p:nvSpPr>
          <p:cNvPr id="673" name="Rectangle 672">
            <a:extLst>
              <a:ext uri="{FF2B5EF4-FFF2-40B4-BE49-F238E27FC236}">
                <a16:creationId xmlns:a16="http://schemas.microsoft.com/office/drawing/2014/main" id="{0137CF39-9421-4619-A7A0-F26835A22B14}"/>
              </a:ext>
              <a:ext uri="{C183D7F6-B498-43B3-948B-1728B52AA6E4}">
                <adec:decorative xmlns:adec="http://schemas.microsoft.com/office/drawing/2017/decorative" val="1"/>
              </a:ext>
            </a:extLst>
          </p:cNvPr>
          <p:cNvSpPr/>
          <p:nvPr/>
        </p:nvSpPr>
        <p:spPr>
          <a:xfrm>
            <a:off x="4411675" y="5955277"/>
            <a:ext cx="2152728" cy="91440"/>
          </a:xfrm>
          <a:prstGeom prst="rect">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674" name="Rectangle 673">
            <a:extLst>
              <a:ext uri="{FF2B5EF4-FFF2-40B4-BE49-F238E27FC236}">
                <a16:creationId xmlns:a16="http://schemas.microsoft.com/office/drawing/2014/main" id="{306B3792-365C-4368-9461-5FF8B107B1EF}"/>
              </a:ext>
              <a:ext uri="{C183D7F6-B498-43B3-948B-1728B52AA6E4}">
                <adec:decorative xmlns:adec="http://schemas.microsoft.com/office/drawing/2017/decorative" val="1"/>
              </a:ext>
            </a:extLst>
          </p:cNvPr>
          <p:cNvSpPr/>
          <p:nvPr/>
        </p:nvSpPr>
        <p:spPr>
          <a:xfrm>
            <a:off x="6590555" y="5955277"/>
            <a:ext cx="2126935" cy="91440"/>
          </a:xfrm>
          <a:prstGeom prst="rect">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675" name="Rectangle 674">
            <a:extLst>
              <a:ext uri="{FF2B5EF4-FFF2-40B4-BE49-F238E27FC236}">
                <a16:creationId xmlns:a16="http://schemas.microsoft.com/office/drawing/2014/main" id="{7E25093D-C64F-4772-99C3-1677ADE69E1A}"/>
              </a:ext>
            </a:extLst>
          </p:cNvPr>
          <p:cNvSpPr/>
          <p:nvPr/>
        </p:nvSpPr>
        <p:spPr bwMode="auto">
          <a:xfrm>
            <a:off x="5703707" y="364381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76" name="Rectangle 675">
            <a:extLst>
              <a:ext uri="{FF2B5EF4-FFF2-40B4-BE49-F238E27FC236}">
                <a16:creationId xmlns:a16="http://schemas.microsoft.com/office/drawing/2014/main" id="{BA6F0440-898A-4A9D-B03E-7FC987AB3BFF}"/>
              </a:ext>
            </a:extLst>
          </p:cNvPr>
          <p:cNvSpPr/>
          <p:nvPr/>
        </p:nvSpPr>
        <p:spPr bwMode="auto">
          <a:xfrm>
            <a:off x="3687390" y="2493902"/>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82" name="Rectangle 681">
            <a:extLst>
              <a:ext uri="{FF2B5EF4-FFF2-40B4-BE49-F238E27FC236}">
                <a16:creationId xmlns:a16="http://schemas.microsoft.com/office/drawing/2014/main" id="{B85B9435-26DF-41F4-8D4F-95DA2F43A37B}"/>
              </a:ext>
            </a:extLst>
          </p:cNvPr>
          <p:cNvSpPr/>
          <p:nvPr/>
        </p:nvSpPr>
        <p:spPr bwMode="auto">
          <a:xfrm>
            <a:off x="5170163"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84" name="Rectangle 683">
            <a:extLst>
              <a:ext uri="{FF2B5EF4-FFF2-40B4-BE49-F238E27FC236}">
                <a16:creationId xmlns:a16="http://schemas.microsoft.com/office/drawing/2014/main" id="{CFA6B0DE-87DE-4FB5-A569-DE1EA8E8E860}"/>
              </a:ext>
            </a:extLst>
          </p:cNvPr>
          <p:cNvSpPr/>
          <p:nvPr/>
        </p:nvSpPr>
        <p:spPr bwMode="auto">
          <a:xfrm>
            <a:off x="5170163" y="364381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85" name="Rectangle 684">
            <a:extLst>
              <a:ext uri="{FF2B5EF4-FFF2-40B4-BE49-F238E27FC236}">
                <a16:creationId xmlns:a16="http://schemas.microsoft.com/office/drawing/2014/main" id="{BFAF8037-9145-4015-913E-4B935F6CC31F}"/>
              </a:ext>
            </a:extLst>
          </p:cNvPr>
          <p:cNvSpPr/>
          <p:nvPr/>
        </p:nvSpPr>
        <p:spPr bwMode="auto">
          <a:xfrm>
            <a:off x="8017272"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87" name="Rectangle 686">
            <a:extLst>
              <a:ext uri="{FF2B5EF4-FFF2-40B4-BE49-F238E27FC236}">
                <a16:creationId xmlns:a16="http://schemas.microsoft.com/office/drawing/2014/main" id="{B8B278D1-F62C-4FFE-80D8-0B5DB1BD8E98}"/>
              </a:ext>
            </a:extLst>
          </p:cNvPr>
          <p:cNvSpPr/>
          <p:nvPr/>
        </p:nvSpPr>
        <p:spPr bwMode="auto">
          <a:xfrm>
            <a:off x="2058364" y="462070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Digital Twins</a:t>
            </a:r>
          </a:p>
        </p:txBody>
      </p:sp>
      <p:sp>
        <p:nvSpPr>
          <p:cNvPr id="688" name="Rectangle 687">
            <a:extLst>
              <a:ext uri="{FF2B5EF4-FFF2-40B4-BE49-F238E27FC236}">
                <a16:creationId xmlns:a16="http://schemas.microsoft.com/office/drawing/2014/main" id="{F360BE1C-BA4D-49C5-86E2-46A87AFB6FAE}"/>
              </a:ext>
            </a:extLst>
          </p:cNvPr>
          <p:cNvSpPr/>
          <p:nvPr/>
        </p:nvSpPr>
        <p:spPr bwMode="auto">
          <a:xfrm>
            <a:off x="2058364" y="386186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IO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sp>
        <p:nvSpPr>
          <p:cNvPr id="689" name="Rectangle 688">
            <a:extLst>
              <a:ext uri="{FF2B5EF4-FFF2-40B4-BE49-F238E27FC236}">
                <a16:creationId xmlns:a16="http://schemas.microsoft.com/office/drawing/2014/main" id="{5D7269AC-D9BE-497F-B451-0C86C1C8CA8F}"/>
              </a:ext>
            </a:extLst>
          </p:cNvPr>
          <p:cNvSpPr/>
          <p:nvPr/>
        </p:nvSpPr>
        <p:spPr bwMode="auto">
          <a:xfrm>
            <a:off x="2058364" y="3062268"/>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ven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grpSp>
        <p:nvGrpSpPr>
          <p:cNvPr id="690" name="Graphic 21">
            <a:extLst>
              <a:ext uri="{FF2B5EF4-FFF2-40B4-BE49-F238E27FC236}">
                <a16:creationId xmlns:a16="http://schemas.microsoft.com/office/drawing/2014/main" id="{A54E208A-B2C6-421D-9F94-EC8D19F45FC7}"/>
              </a:ext>
            </a:extLst>
          </p:cNvPr>
          <p:cNvGrpSpPr/>
          <p:nvPr/>
        </p:nvGrpSpPr>
        <p:grpSpPr>
          <a:xfrm>
            <a:off x="1812867" y="3173105"/>
            <a:ext cx="265478" cy="330601"/>
            <a:chOff x="5653616" y="2462212"/>
            <a:chExt cx="924390" cy="951356"/>
          </a:xfrm>
          <a:solidFill>
            <a:schemeClr val="accent1">
              <a:lumMod val="75000"/>
            </a:schemeClr>
          </a:solidFill>
        </p:grpSpPr>
        <p:sp>
          <p:nvSpPr>
            <p:cNvPr id="691" name="Freeform: Shape 690">
              <a:extLst>
                <a:ext uri="{FF2B5EF4-FFF2-40B4-BE49-F238E27FC236}">
                  <a16:creationId xmlns:a16="http://schemas.microsoft.com/office/drawing/2014/main" id="{B4EDEF35-13B7-4220-A6A9-1A6CC1492109}"/>
                </a:ext>
              </a:extLst>
            </p:cNvPr>
            <p:cNvSpPr/>
            <p:nvPr/>
          </p:nvSpPr>
          <p:spPr>
            <a:xfrm>
              <a:off x="5653616" y="2462212"/>
              <a:ext cx="924348" cy="220122"/>
            </a:xfrm>
            <a:custGeom>
              <a:avLst/>
              <a:gdLst>
                <a:gd name="connsiteX0" fmla="*/ 2709 w 924348"/>
                <a:gd name="connsiteY0" fmla="*/ 0 h 220122"/>
                <a:gd name="connsiteX1" fmla="*/ 2709 w 924348"/>
                <a:gd name="connsiteY1" fmla="*/ 220123 h 220122"/>
                <a:gd name="connsiteX2" fmla="*/ 136440 w 924348"/>
                <a:gd name="connsiteY2" fmla="*/ 220123 h 220122"/>
                <a:gd name="connsiteX3" fmla="*/ 136440 w 924348"/>
                <a:gd name="connsiteY3" fmla="*/ 124016 h 220122"/>
                <a:gd name="connsiteX4" fmla="*/ 800333 w 924348"/>
                <a:gd name="connsiteY4" fmla="*/ 124016 h 220122"/>
                <a:gd name="connsiteX5" fmla="*/ 800333 w 924348"/>
                <a:gd name="connsiteY5" fmla="*/ 220123 h 220122"/>
                <a:gd name="connsiteX6" fmla="*/ 924348 w 924348"/>
                <a:gd name="connsiteY6" fmla="*/ 220123 h 220122"/>
                <a:gd name="connsiteX7" fmla="*/ 924348 w 924348"/>
                <a:gd name="connsiteY7" fmla="*/ 0 h 220122"/>
                <a:gd name="connsiteX8" fmla="*/ 2709 w 924348"/>
                <a:gd name="connsiteY8" fmla="*/ 0 h 2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122">
                  <a:moveTo>
                    <a:pt x="2709" y="0"/>
                  </a:moveTo>
                  <a:cubicBezTo>
                    <a:pt x="2709" y="0"/>
                    <a:pt x="-3387" y="220123"/>
                    <a:pt x="2709" y="220123"/>
                  </a:cubicBezTo>
                  <a:cubicBezTo>
                    <a:pt x="8805" y="220123"/>
                    <a:pt x="136440" y="220123"/>
                    <a:pt x="136440" y="220123"/>
                  </a:cubicBezTo>
                  <a:lnTo>
                    <a:pt x="136440" y="124016"/>
                  </a:lnTo>
                  <a:lnTo>
                    <a:pt x="800333" y="124016"/>
                  </a:lnTo>
                  <a:lnTo>
                    <a:pt x="800333" y="220123"/>
                  </a:lnTo>
                  <a:lnTo>
                    <a:pt x="924348" y="220123"/>
                  </a:lnTo>
                  <a:lnTo>
                    <a:pt x="924348" y="0"/>
                  </a:lnTo>
                  <a:lnTo>
                    <a:pt x="2709"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2" name="Freeform: Shape 691">
              <a:extLst>
                <a:ext uri="{FF2B5EF4-FFF2-40B4-BE49-F238E27FC236}">
                  <a16:creationId xmlns:a16="http://schemas.microsoft.com/office/drawing/2014/main" id="{3B0DE9EB-CBB4-4519-81B5-FDF62170E600}"/>
                </a:ext>
              </a:extLst>
            </p:cNvPr>
            <p:cNvSpPr/>
            <p:nvPr/>
          </p:nvSpPr>
          <p:spPr>
            <a:xfrm>
              <a:off x="5653658" y="3193351"/>
              <a:ext cx="924348" cy="220217"/>
            </a:xfrm>
            <a:custGeom>
              <a:avLst/>
              <a:gdLst>
                <a:gd name="connsiteX0" fmla="*/ 921639 w 924348"/>
                <a:gd name="connsiteY0" fmla="*/ 220123 h 220217"/>
                <a:gd name="connsiteX1" fmla="*/ 921639 w 924348"/>
                <a:gd name="connsiteY1" fmla="*/ 0 h 220217"/>
                <a:gd name="connsiteX2" fmla="*/ 787908 w 924348"/>
                <a:gd name="connsiteY2" fmla="*/ 0 h 220217"/>
                <a:gd name="connsiteX3" fmla="*/ 787908 w 924348"/>
                <a:gd name="connsiteY3" fmla="*/ 96107 h 220217"/>
                <a:gd name="connsiteX4" fmla="*/ 124016 w 924348"/>
                <a:gd name="connsiteY4" fmla="*/ 96107 h 220217"/>
                <a:gd name="connsiteX5" fmla="*/ 124016 w 924348"/>
                <a:gd name="connsiteY5" fmla="*/ 95 h 220217"/>
                <a:gd name="connsiteX6" fmla="*/ 0 w 924348"/>
                <a:gd name="connsiteY6" fmla="*/ 95 h 220217"/>
                <a:gd name="connsiteX7" fmla="*/ 0 w 924348"/>
                <a:gd name="connsiteY7" fmla="*/ 220218 h 220217"/>
                <a:gd name="connsiteX8" fmla="*/ 921639 w 924348"/>
                <a:gd name="connsiteY8" fmla="*/ 220218 h 22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217">
                  <a:moveTo>
                    <a:pt x="921639" y="220123"/>
                  </a:moveTo>
                  <a:cubicBezTo>
                    <a:pt x="921639" y="220123"/>
                    <a:pt x="927735" y="0"/>
                    <a:pt x="921639" y="0"/>
                  </a:cubicBezTo>
                  <a:cubicBezTo>
                    <a:pt x="915543" y="0"/>
                    <a:pt x="787908" y="0"/>
                    <a:pt x="787908" y="0"/>
                  </a:cubicBezTo>
                  <a:lnTo>
                    <a:pt x="787908" y="96107"/>
                  </a:lnTo>
                  <a:lnTo>
                    <a:pt x="124016" y="96107"/>
                  </a:lnTo>
                  <a:lnTo>
                    <a:pt x="124016" y="95"/>
                  </a:lnTo>
                  <a:lnTo>
                    <a:pt x="0" y="95"/>
                  </a:lnTo>
                  <a:lnTo>
                    <a:pt x="0" y="220218"/>
                  </a:lnTo>
                  <a:lnTo>
                    <a:pt x="921639" y="220218"/>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3" name="Freeform: Shape 692">
              <a:extLst>
                <a:ext uri="{FF2B5EF4-FFF2-40B4-BE49-F238E27FC236}">
                  <a16:creationId xmlns:a16="http://schemas.microsoft.com/office/drawing/2014/main" id="{FE50B66E-9C43-4596-9912-8BCE3FD02678}"/>
                </a:ext>
              </a:extLst>
            </p:cNvPr>
            <p:cNvSpPr/>
            <p:nvPr/>
          </p:nvSpPr>
          <p:spPr>
            <a:xfrm>
              <a:off x="5838729" y="268233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4" name="Freeform: Shape 693">
              <a:extLst>
                <a:ext uri="{FF2B5EF4-FFF2-40B4-BE49-F238E27FC236}">
                  <a16:creationId xmlns:a16="http://schemas.microsoft.com/office/drawing/2014/main" id="{95886BDD-CF00-461B-A96F-38F0FF7D4987}"/>
                </a:ext>
              </a:extLst>
            </p:cNvPr>
            <p:cNvSpPr/>
            <p:nvPr/>
          </p:nvSpPr>
          <p:spPr>
            <a:xfrm>
              <a:off x="5838729"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5" name="Freeform: Shape 694">
              <a:extLst>
                <a:ext uri="{FF2B5EF4-FFF2-40B4-BE49-F238E27FC236}">
                  <a16:creationId xmlns:a16="http://schemas.microsoft.com/office/drawing/2014/main" id="{28C23176-5D8B-43A8-8A6A-66D0E57F97A0}"/>
                </a:ext>
              </a:extLst>
            </p:cNvPr>
            <p:cNvSpPr/>
            <p:nvPr/>
          </p:nvSpPr>
          <p:spPr>
            <a:xfrm>
              <a:off x="5838729" y="3065335"/>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6" name="Freeform: Shape 695">
              <a:extLst>
                <a:ext uri="{FF2B5EF4-FFF2-40B4-BE49-F238E27FC236}">
                  <a16:creationId xmlns:a16="http://schemas.microsoft.com/office/drawing/2014/main" id="{0A097EF7-62DA-47FD-AE99-B919A789276A}"/>
                </a:ext>
              </a:extLst>
            </p:cNvPr>
            <p:cNvSpPr/>
            <p:nvPr/>
          </p:nvSpPr>
          <p:spPr>
            <a:xfrm>
              <a:off x="6063709" y="277348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7" name="Freeform: Shape 696">
              <a:extLst>
                <a:ext uri="{FF2B5EF4-FFF2-40B4-BE49-F238E27FC236}">
                  <a16:creationId xmlns:a16="http://schemas.microsoft.com/office/drawing/2014/main" id="{674AAFC0-C12D-4A09-BAFD-B725BA75B19F}"/>
                </a:ext>
              </a:extLst>
            </p:cNvPr>
            <p:cNvSpPr/>
            <p:nvPr/>
          </p:nvSpPr>
          <p:spPr>
            <a:xfrm>
              <a:off x="6063709" y="296808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8" name="Freeform: Shape 697">
              <a:extLst>
                <a:ext uri="{FF2B5EF4-FFF2-40B4-BE49-F238E27FC236}">
                  <a16:creationId xmlns:a16="http://schemas.microsoft.com/office/drawing/2014/main" id="{97FB0EFF-C35F-49A5-8E76-4707F60F1656}"/>
                </a:ext>
              </a:extLst>
            </p:cNvPr>
            <p:cNvSpPr/>
            <p:nvPr/>
          </p:nvSpPr>
          <p:spPr>
            <a:xfrm>
              <a:off x="6294691"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699" name="Picture 698" descr="A picture containing clock&#10;&#10;Description automatically generated">
            <a:extLst>
              <a:ext uri="{FF2B5EF4-FFF2-40B4-BE49-F238E27FC236}">
                <a16:creationId xmlns:a16="http://schemas.microsoft.com/office/drawing/2014/main" id="{CADC2618-ED9B-4485-AB55-983E0E1154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867" y="4683495"/>
            <a:ext cx="341096" cy="429743"/>
          </a:xfrm>
          <a:prstGeom prst="rect">
            <a:avLst/>
          </a:prstGeom>
        </p:spPr>
      </p:pic>
      <p:sp>
        <p:nvSpPr>
          <p:cNvPr id="701" name="Rectangle 700">
            <a:extLst>
              <a:ext uri="{FF2B5EF4-FFF2-40B4-BE49-F238E27FC236}">
                <a16:creationId xmlns:a16="http://schemas.microsoft.com/office/drawing/2014/main" id="{84BCEA7C-533A-43CB-8429-CE082D1ECCFD}"/>
              </a:ext>
            </a:extLst>
          </p:cNvPr>
          <p:cNvSpPr/>
          <p:nvPr/>
        </p:nvSpPr>
        <p:spPr bwMode="auto">
          <a:xfrm>
            <a:off x="6095127" y="6257050"/>
            <a:ext cx="5758943" cy="363496"/>
          </a:xfrm>
          <a:prstGeom prst="rect">
            <a:avLst/>
          </a:prstGeom>
          <a:solidFill>
            <a:schemeClr val="bg1">
              <a:lumMod val="95000"/>
            </a:schemeClr>
          </a:solidFill>
          <a:ln w="6350">
            <a:noFill/>
            <a:prstDash val="solid"/>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702" name="TextBox 701">
            <a:extLst>
              <a:ext uri="{FF2B5EF4-FFF2-40B4-BE49-F238E27FC236}">
                <a16:creationId xmlns:a16="http://schemas.microsoft.com/office/drawing/2014/main" id="{860BE143-B6E2-451B-A808-B0C7ED639E9F}"/>
              </a:ext>
            </a:extLst>
          </p:cNvPr>
          <p:cNvSpPr txBox="1"/>
          <p:nvPr/>
        </p:nvSpPr>
        <p:spPr>
          <a:xfrm>
            <a:off x="6726426"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imeseries data</a:t>
            </a:r>
          </a:p>
        </p:txBody>
      </p:sp>
      <p:sp>
        <p:nvSpPr>
          <p:cNvPr id="703" name="TextBox 702">
            <a:extLst>
              <a:ext uri="{FF2B5EF4-FFF2-40B4-BE49-F238E27FC236}">
                <a16:creationId xmlns:a16="http://schemas.microsoft.com/office/drawing/2014/main" id="{84C5F617-6AFE-4F81-8358-9F5DB505E8AB}"/>
              </a:ext>
            </a:extLst>
          </p:cNvPr>
          <p:cNvSpPr txBox="1"/>
          <p:nvPr/>
        </p:nvSpPr>
        <p:spPr>
          <a:xfrm>
            <a:off x="8458967"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PI requests/returns</a:t>
            </a:r>
          </a:p>
        </p:txBody>
      </p:sp>
      <p:sp>
        <p:nvSpPr>
          <p:cNvPr id="704" name="TextBox 703">
            <a:extLst>
              <a:ext uri="{FF2B5EF4-FFF2-40B4-BE49-F238E27FC236}">
                <a16:creationId xmlns:a16="http://schemas.microsoft.com/office/drawing/2014/main" id="{A5298AE5-DF85-4CEF-9FE4-E6134DCF725C}"/>
              </a:ext>
            </a:extLst>
          </p:cNvPr>
          <p:cNvSpPr txBox="1"/>
          <p:nvPr/>
        </p:nvSpPr>
        <p:spPr>
          <a:xfrm>
            <a:off x="10530988"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I/ML workflow</a:t>
            </a:r>
          </a:p>
        </p:txBody>
      </p:sp>
      <p:pic>
        <p:nvPicPr>
          <p:cNvPr id="711" name="Picture 710">
            <a:extLst>
              <a:ext uri="{FF2B5EF4-FFF2-40B4-BE49-F238E27FC236}">
                <a16:creationId xmlns:a16="http://schemas.microsoft.com/office/drawing/2014/main" id="{3EEF3E7E-4606-469E-918B-5E73F13042BE}"/>
              </a:ext>
            </a:extLst>
          </p:cNvPr>
          <p:cNvPicPr>
            <a:picLocks noChangeAspect="1"/>
          </p:cNvPicPr>
          <p:nvPr/>
        </p:nvPicPr>
        <p:blipFill>
          <a:blip r:embed="rId4">
            <a:duotone>
              <a:schemeClr val="accent1">
                <a:shade val="45000"/>
                <a:satMod val="135000"/>
              </a:schemeClr>
              <a:prstClr val="white"/>
            </a:duotone>
            <a:lum bright="-20000"/>
          </a:blip>
          <a:stretch>
            <a:fillRect/>
          </a:stretch>
        </p:blipFill>
        <p:spPr>
          <a:xfrm>
            <a:off x="3268636" y="3628691"/>
            <a:ext cx="1048388" cy="904388"/>
          </a:xfrm>
          <a:prstGeom prst="rect">
            <a:avLst/>
          </a:prstGeom>
        </p:spPr>
      </p:pic>
      <p:grpSp>
        <p:nvGrpSpPr>
          <p:cNvPr id="712" name="Group 711">
            <a:extLst>
              <a:ext uri="{FF2B5EF4-FFF2-40B4-BE49-F238E27FC236}">
                <a16:creationId xmlns:a16="http://schemas.microsoft.com/office/drawing/2014/main" id="{E164EB82-D039-4887-894E-51C4923A78FC}"/>
              </a:ext>
            </a:extLst>
          </p:cNvPr>
          <p:cNvGrpSpPr/>
          <p:nvPr/>
        </p:nvGrpSpPr>
        <p:grpSpPr>
          <a:xfrm>
            <a:off x="7264352" y="3418948"/>
            <a:ext cx="853216" cy="1372246"/>
            <a:chOff x="7172802" y="3508888"/>
            <a:chExt cx="853216" cy="1372246"/>
          </a:xfrm>
        </p:grpSpPr>
        <p:sp>
          <p:nvSpPr>
            <p:cNvPr id="713" name="Freeform: Shape 712">
              <a:extLst>
                <a:ext uri="{FF2B5EF4-FFF2-40B4-BE49-F238E27FC236}">
                  <a16:creationId xmlns:a16="http://schemas.microsoft.com/office/drawing/2014/main" id="{F8CD40F5-46A7-4519-8B58-FAFB10D7AEC1}"/>
                </a:ext>
              </a:extLst>
            </p:cNvPr>
            <p:cNvSpPr/>
            <p:nvPr/>
          </p:nvSpPr>
          <p:spPr bwMode="auto">
            <a:xfrm>
              <a:off x="7194926" y="4137515"/>
              <a:ext cx="792956" cy="340519"/>
            </a:xfrm>
            <a:custGeom>
              <a:avLst/>
              <a:gdLst>
                <a:gd name="connsiteX0" fmla="*/ 376237 w 792956"/>
                <a:gd name="connsiteY0" fmla="*/ 0 h 340519"/>
                <a:gd name="connsiteX1" fmla="*/ 0 w 792956"/>
                <a:gd name="connsiteY1" fmla="*/ 138113 h 340519"/>
                <a:gd name="connsiteX2" fmla="*/ 388144 w 792956"/>
                <a:gd name="connsiteY2" fmla="*/ 340519 h 340519"/>
                <a:gd name="connsiteX3" fmla="*/ 792956 w 792956"/>
                <a:gd name="connsiteY3" fmla="*/ 154782 h 340519"/>
                <a:gd name="connsiteX4" fmla="*/ 376237 w 792956"/>
                <a:gd name="connsiteY4" fmla="*/ 0 h 34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956" h="340519">
                  <a:moveTo>
                    <a:pt x="376237" y="0"/>
                  </a:moveTo>
                  <a:lnTo>
                    <a:pt x="0" y="138113"/>
                  </a:lnTo>
                  <a:lnTo>
                    <a:pt x="388144" y="340519"/>
                  </a:lnTo>
                  <a:lnTo>
                    <a:pt x="792956" y="154782"/>
                  </a:lnTo>
                  <a:lnTo>
                    <a:pt x="376237"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714" name="Group 713">
              <a:extLst>
                <a:ext uri="{FF2B5EF4-FFF2-40B4-BE49-F238E27FC236}">
                  <a16:creationId xmlns:a16="http://schemas.microsoft.com/office/drawing/2014/main" id="{E459FEE5-218A-41A0-AE19-AC20D4C31241}"/>
                </a:ext>
              </a:extLst>
            </p:cNvPr>
            <p:cNvGrpSpPr/>
            <p:nvPr/>
          </p:nvGrpSpPr>
          <p:grpSpPr>
            <a:xfrm>
              <a:off x="7172802" y="3508888"/>
              <a:ext cx="853216" cy="1372246"/>
              <a:chOff x="7551470" y="2878314"/>
              <a:chExt cx="775651" cy="1247496"/>
            </a:xfrm>
            <a:solidFill>
              <a:schemeClr val="bg1"/>
            </a:solidFill>
          </p:grpSpPr>
          <p:sp>
            <p:nvSpPr>
              <p:cNvPr id="715" name="Freeform: Shape 308">
                <a:extLst>
                  <a:ext uri="{FF2B5EF4-FFF2-40B4-BE49-F238E27FC236}">
                    <a16:creationId xmlns:a16="http://schemas.microsoft.com/office/drawing/2014/main" id="{EB99D797-A179-4F98-A10F-203BC1865686}"/>
                  </a:ext>
                </a:extLst>
              </p:cNvPr>
              <p:cNvSpPr/>
              <p:nvPr/>
            </p:nvSpPr>
            <p:spPr>
              <a:xfrm>
                <a:off x="7551470" y="3426792"/>
                <a:ext cx="775651" cy="699018"/>
              </a:xfrm>
              <a:custGeom>
                <a:avLst/>
                <a:gdLst>
                  <a:gd name="connsiteX0" fmla="*/ 452166 w 457200"/>
                  <a:gd name="connsiteY0" fmla="*/ 74976 h 304800"/>
                  <a:gd name="connsiteX1" fmla="*/ 452166 w 457200"/>
                  <a:gd name="connsiteY1" fmla="*/ 98788 h 304800"/>
                  <a:gd name="connsiteX2" fmla="*/ 220708 w 457200"/>
                  <a:gd name="connsiteY2" fmla="*/ 182608 h 304800"/>
                  <a:gd name="connsiteX3" fmla="*/ 7348 w 457200"/>
                  <a:gd name="connsiteY3" fmla="*/ 95931 h 304800"/>
                  <a:gd name="connsiteX4" fmla="*/ 7348 w 457200"/>
                  <a:gd name="connsiteY4" fmla="*/ 65451 h 304800"/>
                  <a:gd name="connsiteX5" fmla="*/ 220708 w 457200"/>
                  <a:gd name="connsiteY5" fmla="*/ 7348 h 304800"/>
                  <a:gd name="connsiteX6" fmla="*/ 452166 w 457200"/>
                  <a:gd name="connsiteY6" fmla="*/ 74976 h 304800"/>
                  <a:gd name="connsiteX7" fmla="*/ 10205 w 457200"/>
                  <a:gd name="connsiteY7" fmla="*/ 126411 h 304800"/>
                  <a:gd name="connsiteX8" fmla="*/ 220708 w 457200"/>
                  <a:gd name="connsiteY8" fmla="*/ 212136 h 304800"/>
                  <a:gd name="connsiteX9" fmla="*/ 448355 w 457200"/>
                  <a:gd name="connsiteY9" fmla="*/ 129268 h 304800"/>
                  <a:gd name="connsiteX10" fmla="*/ 10205 w 457200"/>
                  <a:gd name="connsiteY10" fmla="*/ 158796 h 304800"/>
                  <a:gd name="connsiteX11" fmla="*/ 220708 w 457200"/>
                  <a:gd name="connsiteY11" fmla="*/ 244521 h 304800"/>
                  <a:gd name="connsiteX12" fmla="*/ 448355 w 457200"/>
                  <a:gd name="connsiteY12" fmla="*/ 161653 h 304800"/>
                  <a:gd name="connsiteX13" fmla="*/ 10205 w 457200"/>
                  <a:gd name="connsiteY13" fmla="*/ 189276 h 304800"/>
                  <a:gd name="connsiteX14" fmla="*/ 220708 w 457200"/>
                  <a:gd name="connsiteY14" fmla="*/ 275001 h 304800"/>
                  <a:gd name="connsiteX15" fmla="*/ 449308 w 457200"/>
                  <a:gd name="connsiteY15" fmla="*/ 192133 h 304800"/>
                  <a:gd name="connsiteX16" fmla="*/ 7348 w 457200"/>
                  <a:gd name="connsiteY16" fmla="*/ 95931 h 304800"/>
                  <a:gd name="connsiteX17" fmla="*/ 7348 w 457200"/>
                  <a:gd name="connsiteY17" fmla="*/ 219756 h 304800"/>
                  <a:gd name="connsiteX18" fmla="*/ 220708 w 457200"/>
                  <a:gd name="connsiteY18" fmla="*/ 306433 h 304800"/>
                  <a:gd name="connsiteX19" fmla="*/ 452166 w 457200"/>
                  <a:gd name="connsiteY19" fmla="*/ 222613 h 304800"/>
                  <a:gd name="connsiteX20" fmla="*/ 452166 w 457200"/>
                  <a:gd name="connsiteY20" fmla="*/ 95931 h 304800"/>
                  <a:gd name="connsiteX21" fmla="*/ 14016 w 457200"/>
                  <a:gd name="connsiteY21" fmla="*/ 68308 h 304800"/>
                  <a:gd name="connsiteX22" fmla="*/ 220708 w 457200"/>
                  <a:gd name="connsiteY22" fmla="*/ 147366 h 304800"/>
                  <a:gd name="connsiteX23" fmla="*/ 439783 w 457200"/>
                  <a:gd name="connsiteY23" fmla="*/ 7497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304800">
                    <a:moveTo>
                      <a:pt x="452166" y="74976"/>
                    </a:moveTo>
                    <a:lnTo>
                      <a:pt x="452166" y="98788"/>
                    </a:lnTo>
                    <a:lnTo>
                      <a:pt x="220708" y="182608"/>
                    </a:lnTo>
                    <a:lnTo>
                      <a:pt x="7348" y="95931"/>
                    </a:lnTo>
                    <a:lnTo>
                      <a:pt x="7348" y="65451"/>
                    </a:lnTo>
                    <a:lnTo>
                      <a:pt x="220708" y="7348"/>
                    </a:lnTo>
                    <a:lnTo>
                      <a:pt x="452166" y="74976"/>
                    </a:lnTo>
                    <a:close/>
                    <a:moveTo>
                      <a:pt x="10205" y="126411"/>
                    </a:moveTo>
                    <a:lnTo>
                      <a:pt x="220708" y="212136"/>
                    </a:lnTo>
                    <a:lnTo>
                      <a:pt x="448355" y="129268"/>
                    </a:lnTo>
                    <a:moveTo>
                      <a:pt x="10205" y="158796"/>
                    </a:moveTo>
                    <a:lnTo>
                      <a:pt x="220708" y="244521"/>
                    </a:lnTo>
                    <a:lnTo>
                      <a:pt x="448355" y="161653"/>
                    </a:lnTo>
                    <a:moveTo>
                      <a:pt x="10205" y="189276"/>
                    </a:moveTo>
                    <a:lnTo>
                      <a:pt x="220708" y="275001"/>
                    </a:lnTo>
                    <a:lnTo>
                      <a:pt x="449308" y="192133"/>
                    </a:lnTo>
                    <a:moveTo>
                      <a:pt x="7348" y="95931"/>
                    </a:moveTo>
                    <a:lnTo>
                      <a:pt x="7348" y="219756"/>
                    </a:lnTo>
                    <a:lnTo>
                      <a:pt x="220708" y="306433"/>
                    </a:lnTo>
                    <a:lnTo>
                      <a:pt x="452166" y="222613"/>
                    </a:lnTo>
                    <a:lnTo>
                      <a:pt x="452166" y="95931"/>
                    </a:lnTo>
                    <a:moveTo>
                      <a:pt x="14016" y="68308"/>
                    </a:moveTo>
                    <a:lnTo>
                      <a:pt x="220708" y="147366"/>
                    </a:lnTo>
                    <a:lnTo>
                      <a:pt x="439783" y="74976"/>
                    </a:lnTo>
                  </a:path>
                </a:pathLst>
              </a:cu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nvGrpSpPr>
              <p:cNvPr id="716" name="Group 715">
                <a:extLst>
                  <a:ext uri="{FF2B5EF4-FFF2-40B4-BE49-F238E27FC236}">
                    <a16:creationId xmlns:a16="http://schemas.microsoft.com/office/drawing/2014/main" id="{7C03A7F8-121C-49EF-9D10-EEBA3AE322C8}"/>
                  </a:ext>
                </a:extLst>
              </p:cNvPr>
              <p:cNvGrpSpPr/>
              <p:nvPr/>
            </p:nvGrpSpPr>
            <p:grpSpPr>
              <a:xfrm>
                <a:off x="7621836" y="2878314"/>
                <a:ext cx="593389" cy="533513"/>
                <a:chOff x="665019" y="3039690"/>
                <a:chExt cx="542084" cy="536126"/>
              </a:xfrm>
              <a:grpFill/>
            </p:grpSpPr>
            <p:sp>
              <p:nvSpPr>
                <p:cNvPr id="717" name="Freeform: Shape 339">
                  <a:extLst>
                    <a:ext uri="{FF2B5EF4-FFF2-40B4-BE49-F238E27FC236}">
                      <a16:creationId xmlns:a16="http://schemas.microsoft.com/office/drawing/2014/main" id="{64274CF0-B2FD-42D4-B620-FA6A0BB846C1}"/>
                    </a:ext>
                  </a:extLst>
                </p:cNvPr>
                <p:cNvSpPr/>
                <p:nvPr/>
              </p:nvSpPr>
              <p:spPr>
                <a:xfrm>
                  <a:off x="818994" y="3039690"/>
                  <a:ext cx="236514" cy="266992"/>
                </a:xfrm>
                <a:custGeom>
                  <a:avLst/>
                  <a:gdLst>
                    <a:gd name="connsiteX0" fmla="*/ 277178 w 554355"/>
                    <a:gd name="connsiteY0" fmla="*/ 277178 h 625792"/>
                    <a:gd name="connsiteX1" fmla="*/ 277178 w 554355"/>
                    <a:gd name="connsiteY1" fmla="*/ 624840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7178"/>
                      </a:moveTo>
                      <a:lnTo>
                        <a:pt x="277178" y="624840"/>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18" name="Freeform: Shape 340">
                  <a:extLst>
                    <a:ext uri="{FF2B5EF4-FFF2-40B4-BE49-F238E27FC236}">
                      <a16:creationId xmlns:a16="http://schemas.microsoft.com/office/drawing/2014/main" id="{DEDC13D1-AD46-4C0A-9FC6-21ED1F91D8CF}"/>
                    </a:ext>
                  </a:extLst>
                </p:cNvPr>
                <p:cNvSpPr/>
                <p:nvPr/>
              </p:nvSpPr>
              <p:spPr>
                <a:xfrm>
                  <a:off x="97058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19" name="Freeform: Shape 341">
                  <a:extLst>
                    <a:ext uri="{FF2B5EF4-FFF2-40B4-BE49-F238E27FC236}">
                      <a16:creationId xmlns:a16="http://schemas.microsoft.com/office/drawing/2014/main" id="{88E66696-89F5-43FB-88F5-50EC759B3B12}"/>
                    </a:ext>
                  </a:extLst>
                </p:cNvPr>
                <p:cNvSpPr/>
                <p:nvPr/>
              </p:nvSpPr>
              <p:spPr>
                <a:xfrm>
                  <a:off x="66501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grpSp>
      <p:sp>
        <p:nvSpPr>
          <p:cNvPr id="720" name="Rectangle 719">
            <a:extLst>
              <a:ext uri="{FF2B5EF4-FFF2-40B4-BE49-F238E27FC236}">
                <a16:creationId xmlns:a16="http://schemas.microsoft.com/office/drawing/2014/main" id="{0CAC77B6-AD05-41EF-A072-B60670AA3282}"/>
              </a:ext>
            </a:extLst>
          </p:cNvPr>
          <p:cNvSpPr/>
          <p:nvPr/>
        </p:nvSpPr>
        <p:spPr bwMode="auto">
          <a:xfrm>
            <a:off x="6912935" y="2976680"/>
            <a:ext cx="1556050" cy="390278"/>
          </a:xfrm>
          <a:prstGeom prst="rect">
            <a:avLst/>
          </a:prstGeom>
          <a:no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TIME SERIES </a:t>
            </a:r>
            <a:b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MODEL</a:t>
            </a:r>
          </a:p>
        </p:txBody>
      </p:sp>
      <p:grpSp>
        <p:nvGrpSpPr>
          <p:cNvPr id="745" name="Group 744">
            <a:extLst>
              <a:ext uri="{FF2B5EF4-FFF2-40B4-BE49-F238E27FC236}">
                <a16:creationId xmlns:a16="http://schemas.microsoft.com/office/drawing/2014/main" id="{1A85B717-89F6-48C3-8994-A66A2D906900}"/>
              </a:ext>
            </a:extLst>
          </p:cNvPr>
          <p:cNvGrpSpPr/>
          <p:nvPr/>
        </p:nvGrpSpPr>
        <p:grpSpPr>
          <a:xfrm>
            <a:off x="5253390" y="1227755"/>
            <a:ext cx="548640" cy="548640"/>
            <a:chOff x="4258502" y="2265815"/>
            <a:chExt cx="844109" cy="844111"/>
          </a:xfrm>
        </p:grpSpPr>
        <p:sp>
          <p:nvSpPr>
            <p:cNvPr id="746" name="Oval 745">
              <a:extLst>
                <a:ext uri="{FF2B5EF4-FFF2-40B4-BE49-F238E27FC236}">
                  <a16:creationId xmlns:a16="http://schemas.microsoft.com/office/drawing/2014/main" id="{1A6BFA51-38A3-488A-B50F-54933CB1294D}"/>
                </a:ext>
                <a:ext uri="{C183D7F6-B498-43B3-948B-1728B52AA6E4}">
                  <adec:decorative xmlns:adec="http://schemas.microsoft.com/office/drawing/2017/decorative" val="1"/>
                </a:ext>
              </a:extLst>
            </p:cNvPr>
            <p:cNvSpPr/>
            <p:nvPr/>
          </p:nvSpPr>
          <p:spPr bwMode="auto">
            <a:xfrm>
              <a:off x="4258502" y="2265815"/>
              <a:ext cx="844109" cy="844111"/>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7" name="Database_EFC7" title="Icon of a cylinder">
              <a:extLst>
                <a:ext uri="{FF2B5EF4-FFF2-40B4-BE49-F238E27FC236}">
                  <a16:creationId xmlns:a16="http://schemas.microsoft.com/office/drawing/2014/main" id="{F2B6FCD5-C2C8-4FB6-ABF2-3C3678E9B653}"/>
                </a:ext>
              </a:extLst>
            </p:cNvPr>
            <p:cNvSpPr>
              <a:spLocks noChangeAspect="1" noEditPoints="1"/>
            </p:cNvSpPr>
            <p:nvPr/>
          </p:nvSpPr>
          <p:spPr bwMode="auto">
            <a:xfrm>
              <a:off x="4501709" y="2455397"/>
              <a:ext cx="357695" cy="4649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748" name="Group 747">
            <a:extLst>
              <a:ext uri="{FF2B5EF4-FFF2-40B4-BE49-F238E27FC236}">
                <a16:creationId xmlns:a16="http://schemas.microsoft.com/office/drawing/2014/main" id="{7FFE3C32-277D-4231-A46E-6F2792ADCCF3}"/>
              </a:ext>
            </a:extLst>
          </p:cNvPr>
          <p:cNvGrpSpPr/>
          <p:nvPr/>
        </p:nvGrpSpPr>
        <p:grpSpPr>
          <a:xfrm>
            <a:off x="7404888" y="1227755"/>
            <a:ext cx="548640" cy="548640"/>
            <a:chOff x="7089384" y="2265815"/>
            <a:chExt cx="844109" cy="844111"/>
          </a:xfrm>
        </p:grpSpPr>
        <p:sp>
          <p:nvSpPr>
            <p:cNvPr id="749" name="Oval 748">
              <a:extLst>
                <a:ext uri="{FF2B5EF4-FFF2-40B4-BE49-F238E27FC236}">
                  <a16:creationId xmlns:a16="http://schemas.microsoft.com/office/drawing/2014/main" id="{15EA95C4-46DB-4163-BD55-053B3C2BBEEB}"/>
                </a:ext>
                <a:ext uri="{C183D7F6-B498-43B3-948B-1728B52AA6E4}">
                  <adec:decorative xmlns:adec="http://schemas.microsoft.com/office/drawing/2017/decorative" val="1"/>
                </a:ext>
              </a:extLst>
            </p:cNvPr>
            <p:cNvSpPr/>
            <p:nvPr/>
          </p:nvSpPr>
          <p:spPr bwMode="auto">
            <a:xfrm>
              <a:off x="7089384" y="2265815"/>
              <a:ext cx="844109" cy="844111"/>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0" name="Group 749">
              <a:extLst>
                <a:ext uri="{FF2B5EF4-FFF2-40B4-BE49-F238E27FC236}">
                  <a16:creationId xmlns:a16="http://schemas.microsoft.com/office/drawing/2014/main" id="{E1228189-3FCD-4786-B424-EF73391D679D}"/>
                </a:ext>
              </a:extLst>
            </p:cNvPr>
            <p:cNvGrpSpPr/>
            <p:nvPr/>
          </p:nvGrpSpPr>
          <p:grpSpPr>
            <a:xfrm>
              <a:off x="7256105" y="2422002"/>
              <a:ext cx="510665" cy="466758"/>
              <a:chOff x="665019" y="3030792"/>
              <a:chExt cx="542084" cy="545024"/>
            </a:xfrm>
          </p:grpSpPr>
          <p:sp>
            <p:nvSpPr>
              <p:cNvPr id="751" name="Freeform: Shape 750">
                <a:extLst>
                  <a:ext uri="{FF2B5EF4-FFF2-40B4-BE49-F238E27FC236}">
                    <a16:creationId xmlns:a16="http://schemas.microsoft.com/office/drawing/2014/main" id="{D01ABA74-4196-4532-89E4-85281675C6D1}"/>
                  </a:ext>
                </a:extLst>
              </p:cNvPr>
              <p:cNvSpPr/>
              <p:nvPr/>
            </p:nvSpPr>
            <p:spPr>
              <a:xfrm>
                <a:off x="818994" y="3030792"/>
                <a:ext cx="236514" cy="266991"/>
              </a:xfrm>
              <a:custGeom>
                <a:avLst/>
                <a:gdLst>
                  <a:gd name="connsiteX0" fmla="*/ 277178 w 554355"/>
                  <a:gd name="connsiteY0" fmla="*/ 277178 h 625792"/>
                  <a:gd name="connsiteX1" fmla="*/ 277178 w 554355"/>
                  <a:gd name="connsiteY1" fmla="*/ 624840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7178"/>
                    </a:moveTo>
                    <a:lnTo>
                      <a:pt x="277178" y="624840"/>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52" name="Freeform: Shape 751">
                <a:extLst>
                  <a:ext uri="{FF2B5EF4-FFF2-40B4-BE49-F238E27FC236}">
                    <a16:creationId xmlns:a16="http://schemas.microsoft.com/office/drawing/2014/main" id="{E3D4B92F-98BA-4FE5-837C-55D278D75C61}"/>
                  </a:ext>
                </a:extLst>
              </p:cNvPr>
              <p:cNvSpPr/>
              <p:nvPr/>
            </p:nvSpPr>
            <p:spPr>
              <a:xfrm>
                <a:off x="97058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53" name="Freeform: Shape 752">
                <a:extLst>
                  <a:ext uri="{FF2B5EF4-FFF2-40B4-BE49-F238E27FC236}">
                    <a16:creationId xmlns:a16="http://schemas.microsoft.com/office/drawing/2014/main" id="{0CD794AF-11DE-44F9-99DF-DF262B35D6F4}"/>
                  </a:ext>
                </a:extLst>
              </p:cNvPr>
              <p:cNvSpPr/>
              <p:nvPr/>
            </p:nvSpPr>
            <p:spPr>
              <a:xfrm>
                <a:off x="66501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grpSp>
        <p:nvGrpSpPr>
          <p:cNvPr id="757" name="Graphic 276">
            <a:extLst>
              <a:ext uri="{FF2B5EF4-FFF2-40B4-BE49-F238E27FC236}">
                <a16:creationId xmlns:a16="http://schemas.microsoft.com/office/drawing/2014/main" id="{59836AB3-2734-4820-BF9A-7EA5C454009C}"/>
              </a:ext>
            </a:extLst>
          </p:cNvPr>
          <p:cNvGrpSpPr/>
          <p:nvPr/>
        </p:nvGrpSpPr>
        <p:grpSpPr>
          <a:xfrm>
            <a:off x="5270118" y="3238488"/>
            <a:ext cx="510189" cy="716571"/>
            <a:chOff x="5755481" y="2939577"/>
            <a:chExt cx="680085" cy="955195"/>
          </a:xfrm>
          <a:solidFill>
            <a:schemeClr val="bg1"/>
          </a:solidFill>
        </p:grpSpPr>
        <p:sp>
          <p:nvSpPr>
            <p:cNvPr id="758" name="Freeform: Shape 278">
              <a:extLst>
                <a:ext uri="{FF2B5EF4-FFF2-40B4-BE49-F238E27FC236}">
                  <a16:creationId xmlns:a16="http://schemas.microsoft.com/office/drawing/2014/main" id="{757D88D6-C53C-4F6F-BEF2-0D7BB58C3A34}"/>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9" name="Freeform: Shape 279">
              <a:extLst>
                <a:ext uri="{FF2B5EF4-FFF2-40B4-BE49-F238E27FC236}">
                  <a16:creationId xmlns:a16="http://schemas.microsoft.com/office/drawing/2014/main" id="{60721AB8-49B4-45E0-AFD7-39E318164113}"/>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0" name="Freeform: Shape 280">
              <a:extLst>
                <a:ext uri="{FF2B5EF4-FFF2-40B4-BE49-F238E27FC236}">
                  <a16:creationId xmlns:a16="http://schemas.microsoft.com/office/drawing/2014/main" id="{1FEDAE4D-D278-4EDD-BD8E-D0813A337779}"/>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1" name="Freeform: Shape 281">
              <a:extLst>
                <a:ext uri="{FF2B5EF4-FFF2-40B4-BE49-F238E27FC236}">
                  <a16:creationId xmlns:a16="http://schemas.microsoft.com/office/drawing/2014/main" id="{15F2BBA0-2304-49C6-B7EB-CD1D0C187C21}"/>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62" name="Graphic 276">
            <a:extLst>
              <a:ext uri="{FF2B5EF4-FFF2-40B4-BE49-F238E27FC236}">
                <a16:creationId xmlns:a16="http://schemas.microsoft.com/office/drawing/2014/main" id="{0D209FFE-E2CE-4762-89A4-D7EC7FE025D5}"/>
              </a:ext>
            </a:extLst>
          </p:cNvPr>
          <p:cNvGrpSpPr/>
          <p:nvPr/>
        </p:nvGrpSpPr>
        <p:grpSpPr>
          <a:xfrm>
            <a:off x="5269447" y="4182268"/>
            <a:ext cx="510189" cy="716571"/>
            <a:chOff x="5755481" y="2939577"/>
            <a:chExt cx="680085" cy="955195"/>
          </a:xfrm>
          <a:solidFill>
            <a:schemeClr val="bg1"/>
          </a:solidFill>
        </p:grpSpPr>
        <p:sp>
          <p:nvSpPr>
            <p:cNvPr id="763" name="Freeform: Shape 288">
              <a:extLst>
                <a:ext uri="{FF2B5EF4-FFF2-40B4-BE49-F238E27FC236}">
                  <a16:creationId xmlns:a16="http://schemas.microsoft.com/office/drawing/2014/main" id="{BDF25443-9A1A-41BD-A5FD-8A8959215C62}"/>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4" name="Freeform: Shape 289">
              <a:extLst>
                <a:ext uri="{FF2B5EF4-FFF2-40B4-BE49-F238E27FC236}">
                  <a16:creationId xmlns:a16="http://schemas.microsoft.com/office/drawing/2014/main" id="{FFF43689-AC2C-4A97-9A19-DC8A7752416B}"/>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5" name="Freeform: Shape 290">
              <a:extLst>
                <a:ext uri="{FF2B5EF4-FFF2-40B4-BE49-F238E27FC236}">
                  <a16:creationId xmlns:a16="http://schemas.microsoft.com/office/drawing/2014/main" id="{98A06FAD-CA1D-409B-84BC-5C02594895E1}"/>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6" name="Freeform: Shape 291">
              <a:extLst>
                <a:ext uri="{FF2B5EF4-FFF2-40B4-BE49-F238E27FC236}">
                  <a16:creationId xmlns:a16="http://schemas.microsoft.com/office/drawing/2014/main" id="{3E52BD4B-0792-4152-8FA4-A29D216640B0}"/>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7" name="Rectangle 766">
            <a:extLst>
              <a:ext uri="{FF2B5EF4-FFF2-40B4-BE49-F238E27FC236}">
                <a16:creationId xmlns:a16="http://schemas.microsoft.com/office/drawing/2014/main" id="{92951448-5D52-47E2-B755-D7FE097A7778}"/>
              </a:ext>
            </a:extLst>
          </p:cNvPr>
          <p:cNvSpPr/>
          <p:nvPr/>
        </p:nvSpPr>
        <p:spPr bwMode="auto">
          <a:xfrm>
            <a:off x="4993139" y="4754502"/>
            <a:ext cx="1062804" cy="556260"/>
          </a:xfrm>
          <a:prstGeom prst="rect">
            <a:avLst/>
          </a:prstGeom>
          <a:noFill/>
          <a:ln>
            <a:noFill/>
          </a:ln>
        </p:spPr>
        <p:txBody>
          <a:bodyPr vert="horz" wrap="square" lIns="91440" tIns="45720" rIns="91440" bIns="4572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WARM STORE</a:t>
            </a:r>
          </a:p>
        </p:txBody>
      </p:sp>
      <p:cxnSp>
        <p:nvCxnSpPr>
          <p:cNvPr id="770" name="Straight Connector 769">
            <a:extLst>
              <a:ext uri="{FF2B5EF4-FFF2-40B4-BE49-F238E27FC236}">
                <a16:creationId xmlns:a16="http://schemas.microsoft.com/office/drawing/2014/main" id="{8917EAA2-6679-41BE-8886-35BFB743A6EB}"/>
              </a:ext>
            </a:extLst>
          </p:cNvPr>
          <p:cNvCxnSpPr/>
          <p:nvPr/>
        </p:nvCxnSpPr>
        <p:spPr>
          <a:xfrm>
            <a:off x="6313117" y="6438798"/>
            <a:ext cx="340242" cy="0"/>
          </a:xfrm>
          <a:prstGeom prst="line">
            <a:avLst/>
          </a:prstGeom>
          <a:ln w="28575">
            <a:solidFill>
              <a:schemeClr val="accent3"/>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71" name="Straight Connector 770">
            <a:extLst>
              <a:ext uri="{FF2B5EF4-FFF2-40B4-BE49-F238E27FC236}">
                <a16:creationId xmlns:a16="http://schemas.microsoft.com/office/drawing/2014/main" id="{2B11EFDB-EDC2-4307-BAC8-3535D34A9A11}"/>
              </a:ext>
            </a:extLst>
          </p:cNvPr>
          <p:cNvCxnSpPr/>
          <p:nvPr/>
        </p:nvCxnSpPr>
        <p:spPr>
          <a:xfrm>
            <a:off x="8045658" y="6438798"/>
            <a:ext cx="340242" cy="0"/>
          </a:xfrm>
          <a:prstGeom prst="line">
            <a:avLst/>
          </a:prstGeom>
          <a:ln w="28575">
            <a:solidFill>
              <a:schemeClr val="accent4"/>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87" name="Straight Connector 786">
            <a:extLst>
              <a:ext uri="{FF2B5EF4-FFF2-40B4-BE49-F238E27FC236}">
                <a16:creationId xmlns:a16="http://schemas.microsoft.com/office/drawing/2014/main" id="{F7DF7F90-47C5-484D-813E-F22F617BC409}"/>
              </a:ext>
            </a:extLst>
          </p:cNvPr>
          <p:cNvCxnSpPr/>
          <p:nvPr/>
        </p:nvCxnSpPr>
        <p:spPr>
          <a:xfrm>
            <a:off x="10117679" y="6438798"/>
            <a:ext cx="340242" cy="0"/>
          </a:xfrm>
          <a:prstGeom prst="line">
            <a:avLst/>
          </a:prstGeom>
          <a:ln w="28575">
            <a:solidFill>
              <a:srgbClr val="E3591B"/>
            </a:solidFill>
            <a:prstDash val="solid"/>
            <a:tailEnd type="none" w="lg" len="med"/>
          </a:ln>
        </p:spPr>
        <p:style>
          <a:lnRef idx="1">
            <a:schemeClr val="accent1"/>
          </a:lnRef>
          <a:fillRef idx="0">
            <a:schemeClr val="accent1"/>
          </a:fillRef>
          <a:effectRef idx="0">
            <a:schemeClr val="accent1"/>
          </a:effectRef>
          <a:fontRef idx="minor">
            <a:schemeClr val="tx1"/>
          </a:fontRef>
        </p:style>
      </p:cxnSp>
      <p:grpSp>
        <p:nvGrpSpPr>
          <p:cNvPr id="795" name="Group 794">
            <a:extLst>
              <a:ext uri="{FF2B5EF4-FFF2-40B4-BE49-F238E27FC236}">
                <a16:creationId xmlns:a16="http://schemas.microsoft.com/office/drawing/2014/main" id="{A65F7EE3-1BFF-43F5-9FF5-270103E79B4A}"/>
              </a:ext>
            </a:extLst>
          </p:cNvPr>
          <p:cNvGrpSpPr/>
          <p:nvPr/>
        </p:nvGrpSpPr>
        <p:grpSpPr>
          <a:xfrm>
            <a:off x="3594648" y="2747945"/>
            <a:ext cx="353076" cy="381008"/>
            <a:chOff x="3218968" y="2962504"/>
            <a:chExt cx="388384" cy="419109"/>
          </a:xfrm>
        </p:grpSpPr>
        <p:pic>
          <p:nvPicPr>
            <p:cNvPr id="796" name="Picture 795">
              <a:extLst>
                <a:ext uri="{FF2B5EF4-FFF2-40B4-BE49-F238E27FC236}">
                  <a16:creationId xmlns:a16="http://schemas.microsoft.com/office/drawing/2014/main" id="{A61D309F-9830-4647-8A78-1EE21D2F5D4E}"/>
                </a:ext>
              </a:extLst>
            </p:cNvPr>
            <p:cNvPicPr>
              <a:picLocks noChangeAspect="1"/>
            </p:cNvPicPr>
            <p:nvPr/>
          </p:nvPicPr>
          <p:blipFill>
            <a:blip r:embed="rId5">
              <a:duotone>
                <a:schemeClr val="bg2">
                  <a:shade val="45000"/>
                  <a:satMod val="135000"/>
                </a:schemeClr>
                <a:prstClr val="white"/>
              </a:duotone>
              <a:lum bright="40000" contrast="40000"/>
            </a:blip>
            <a:stretch>
              <a:fillRect/>
            </a:stretch>
          </p:blipFill>
          <p:spPr>
            <a:xfrm>
              <a:off x="3331329" y="2962504"/>
              <a:ext cx="150917" cy="150917"/>
            </a:xfrm>
            <a:prstGeom prst="rect">
              <a:avLst/>
            </a:prstGeom>
          </p:spPr>
        </p:pic>
        <p:pic>
          <p:nvPicPr>
            <p:cNvPr id="797" name="Picture 796">
              <a:extLst>
                <a:ext uri="{FF2B5EF4-FFF2-40B4-BE49-F238E27FC236}">
                  <a16:creationId xmlns:a16="http://schemas.microsoft.com/office/drawing/2014/main" id="{4894FA30-4DDA-4BDE-9C5E-9534D5FDD266}"/>
                </a:ext>
              </a:extLst>
            </p:cNvPr>
            <p:cNvPicPr>
              <a:picLocks noChangeAspect="1"/>
            </p:cNvPicPr>
            <p:nvPr/>
          </p:nvPicPr>
          <p:blipFill>
            <a:blip r:embed="rId5">
              <a:duotone>
                <a:schemeClr val="bg2">
                  <a:shade val="45000"/>
                  <a:satMod val="135000"/>
                </a:schemeClr>
                <a:prstClr val="white"/>
              </a:duotone>
              <a:lum bright="40000" contrast="40000"/>
            </a:blip>
            <a:stretch>
              <a:fillRect/>
            </a:stretch>
          </p:blipFill>
          <p:spPr>
            <a:xfrm>
              <a:off x="3456435" y="3051218"/>
              <a:ext cx="150917" cy="150917"/>
            </a:xfrm>
            <a:prstGeom prst="rect">
              <a:avLst/>
            </a:prstGeom>
          </p:spPr>
        </p:pic>
        <p:pic>
          <p:nvPicPr>
            <p:cNvPr id="798" name="Graphic 797">
              <a:extLst>
                <a:ext uri="{FF2B5EF4-FFF2-40B4-BE49-F238E27FC236}">
                  <a16:creationId xmlns:a16="http://schemas.microsoft.com/office/drawing/2014/main" id="{09F8ABF0-A85F-45F5-8DA6-427B4715614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18968" y="3130350"/>
              <a:ext cx="251263" cy="251263"/>
            </a:xfrm>
            <a:prstGeom prst="rect">
              <a:avLst/>
            </a:prstGeom>
          </p:spPr>
        </p:pic>
      </p:grpSp>
      <p:cxnSp>
        <p:nvCxnSpPr>
          <p:cNvPr id="800" name="Connector: Elbow 799">
            <a:extLst>
              <a:ext uri="{FF2B5EF4-FFF2-40B4-BE49-F238E27FC236}">
                <a16:creationId xmlns:a16="http://schemas.microsoft.com/office/drawing/2014/main" id="{EAA42AA4-E856-4A1F-BE5D-12D36607B46B}"/>
              </a:ext>
            </a:extLst>
          </p:cNvPr>
          <p:cNvCxnSpPr>
            <a:cxnSpLocks/>
            <a:stCxn id="682" idx="1"/>
            <a:endCxn id="684" idx="1"/>
          </p:cNvCxnSpPr>
          <p:nvPr/>
        </p:nvCxnSpPr>
        <p:spPr>
          <a:xfrm rot="10800000">
            <a:off x="5170163" y="3724396"/>
            <a:ext cx="12700" cy="735856"/>
          </a:xfrm>
          <a:prstGeom prst="bentConnector3">
            <a:avLst>
              <a:gd name="adj1" fmla="val 1800000"/>
            </a:avLst>
          </a:prstGeom>
          <a:ln w="12700">
            <a:solidFill>
              <a:schemeClr val="accent3"/>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801" name="Rounded Rectangle 21">
            <a:extLst>
              <a:ext uri="{FF2B5EF4-FFF2-40B4-BE49-F238E27FC236}">
                <a16:creationId xmlns:a16="http://schemas.microsoft.com/office/drawing/2014/main" id="{7AB99913-F5A6-4BBD-89FB-A81D811BF90A}"/>
              </a:ext>
            </a:extLst>
          </p:cNvPr>
          <p:cNvSpPr/>
          <p:nvPr/>
        </p:nvSpPr>
        <p:spPr bwMode="auto">
          <a:xfrm>
            <a:off x="3238883" y="4607189"/>
            <a:ext cx="1081260" cy="324083"/>
          </a:xfrm>
          <a:prstGeom prst="roundRect">
            <a:avLst>
              <a:gd name="adj" fmla="val 274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tream </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processing</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ngine</a:t>
            </a:r>
          </a:p>
        </p:txBody>
      </p:sp>
      <p:sp>
        <p:nvSpPr>
          <p:cNvPr id="802" name="Arrow: Pentagon 801">
            <a:extLst>
              <a:ext uri="{FF2B5EF4-FFF2-40B4-BE49-F238E27FC236}">
                <a16:creationId xmlns:a16="http://schemas.microsoft.com/office/drawing/2014/main" id="{FD45825F-530C-4721-9658-BA4F801AFDA1}"/>
              </a:ext>
              <a:ext uri="{C183D7F6-B498-43B3-948B-1728B52AA6E4}">
                <adec:decorative xmlns:adec="http://schemas.microsoft.com/office/drawing/2017/decorative" val="1"/>
              </a:ext>
            </a:extLst>
          </p:cNvPr>
          <p:cNvSpPr/>
          <p:nvPr/>
        </p:nvSpPr>
        <p:spPr>
          <a:xfrm>
            <a:off x="411479" y="1342055"/>
            <a:ext cx="4077732" cy="320040"/>
          </a:xfrm>
          <a:prstGeom prst="homePlate">
            <a:avLst>
              <a:gd name="adj" fmla="val 35480"/>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Collect</a:t>
            </a:r>
          </a:p>
        </p:txBody>
      </p:sp>
      <p:sp>
        <p:nvSpPr>
          <p:cNvPr id="803" name="Rectangle 802">
            <a:extLst>
              <a:ext uri="{FF2B5EF4-FFF2-40B4-BE49-F238E27FC236}">
                <a16:creationId xmlns:a16="http://schemas.microsoft.com/office/drawing/2014/main" id="{47AE36BD-8540-46CE-AF5F-BA35D56AC44B}"/>
              </a:ext>
              <a:ext uri="{C183D7F6-B498-43B3-948B-1728B52AA6E4}">
                <adec:decorative xmlns:adec="http://schemas.microsoft.com/office/drawing/2017/decorative" val="1"/>
              </a:ext>
            </a:extLst>
          </p:cNvPr>
          <p:cNvSpPr/>
          <p:nvPr/>
        </p:nvSpPr>
        <p:spPr>
          <a:xfrm>
            <a:off x="411479" y="5955277"/>
            <a:ext cx="3982516" cy="91440"/>
          </a:xfrm>
          <a:prstGeom prst="rect">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cxnSp>
        <p:nvCxnSpPr>
          <p:cNvPr id="806" name="Straight Arrow Connector 805">
            <a:extLst>
              <a:ext uri="{FF2B5EF4-FFF2-40B4-BE49-F238E27FC236}">
                <a16:creationId xmlns:a16="http://schemas.microsoft.com/office/drawing/2014/main" id="{CF816F6A-2B95-4FC8-A6F1-6EF4978937E5}"/>
              </a:ext>
            </a:extLst>
          </p:cNvPr>
          <p:cNvCxnSpPr>
            <a:cxnSpLocks/>
          </p:cNvCxnSpPr>
          <p:nvPr/>
        </p:nvCxnSpPr>
        <p:spPr>
          <a:xfrm flipV="1">
            <a:off x="3771343" y="3276744"/>
            <a:ext cx="0" cy="285208"/>
          </a:xfrm>
          <a:prstGeom prst="straightConnector1">
            <a:avLst/>
          </a:prstGeom>
          <a:ln w="12700">
            <a:solidFill>
              <a:schemeClr val="accent3"/>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15" name="Straight Arrow Connector 814">
            <a:extLst>
              <a:ext uri="{FF2B5EF4-FFF2-40B4-BE49-F238E27FC236}">
                <a16:creationId xmlns:a16="http://schemas.microsoft.com/office/drawing/2014/main" id="{34D7CF4F-9A0B-4028-AAF4-98F747BCDAFE}"/>
              </a:ext>
            </a:extLst>
          </p:cNvPr>
          <p:cNvCxnSpPr>
            <a:cxnSpLocks/>
          </p:cNvCxnSpPr>
          <p:nvPr/>
        </p:nvCxnSpPr>
        <p:spPr>
          <a:xfrm>
            <a:off x="4421200" y="4111386"/>
            <a:ext cx="532030" cy="0"/>
          </a:xfrm>
          <a:prstGeom prst="straightConnector1">
            <a:avLst/>
          </a:prstGeom>
          <a:ln w="12700">
            <a:solidFill>
              <a:schemeClr val="accent3"/>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grpSp>
        <p:nvGrpSpPr>
          <p:cNvPr id="818" name="Group 817">
            <a:extLst>
              <a:ext uri="{FF2B5EF4-FFF2-40B4-BE49-F238E27FC236}">
                <a16:creationId xmlns:a16="http://schemas.microsoft.com/office/drawing/2014/main" id="{7669C63A-3275-4E9D-9449-73584ECCD126}"/>
              </a:ext>
            </a:extLst>
          </p:cNvPr>
          <p:cNvGrpSpPr/>
          <p:nvPr/>
        </p:nvGrpSpPr>
        <p:grpSpPr>
          <a:xfrm>
            <a:off x="2190205" y="1227755"/>
            <a:ext cx="548640" cy="548640"/>
            <a:chOff x="1427625" y="2265815"/>
            <a:chExt cx="844109" cy="844111"/>
          </a:xfrm>
        </p:grpSpPr>
        <p:sp>
          <p:nvSpPr>
            <p:cNvPr id="819" name="Oval 818">
              <a:extLst>
                <a:ext uri="{FF2B5EF4-FFF2-40B4-BE49-F238E27FC236}">
                  <a16:creationId xmlns:a16="http://schemas.microsoft.com/office/drawing/2014/main" id="{E7826914-5A41-4695-872D-BF1A15BE980B}"/>
                </a:ext>
                <a:ext uri="{C183D7F6-B498-43B3-948B-1728B52AA6E4}">
                  <adec:decorative xmlns:adec="http://schemas.microsoft.com/office/drawing/2017/decorative" val="1"/>
                </a:ext>
              </a:extLst>
            </p:cNvPr>
            <p:cNvSpPr/>
            <p:nvPr/>
          </p:nvSpPr>
          <p:spPr bwMode="auto">
            <a:xfrm>
              <a:off x="1427625" y="2265815"/>
              <a:ext cx="844109" cy="844111"/>
            </a:xfrm>
            <a:prstGeom prst="ellipse">
              <a:avLst/>
            </a:prstGeom>
            <a:solidFill>
              <a:schemeClr val="accent1">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20" name="Group 819">
              <a:extLst>
                <a:ext uri="{FF2B5EF4-FFF2-40B4-BE49-F238E27FC236}">
                  <a16:creationId xmlns:a16="http://schemas.microsoft.com/office/drawing/2014/main" id="{F3FFF6BD-9552-4410-B2C6-3B418AC6CFB9}"/>
                </a:ext>
              </a:extLst>
            </p:cNvPr>
            <p:cNvGrpSpPr/>
            <p:nvPr/>
          </p:nvGrpSpPr>
          <p:grpSpPr>
            <a:xfrm>
              <a:off x="1653837" y="2463440"/>
              <a:ext cx="425119" cy="425320"/>
              <a:chOff x="2809993" y="1208899"/>
              <a:chExt cx="365586" cy="365760"/>
            </a:xfrm>
          </p:grpSpPr>
          <p:sp>
            <p:nvSpPr>
              <p:cNvPr id="821" name="BackToWindow_E73F" title="Icon of two arrows pointing towards eachother">
                <a:extLst>
                  <a:ext uri="{FF2B5EF4-FFF2-40B4-BE49-F238E27FC236}">
                    <a16:creationId xmlns:a16="http://schemas.microsoft.com/office/drawing/2014/main" id="{4B43DADF-460E-4F07-9CF5-C1521FE05BA8}"/>
                  </a:ext>
                </a:extLst>
              </p:cNvPr>
              <p:cNvSpPr>
                <a:spLocks noChangeAspect="1" noEditPoints="1"/>
              </p:cNvSpPr>
              <p:nvPr/>
            </p:nvSpPr>
            <p:spPr bwMode="auto">
              <a:xfrm>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22" name="BackToWindow_E73F" title="Icon of two arrows pointing towards eachother">
                <a:extLst>
                  <a:ext uri="{FF2B5EF4-FFF2-40B4-BE49-F238E27FC236}">
                    <a16:creationId xmlns:a16="http://schemas.microsoft.com/office/drawing/2014/main" id="{E8F928B3-3F05-4D6F-AAF9-7ED7B913403B}"/>
                  </a:ext>
                </a:extLst>
              </p:cNvPr>
              <p:cNvSpPr>
                <a:spLocks noChangeAspect="1" noEditPoints="1"/>
              </p:cNvSpPr>
              <p:nvPr/>
            </p:nvSpPr>
            <p:spPr bwMode="auto">
              <a:xfrm flipV="1">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sp>
        <p:nvSpPr>
          <p:cNvPr id="823" name="Rectangle 822">
            <a:extLst>
              <a:ext uri="{FF2B5EF4-FFF2-40B4-BE49-F238E27FC236}">
                <a16:creationId xmlns:a16="http://schemas.microsoft.com/office/drawing/2014/main" id="{8D6EF06C-D1AF-4FFA-B628-6A1F756C8DD2}"/>
              </a:ext>
            </a:extLst>
          </p:cNvPr>
          <p:cNvSpPr/>
          <p:nvPr/>
        </p:nvSpPr>
        <p:spPr bwMode="auto">
          <a:xfrm>
            <a:off x="1736965" y="4039796"/>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824" name="Graphic 21">
            <a:extLst>
              <a:ext uri="{FF2B5EF4-FFF2-40B4-BE49-F238E27FC236}">
                <a16:creationId xmlns:a16="http://schemas.microsoft.com/office/drawing/2014/main" id="{2F2462B0-2BD9-46B3-A671-06F1D935D6DC}"/>
              </a:ext>
            </a:extLst>
          </p:cNvPr>
          <p:cNvGrpSpPr/>
          <p:nvPr/>
        </p:nvGrpSpPr>
        <p:grpSpPr>
          <a:xfrm>
            <a:off x="1812867" y="3987981"/>
            <a:ext cx="299102" cy="304037"/>
            <a:chOff x="5614987" y="3432237"/>
            <a:chExt cx="946785" cy="962406"/>
          </a:xfrm>
          <a:solidFill>
            <a:schemeClr val="accent1">
              <a:lumMod val="75000"/>
            </a:schemeClr>
          </a:solidFill>
        </p:grpSpPr>
        <p:sp>
          <p:nvSpPr>
            <p:cNvPr id="825" name="Freeform: Shape 824">
              <a:extLst>
                <a:ext uri="{FF2B5EF4-FFF2-40B4-BE49-F238E27FC236}">
                  <a16:creationId xmlns:a16="http://schemas.microsoft.com/office/drawing/2014/main" id="{DEB1400B-4A37-4A2A-B8E1-B11C4B9EF212}"/>
                </a:ext>
              </a:extLst>
            </p:cNvPr>
            <p:cNvSpPr/>
            <p:nvPr/>
          </p:nvSpPr>
          <p:spPr>
            <a:xfrm>
              <a:off x="6288880" y="3432237"/>
              <a:ext cx="272891" cy="267747"/>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6" name="Freeform: Shape 825">
              <a:extLst>
                <a:ext uri="{FF2B5EF4-FFF2-40B4-BE49-F238E27FC236}">
                  <a16:creationId xmlns:a16="http://schemas.microsoft.com/office/drawing/2014/main" id="{D054DA5A-CD79-4B12-BA69-526BDB1E0072}"/>
                </a:ext>
              </a:extLst>
            </p:cNvPr>
            <p:cNvSpPr/>
            <p:nvPr/>
          </p:nvSpPr>
          <p:spPr>
            <a:xfrm>
              <a:off x="5614987" y="4126991"/>
              <a:ext cx="272891" cy="267652"/>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7" name="Freeform: Shape 826">
              <a:extLst>
                <a:ext uri="{FF2B5EF4-FFF2-40B4-BE49-F238E27FC236}">
                  <a16:creationId xmlns:a16="http://schemas.microsoft.com/office/drawing/2014/main" id="{EBFBB994-0E56-4690-94DB-72007C9A2788}"/>
                </a:ext>
              </a:extLst>
            </p:cNvPr>
            <p:cNvSpPr/>
            <p:nvPr/>
          </p:nvSpPr>
          <p:spPr>
            <a:xfrm>
              <a:off x="5690329" y="3495864"/>
              <a:ext cx="803338" cy="804195"/>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828" name="Connector: Elbow 827">
            <a:extLst>
              <a:ext uri="{FF2B5EF4-FFF2-40B4-BE49-F238E27FC236}">
                <a16:creationId xmlns:a16="http://schemas.microsoft.com/office/drawing/2014/main" id="{31AD0751-9417-4772-95D8-AFC10A44B021}"/>
              </a:ext>
            </a:extLst>
          </p:cNvPr>
          <p:cNvCxnSpPr>
            <a:cxnSpLocks/>
            <a:endCxn id="687" idx="3"/>
          </p:cNvCxnSpPr>
          <p:nvPr/>
        </p:nvCxnSpPr>
        <p:spPr>
          <a:xfrm rot="5400000">
            <a:off x="2062834" y="3999558"/>
            <a:ext cx="1575294" cy="223269"/>
          </a:xfrm>
          <a:prstGeom prst="bentConnector2">
            <a:avLst/>
          </a:prstGeom>
          <a:ln w="12700">
            <a:solidFill>
              <a:schemeClr val="accent3"/>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cxnSp>
        <p:nvCxnSpPr>
          <p:cNvPr id="829" name="Straight Arrow Connector 828">
            <a:extLst>
              <a:ext uri="{FF2B5EF4-FFF2-40B4-BE49-F238E27FC236}">
                <a16:creationId xmlns:a16="http://schemas.microsoft.com/office/drawing/2014/main" id="{988BE081-8A66-4F80-B8A8-78212C9D9E14}"/>
              </a:ext>
            </a:extLst>
          </p:cNvPr>
          <p:cNvCxnSpPr>
            <a:cxnSpLocks/>
          </p:cNvCxnSpPr>
          <p:nvPr/>
        </p:nvCxnSpPr>
        <p:spPr>
          <a:xfrm>
            <a:off x="2738845" y="4111386"/>
            <a:ext cx="459325" cy="0"/>
          </a:xfrm>
          <a:prstGeom prst="straightConnector1">
            <a:avLst/>
          </a:prstGeom>
          <a:ln w="12700">
            <a:solidFill>
              <a:schemeClr val="accent3"/>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830" name="Straight Arrow Connector 829">
            <a:extLst>
              <a:ext uri="{FF2B5EF4-FFF2-40B4-BE49-F238E27FC236}">
                <a16:creationId xmlns:a16="http://schemas.microsoft.com/office/drawing/2014/main" id="{C34D2AE5-7544-4545-BA9E-564A7FD19C31}"/>
              </a:ext>
            </a:extLst>
          </p:cNvPr>
          <p:cNvCxnSpPr>
            <a:cxnSpLocks/>
          </p:cNvCxnSpPr>
          <p:nvPr/>
        </p:nvCxnSpPr>
        <p:spPr>
          <a:xfrm flipH="1">
            <a:off x="2738845" y="3335772"/>
            <a:ext cx="223270" cy="0"/>
          </a:xfrm>
          <a:prstGeom prst="straightConnector1">
            <a:avLst/>
          </a:prstGeom>
          <a:ln w="12700">
            <a:solidFill>
              <a:schemeClr val="accent3"/>
            </a:solidFill>
            <a:prstDash val="solid"/>
            <a:miter lim="800000"/>
            <a:tailEnd type="none" w="med" len="sm"/>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A816549E-13C0-0649-8CC4-E80B26FCDB65}"/>
              </a:ext>
            </a:extLst>
          </p:cNvPr>
          <p:cNvGrpSpPr/>
          <p:nvPr/>
        </p:nvGrpSpPr>
        <p:grpSpPr>
          <a:xfrm>
            <a:off x="3497023" y="2671875"/>
            <a:ext cx="548640" cy="548640"/>
            <a:chOff x="3497023" y="2671875"/>
            <a:chExt cx="548640" cy="548640"/>
          </a:xfrm>
        </p:grpSpPr>
        <p:sp>
          <p:nvSpPr>
            <p:cNvPr id="106" name="Oval 105">
              <a:extLst>
                <a:ext uri="{FF2B5EF4-FFF2-40B4-BE49-F238E27FC236}">
                  <a16:creationId xmlns:a16="http://schemas.microsoft.com/office/drawing/2014/main" id="{868CB7B7-6FF1-9D43-B40C-78C97CB54E2E}"/>
                </a:ext>
              </a:extLst>
            </p:cNvPr>
            <p:cNvSpPr/>
            <p:nvPr/>
          </p:nvSpPr>
          <p:spPr bwMode="auto">
            <a:xfrm>
              <a:off x="3497023" y="2671875"/>
              <a:ext cx="548640" cy="548640"/>
            </a:xfrm>
            <a:prstGeom prst="ellips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pic>
          <p:nvPicPr>
            <p:cNvPr id="107" name="Graphic 106">
              <a:extLst>
                <a:ext uri="{FF2B5EF4-FFF2-40B4-BE49-F238E27FC236}">
                  <a16:creationId xmlns:a16="http://schemas.microsoft.com/office/drawing/2014/main" id="{82B75C1F-BC67-2341-9432-5C5E6FDF28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94648" y="2900533"/>
              <a:ext cx="228421" cy="228421"/>
            </a:xfrm>
            <a:prstGeom prst="rect">
              <a:avLst/>
            </a:prstGeom>
          </p:spPr>
        </p:pic>
        <p:pic>
          <p:nvPicPr>
            <p:cNvPr id="108" name="Picture 107">
              <a:extLst>
                <a:ext uri="{FF2B5EF4-FFF2-40B4-BE49-F238E27FC236}">
                  <a16:creationId xmlns:a16="http://schemas.microsoft.com/office/drawing/2014/main" id="{76631A94-5209-8C43-936D-AB0097265A72}"/>
                </a:ext>
              </a:extLst>
            </p:cNvPr>
            <p:cNvPicPr>
              <a:picLocks noChangeAspect="1"/>
            </p:cNvPicPr>
            <p:nvPr/>
          </p:nvPicPr>
          <p:blipFill>
            <a:blip r:embed="rId10"/>
            <a:stretch>
              <a:fillRect/>
            </a:stretch>
          </p:blipFill>
          <p:spPr>
            <a:xfrm>
              <a:off x="3712269" y="2736833"/>
              <a:ext cx="137197" cy="137197"/>
            </a:xfrm>
            <a:prstGeom prst="rect">
              <a:avLst/>
            </a:prstGeom>
          </p:spPr>
        </p:pic>
        <p:pic>
          <p:nvPicPr>
            <p:cNvPr id="109" name="Picture 108">
              <a:extLst>
                <a:ext uri="{FF2B5EF4-FFF2-40B4-BE49-F238E27FC236}">
                  <a16:creationId xmlns:a16="http://schemas.microsoft.com/office/drawing/2014/main" id="{2AB0563B-39C9-3D45-93FD-70DECCCB8D1B}"/>
                </a:ext>
              </a:extLst>
            </p:cNvPr>
            <p:cNvPicPr>
              <a:picLocks noChangeAspect="1"/>
            </p:cNvPicPr>
            <p:nvPr/>
          </p:nvPicPr>
          <p:blipFill>
            <a:blip r:embed="rId10"/>
            <a:stretch>
              <a:fillRect/>
            </a:stretch>
          </p:blipFill>
          <p:spPr>
            <a:xfrm>
              <a:off x="3826958" y="2817845"/>
              <a:ext cx="137197" cy="137197"/>
            </a:xfrm>
            <a:prstGeom prst="rect">
              <a:avLst/>
            </a:prstGeom>
          </p:spPr>
        </p:pic>
      </p:grpSp>
      <p:sp>
        <p:nvSpPr>
          <p:cNvPr id="7" name="Rectangle 6">
            <a:extLst>
              <a:ext uri="{FF2B5EF4-FFF2-40B4-BE49-F238E27FC236}">
                <a16:creationId xmlns:a16="http://schemas.microsoft.com/office/drawing/2014/main" id="{F7CF9F53-E42F-49C2-AD11-F25E6591EBB1}"/>
              </a:ext>
            </a:extLst>
          </p:cNvPr>
          <p:cNvSpPr/>
          <p:nvPr/>
        </p:nvSpPr>
        <p:spPr bwMode="auto">
          <a:xfrm>
            <a:off x="3038448" y="2294016"/>
            <a:ext cx="1453888" cy="375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Real Time Processing engine</a:t>
            </a:r>
          </a:p>
        </p:txBody>
      </p:sp>
      <p:sp>
        <p:nvSpPr>
          <p:cNvPr id="11" name="Rectangle 10">
            <a:extLst>
              <a:ext uri="{FF2B5EF4-FFF2-40B4-BE49-F238E27FC236}">
                <a16:creationId xmlns:a16="http://schemas.microsoft.com/office/drawing/2014/main" id="{925EBBEF-F4EB-4380-8F4D-A3A178E692EB}"/>
              </a:ext>
            </a:extLst>
          </p:cNvPr>
          <p:cNvSpPr/>
          <p:nvPr/>
        </p:nvSpPr>
        <p:spPr bwMode="auto">
          <a:xfrm>
            <a:off x="4993139" y="2707321"/>
            <a:ext cx="1062804" cy="741510"/>
          </a:xfrm>
          <a:prstGeom prst="rect">
            <a:avLst/>
          </a:prstGeom>
          <a:no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COLD STORE</a:t>
            </a:r>
            <a:b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800" b="0" i="0" u="none" strike="noStrike" kern="1200" cap="none" spc="0" normalizeH="0" baseline="0" noProof="0" dirty="0">
                <a:ln>
                  <a:noFill/>
                </a:ln>
                <a:solidFill>
                  <a:srgbClr val="4472C4"/>
                </a:solidFill>
                <a:effectLst/>
                <a:uLnTx/>
                <a:uFillTx/>
                <a:latin typeface="Calibri Light" panose="020F0302020204030204"/>
                <a:ea typeface="+mn-ea"/>
                <a:cs typeface="+mn-cs"/>
              </a:rPr>
              <a:t>ADLS Gen 2/ Azure Blob</a:t>
            </a:r>
            <a:endPar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8528141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6" name="Freeform: Shape 1025">
            <a:extLst>
              <a:ext uri="{FF2B5EF4-FFF2-40B4-BE49-F238E27FC236}">
                <a16:creationId xmlns:a16="http://schemas.microsoft.com/office/drawing/2014/main" id="{32850F9C-4FC0-4FFD-805F-B6CC96791841}"/>
              </a:ext>
            </a:extLst>
          </p:cNvPr>
          <p:cNvSpPr/>
          <p:nvPr/>
        </p:nvSpPr>
        <p:spPr bwMode="auto">
          <a:xfrm>
            <a:off x="694230" y="2897173"/>
            <a:ext cx="992070" cy="2443324"/>
          </a:xfrm>
          <a:custGeom>
            <a:avLst/>
            <a:gdLst>
              <a:gd name="connsiteX0" fmla="*/ 568562 w 992070"/>
              <a:gd name="connsiteY0" fmla="*/ 0 h 2443324"/>
              <a:gd name="connsiteX1" fmla="*/ 676485 w 992070"/>
              <a:gd name="connsiteY1" fmla="*/ 0 h 2443324"/>
              <a:gd name="connsiteX2" fmla="*/ 676485 w 992070"/>
              <a:gd name="connsiteY2" fmla="*/ 387341 h 2443324"/>
              <a:gd name="connsiteX3" fmla="*/ 992070 w 992070"/>
              <a:gd name="connsiteY3" fmla="*/ 387341 h 2443324"/>
              <a:gd name="connsiteX4" fmla="*/ 992070 w 992070"/>
              <a:gd name="connsiteY4" fmla="*/ 497069 h 2443324"/>
              <a:gd name="connsiteX5" fmla="*/ 676485 w 992070"/>
              <a:gd name="connsiteY5" fmla="*/ 497069 h 2443324"/>
              <a:gd name="connsiteX6" fmla="*/ 676485 w 992070"/>
              <a:gd name="connsiteY6" fmla="*/ 1165808 h 2443324"/>
              <a:gd name="connsiteX7" fmla="*/ 992070 w 992070"/>
              <a:gd name="connsiteY7" fmla="*/ 1165808 h 2443324"/>
              <a:gd name="connsiteX8" fmla="*/ 992070 w 992070"/>
              <a:gd name="connsiteY8" fmla="*/ 1275536 h 2443324"/>
              <a:gd name="connsiteX9" fmla="*/ 676485 w 992070"/>
              <a:gd name="connsiteY9" fmla="*/ 1275536 h 2443324"/>
              <a:gd name="connsiteX10" fmla="*/ 676485 w 992070"/>
              <a:gd name="connsiteY10" fmla="*/ 1944275 h 2443324"/>
              <a:gd name="connsiteX11" fmla="*/ 992070 w 992070"/>
              <a:gd name="connsiteY11" fmla="*/ 1944275 h 2443324"/>
              <a:gd name="connsiteX12" fmla="*/ 992070 w 992070"/>
              <a:gd name="connsiteY12" fmla="*/ 2054003 h 2443324"/>
              <a:gd name="connsiteX13" fmla="*/ 676485 w 992070"/>
              <a:gd name="connsiteY13" fmla="*/ 2054003 h 2443324"/>
              <a:gd name="connsiteX14" fmla="*/ 676485 w 992070"/>
              <a:gd name="connsiteY14" fmla="*/ 2443322 h 2443324"/>
              <a:gd name="connsiteX15" fmla="*/ 672478 w 992070"/>
              <a:gd name="connsiteY15" fmla="*/ 2443322 h 2443324"/>
              <a:gd name="connsiteX16" fmla="*/ 672478 w 992070"/>
              <a:gd name="connsiteY16" fmla="*/ 2443324 h 2443324"/>
              <a:gd name="connsiteX17" fmla="*/ 1 w 992070"/>
              <a:gd name="connsiteY17" fmla="*/ 2443324 h 2443324"/>
              <a:gd name="connsiteX18" fmla="*/ 1 w 992070"/>
              <a:gd name="connsiteY18" fmla="*/ 2335401 h 2443324"/>
              <a:gd name="connsiteX19" fmla="*/ 568562 w 992070"/>
              <a:gd name="connsiteY19" fmla="*/ 2335401 h 2443324"/>
              <a:gd name="connsiteX20" fmla="*/ 568562 w 992070"/>
              <a:gd name="connsiteY20" fmla="*/ 1664857 h 2443324"/>
              <a:gd name="connsiteX21" fmla="*/ 0 w 992070"/>
              <a:gd name="connsiteY21" fmla="*/ 1664857 h 2443324"/>
              <a:gd name="connsiteX22" fmla="*/ 0 w 992070"/>
              <a:gd name="connsiteY22" fmla="*/ 1556934 h 2443324"/>
              <a:gd name="connsiteX23" fmla="*/ 568562 w 992070"/>
              <a:gd name="connsiteY23" fmla="*/ 1556934 h 2443324"/>
              <a:gd name="connsiteX24" fmla="*/ 568562 w 992070"/>
              <a:gd name="connsiteY24" fmla="*/ 886392 h 2443324"/>
              <a:gd name="connsiteX25" fmla="*/ 2361 w 992070"/>
              <a:gd name="connsiteY25" fmla="*/ 886392 h 2443324"/>
              <a:gd name="connsiteX26" fmla="*/ 2361 w 992070"/>
              <a:gd name="connsiteY26" fmla="*/ 778469 h 2443324"/>
              <a:gd name="connsiteX27" fmla="*/ 568562 w 992070"/>
              <a:gd name="connsiteY27" fmla="*/ 778469 h 2443324"/>
              <a:gd name="connsiteX28" fmla="*/ 568562 w 992070"/>
              <a:gd name="connsiteY28" fmla="*/ 107924 h 2443324"/>
              <a:gd name="connsiteX29" fmla="*/ 0 w 992070"/>
              <a:gd name="connsiteY29" fmla="*/ 107924 h 2443324"/>
              <a:gd name="connsiteX30" fmla="*/ 0 w 992070"/>
              <a:gd name="connsiteY30" fmla="*/ 1 h 2443324"/>
              <a:gd name="connsiteX31" fmla="*/ 568562 w 992070"/>
              <a:gd name="connsiteY31" fmla="*/ 1 h 244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2070" h="2443324">
                <a:moveTo>
                  <a:pt x="568562" y="0"/>
                </a:moveTo>
                <a:lnTo>
                  <a:pt x="676485" y="0"/>
                </a:lnTo>
                <a:lnTo>
                  <a:pt x="676485" y="387341"/>
                </a:lnTo>
                <a:lnTo>
                  <a:pt x="992070" y="387341"/>
                </a:lnTo>
                <a:lnTo>
                  <a:pt x="992070" y="497069"/>
                </a:lnTo>
                <a:lnTo>
                  <a:pt x="676485" y="497069"/>
                </a:lnTo>
                <a:lnTo>
                  <a:pt x="676485" y="1165808"/>
                </a:lnTo>
                <a:lnTo>
                  <a:pt x="992070" y="1165808"/>
                </a:lnTo>
                <a:lnTo>
                  <a:pt x="992070" y="1275536"/>
                </a:lnTo>
                <a:lnTo>
                  <a:pt x="676485" y="1275536"/>
                </a:lnTo>
                <a:lnTo>
                  <a:pt x="676485" y="1944275"/>
                </a:lnTo>
                <a:lnTo>
                  <a:pt x="992070" y="1944275"/>
                </a:lnTo>
                <a:lnTo>
                  <a:pt x="992070" y="2054003"/>
                </a:lnTo>
                <a:lnTo>
                  <a:pt x="676485" y="2054003"/>
                </a:lnTo>
                <a:lnTo>
                  <a:pt x="676485" y="2443322"/>
                </a:lnTo>
                <a:lnTo>
                  <a:pt x="672478" y="2443322"/>
                </a:lnTo>
                <a:lnTo>
                  <a:pt x="672478" y="2443324"/>
                </a:lnTo>
                <a:lnTo>
                  <a:pt x="1" y="2443324"/>
                </a:lnTo>
                <a:lnTo>
                  <a:pt x="1" y="2335401"/>
                </a:lnTo>
                <a:lnTo>
                  <a:pt x="568562" y="2335401"/>
                </a:lnTo>
                <a:lnTo>
                  <a:pt x="568562" y="1664857"/>
                </a:lnTo>
                <a:lnTo>
                  <a:pt x="0" y="1664857"/>
                </a:lnTo>
                <a:lnTo>
                  <a:pt x="0" y="1556934"/>
                </a:lnTo>
                <a:lnTo>
                  <a:pt x="568562" y="1556934"/>
                </a:lnTo>
                <a:lnTo>
                  <a:pt x="568562" y="886392"/>
                </a:lnTo>
                <a:lnTo>
                  <a:pt x="2361" y="886392"/>
                </a:lnTo>
                <a:lnTo>
                  <a:pt x="2361" y="778469"/>
                </a:lnTo>
                <a:lnTo>
                  <a:pt x="568562" y="778469"/>
                </a:lnTo>
                <a:lnTo>
                  <a:pt x="568562" y="107924"/>
                </a:lnTo>
                <a:lnTo>
                  <a:pt x="0" y="107924"/>
                </a:lnTo>
                <a:lnTo>
                  <a:pt x="0" y="1"/>
                </a:lnTo>
                <a:lnTo>
                  <a:pt x="568562" y="1"/>
                </a:lnTo>
                <a:close/>
              </a:path>
            </a:pathLst>
          </a:custGeom>
          <a:solidFill>
            <a:schemeClr val="bg1"/>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1027" name="Rectangle 1026">
            <a:extLst>
              <a:ext uri="{FF2B5EF4-FFF2-40B4-BE49-F238E27FC236}">
                <a16:creationId xmlns:a16="http://schemas.microsoft.com/office/drawing/2014/main" id="{F5DF63E6-1A25-4935-A694-A6D399075A80}"/>
              </a:ext>
            </a:extLst>
          </p:cNvPr>
          <p:cNvSpPr/>
          <p:nvPr/>
        </p:nvSpPr>
        <p:spPr bwMode="auto">
          <a:xfrm>
            <a:off x="1663901" y="3240620"/>
            <a:ext cx="260839" cy="17626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1029" name="network" title="Icon of a device or computer network">
            <a:extLst>
              <a:ext uri="{FF2B5EF4-FFF2-40B4-BE49-F238E27FC236}">
                <a16:creationId xmlns:a16="http://schemas.microsoft.com/office/drawing/2014/main" id="{317A2AF5-05D1-427B-B0B9-53EA35E5926C}"/>
              </a:ext>
            </a:extLst>
          </p:cNvPr>
          <p:cNvSpPr>
            <a:spLocks noChangeAspect="1" noEditPoints="1"/>
          </p:cNvSpPr>
          <p:nvPr/>
        </p:nvSpPr>
        <p:spPr bwMode="auto">
          <a:xfrm>
            <a:off x="544196" y="2067280"/>
            <a:ext cx="267144" cy="278158"/>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0" name="Oval 1029">
            <a:extLst>
              <a:ext uri="{FF2B5EF4-FFF2-40B4-BE49-F238E27FC236}">
                <a16:creationId xmlns:a16="http://schemas.microsoft.com/office/drawing/2014/main" id="{4C825022-82B6-4993-A6D7-A112DBA076FA}"/>
              </a:ext>
            </a:extLst>
          </p:cNvPr>
          <p:cNvSpPr/>
          <p:nvPr/>
        </p:nvSpPr>
        <p:spPr bwMode="auto">
          <a:xfrm>
            <a:off x="412973" y="2676814"/>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1031" name="Truck" title="Icon of a truck with a storage trailer">
            <a:extLst>
              <a:ext uri="{FF2B5EF4-FFF2-40B4-BE49-F238E27FC236}">
                <a16:creationId xmlns:a16="http://schemas.microsoft.com/office/drawing/2014/main" id="{E4C40CC4-E7E2-4AD6-882E-7DC28FC6C00C}"/>
              </a:ext>
            </a:extLst>
          </p:cNvPr>
          <p:cNvSpPr>
            <a:spLocks noChangeAspect="1" noEditPoints="1"/>
          </p:cNvSpPr>
          <p:nvPr/>
        </p:nvSpPr>
        <p:spPr bwMode="auto">
          <a:xfrm>
            <a:off x="497126" y="2861663"/>
            <a:ext cx="380335" cy="17407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32" name="Oval 1031">
            <a:extLst>
              <a:ext uri="{FF2B5EF4-FFF2-40B4-BE49-F238E27FC236}">
                <a16:creationId xmlns:a16="http://schemas.microsoft.com/office/drawing/2014/main" id="{6EDA6CAE-B8A1-420A-BBA0-005472DBFAA1}"/>
              </a:ext>
            </a:extLst>
          </p:cNvPr>
          <p:cNvSpPr/>
          <p:nvPr/>
        </p:nvSpPr>
        <p:spPr bwMode="auto">
          <a:xfrm>
            <a:off x="412973" y="3455281"/>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1033" name="building_7" title="Icon of a building with a curved section protruding from it">
            <a:extLst>
              <a:ext uri="{FF2B5EF4-FFF2-40B4-BE49-F238E27FC236}">
                <a16:creationId xmlns:a16="http://schemas.microsoft.com/office/drawing/2014/main" id="{BA394ABD-0B74-49C6-83A7-4CEF123015DF}"/>
              </a:ext>
            </a:extLst>
          </p:cNvPr>
          <p:cNvSpPr>
            <a:spLocks noChangeAspect="1" noEditPoints="1"/>
          </p:cNvSpPr>
          <p:nvPr/>
        </p:nvSpPr>
        <p:spPr bwMode="auto">
          <a:xfrm>
            <a:off x="555949" y="3575761"/>
            <a:ext cx="262689" cy="29744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4" name="Oval 1033">
            <a:extLst>
              <a:ext uri="{FF2B5EF4-FFF2-40B4-BE49-F238E27FC236}">
                <a16:creationId xmlns:a16="http://schemas.microsoft.com/office/drawing/2014/main" id="{A84B1EBF-6F8D-4EA2-83BD-6BBBCBB65DC4}"/>
              </a:ext>
            </a:extLst>
          </p:cNvPr>
          <p:cNvSpPr/>
          <p:nvPr/>
        </p:nvSpPr>
        <p:spPr bwMode="auto">
          <a:xfrm>
            <a:off x="412973" y="4233748"/>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1035" name="building_11" title="Icon of a school house">
            <a:extLst>
              <a:ext uri="{FF2B5EF4-FFF2-40B4-BE49-F238E27FC236}">
                <a16:creationId xmlns:a16="http://schemas.microsoft.com/office/drawing/2014/main" id="{A7CB7070-DE82-46EC-BAD5-BEE47065C57D}"/>
              </a:ext>
            </a:extLst>
          </p:cNvPr>
          <p:cNvSpPr>
            <a:spLocks noChangeAspect="1" noEditPoints="1"/>
          </p:cNvSpPr>
          <p:nvPr/>
        </p:nvSpPr>
        <p:spPr bwMode="auto">
          <a:xfrm>
            <a:off x="491865" y="4378542"/>
            <a:ext cx="371807" cy="200145"/>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6" name="Oval 1035">
            <a:extLst>
              <a:ext uri="{FF2B5EF4-FFF2-40B4-BE49-F238E27FC236}">
                <a16:creationId xmlns:a16="http://schemas.microsoft.com/office/drawing/2014/main" id="{B2B3E748-3B75-4DE9-B870-8A83E6DEB119}"/>
              </a:ext>
            </a:extLst>
          </p:cNvPr>
          <p:cNvSpPr/>
          <p:nvPr/>
        </p:nvSpPr>
        <p:spPr bwMode="auto">
          <a:xfrm>
            <a:off x="412973" y="5012215"/>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1037" name="factory_3" title="Icon of a factory">
            <a:extLst>
              <a:ext uri="{FF2B5EF4-FFF2-40B4-BE49-F238E27FC236}">
                <a16:creationId xmlns:a16="http://schemas.microsoft.com/office/drawing/2014/main" id="{A1B8B2C9-3D4E-4B35-84F7-1DE977E5E957}"/>
              </a:ext>
            </a:extLst>
          </p:cNvPr>
          <p:cNvSpPr>
            <a:spLocks noChangeAspect="1" noEditPoints="1"/>
          </p:cNvSpPr>
          <p:nvPr/>
        </p:nvSpPr>
        <p:spPr bwMode="auto">
          <a:xfrm>
            <a:off x="523698" y="5164920"/>
            <a:ext cx="327190" cy="2026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981" name="Rectangle 980">
            <a:extLst>
              <a:ext uri="{FF2B5EF4-FFF2-40B4-BE49-F238E27FC236}">
                <a16:creationId xmlns:a16="http://schemas.microsoft.com/office/drawing/2014/main" id="{D1FC0157-99D0-4B43-962F-54F013EF1277}"/>
              </a:ext>
            </a:extLst>
          </p:cNvPr>
          <p:cNvSpPr/>
          <p:nvPr/>
        </p:nvSpPr>
        <p:spPr bwMode="auto">
          <a:xfrm>
            <a:off x="1663901" y="3240620"/>
            <a:ext cx="260839" cy="17626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203" name="Title 1">
            <a:extLst>
              <a:ext uri="{FF2B5EF4-FFF2-40B4-BE49-F238E27FC236}">
                <a16:creationId xmlns:a16="http://schemas.microsoft.com/office/drawing/2014/main" id="{B5FE7631-AB65-4401-8750-D79BB0EA9DC5}"/>
              </a:ext>
            </a:extLst>
          </p:cNvPr>
          <p:cNvSpPr txBox="1">
            <a:spLocks/>
          </p:cNvSpPr>
          <p:nvPr/>
        </p:nvSpPr>
        <p:spPr>
          <a:xfrm>
            <a:off x="569409" y="194800"/>
            <a:ext cx="11049000" cy="492443"/>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ED7D31"/>
                </a:solidFill>
                <a:effectLst/>
                <a:uLnTx/>
                <a:uFillTx/>
                <a:latin typeface="Calibri Light" panose="020F0302020204030204"/>
                <a:ea typeface="+mn-ea"/>
                <a:cs typeface="Segoe UI" pitchFamily="34" charset="0"/>
              </a:rPr>
              <a:t>Azure Time Series Insights pay as you go high level architecture</a:t>
            </a:r>
          </a:p>
        </p:txBody>
      </p:sp>
      <p:sp>
        <p:nvSpPr>
          <p:cNvPr id="687" name="Rectangle 686">
            <a:extLst>
              <a:ext uri="{FF2B5EF4-FFF2-40B4-BE49-F238E27FC236}">
                <a16:creationId xmlns:a16="http://schemas.microsoft.com/office/drawing/2014/main" id="{7722D3C7-3FC5-4AA5-8614-442C50EF53B3}"/>
              </a:ext>
            </a:extLst>
          </p:cNvPr>
          <p:cNvSpPr/>
          <p:nvPr/>
        </p:nvSpPr>
        <p:spPr bwMode="auto">
          <a:xfrm>
            <a:off x="5703707"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88" name="Arrow: Chevron 687">
            <a:extLst>
              <a:ext uri="{FF2B5EF4-FFF2-40B4-BE49-F238E27FC236}">
                <a16:creationId xmlns:a16="http://schemas.microsoft.com/office/drawing/2014/main" id="{4DE202CD-21F3-436E-9C78-98E0A1309AD2}"/>
              </a:ext>
              <a:ext uri="{C183D7F6-B498-43B3-948B-1728B52AA6E4}">
                <adec:decorative xmlns:adec="http://schemas.microsoft.com/office/drawing/2017/decorative" val="1"/>
              </a:ext>
            </a:extLst>
          </p:cNvPr>
          <p:cNvSpPr/>
          <p:nvPr/>
        </p:nvSpPr>
        <p:spPr>
          <a:xfrm>
            <a:off x="4414712" y="1342055"/>
            <a:ext cx="2225997" cy="320040"/>
          </a:xfrm>
          <a:prstGeom prst="chevron">
            <a:avLst>
              <a:gd name="adj" fmla="val 35474"/>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Store</a:t>
            </a:r>
          </a:p>
        </p:txBody>
      </p:sp>
      <p:sp>
        <p:nvSpPr>
          <p:cNvPr id="689" name="Arrow: Chevron 688">
            <a:extLst>
              <a:ext uri="{FF2B5EF4-FFF2-40B4-BE49-F238E27FC236}">
                <a16:creationId xmlns:a16="http://schemas.microsoft.com/office/drawing/2014/main" id="{45E7FE4F-34A6-4CAA-A0F6-05ADA621F759}"/>
              </a:ext>
              <a:ext uri="{C183D7F6-B498-43B3-948B-1728B52AA6E4}">
                <adec:decorative xmlns:adec="http://schemas.microsoft.com/office/drawing/2017/decorative" val="1"/>
              </a:ext>
            </a:extLst>
          </p:cNvPr>
          <p:cNvSpPr/>
          <p:nvPr/>
        </p:nvSpPr>
        <p:spPr>
          <a:xfrm>
            <a:off x="6566210" y="1342055"/>
            <a:ext cx="2225997" cy="320040"/>
          </a:xfrm>
          <a:prstGeom prst="chevron">
            <a:avLst>
              <a:gd name="adj" fmla="val 35474"/>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Model</a:t>
            </a:r>
          </a:p>
        </p:txBody>
      </p:sp>
      <p:sp>
        <p:nvSpPr>
          <p:cNvPr id="690" name="Rectangle 689">
            <a:extLst>
              <a:ext uri="{FF2B5EF4-FFF2-40B4-BE49-F238E27FC236}">
                <a16:creationId xmlns:a16="http://schemas.microsoft.com/office/drawing/2014/main" id="{4750ADB2-8EA7-4C98-A51E-192CA73342D4}"/>
              </a:ext>
              <a:ext uri="{C183D7F6-B498-43B3-948B-1728B52AA6E4}">
                <adec:decorative xmlns:adec="http://schemas.microsoft.com/office/drawing/2017/decorative" val="1"/>
              </a:ext>
            </a:extLst>
          </p:cNvPr>
          <p:cNvSpPr/>
          <p:nvPr/>
        </p:nvSpPr>
        <p:spPr>
          <a:xfrm>
            <a:off x="4411675" y="5955277"/>
            <a:ext cx="2152728" cy="91440"/>
          </a:xfrm>
          <a:prstGeom prst="rect">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691" name="Rectangle 690">
            <a:extLst>
              <a:ext uri="{FF2B5EF4-FFF2-40B4-BE49-F238E27FC236}">
                <a16:creationId xmlns:a16="http://schemas.microsoft.com/office/drawing/2014/main" id="{388F1DED-46F6-4F6D-88CA-A3A34DA2575A}"/>
              </a:ext>
              <a:ext uri="{C183D7F6-B498-43B3-948B-1728B52AA6E4}">
                <adec:decorative xmlns:adec="http://schemas.microsoft.com/office/drawing/2017/decorative" val="1"/>
              </a:ext>
            </a:extLst>
          </p:cNvPr>
          <p:cNvSpPr/>
          <p:nvPr/>
        </p:nvSpPr>
        <p:spPr>
          <a:xfrm>
            <a:off x="6590555" y="5955277"/>
            <a:ext cx="2126935" cy="91440"/>
          </a:xfrm>
          <a:prstGeom prst="rect">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692" name="Rectangle 691">
            <a:extLst>
              <a:ext uri="{FF2B5EF4-FFF2-40B4-BE49-F238E27FC236}">
                <a16:creationId xmlns:a16="http://schemas.microsoft.com/office/drawing/2014/main" id="{224BCFA2-3389-4275-AFD1-A78D87291878}"/>
              </a:ext>
            </a:extLst>
          </p:cNvPr>
          <p:cNvSpPr/>
          <p:nvPr/>
        </p:nvSpPr>
        <p:spPr bwMode="auto">
          <a:xfrm>
            <a:off x="5703707" y="364381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3" name="Rectangle 692">
            <a:extLst>
              <a:ext uri="{FF2B5EF4-FFF2-40B4-BE49-F238E27FC236}">
                <a16:creationId xmlns:a16="http://schemas.microsoft.com/office/drawing/2014/main" id="{70C6E790-46D5-4153-838A-E776FBDF0CF8}"/>
              </a:ext>
            </a:extLst>
          </p:cNvPr>
          <p:cNvSpPr/>
          <p:nvPr/>
        </p:nvSpPr>
        <p:spPr bwMode="auto">
          <a:xfrm>
            <a:off x="3687390" y="2493902"/>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6" name="Rectangle 695">
            <a:extLst>
              <a:ext uri="{FF2B5EF4-FFF2-40B4-BE49-F238E27FC236}">
                <a16:creationId xmlns:a16="http://schemas.microsoft.com/office/drawing/2014/main" id="{E5A8DE39-27CD-495F-A796-708E671C304E}"/>
              </a:ext>
            </a:extLst>
          </p:cNvPr>
          <p:cNvSpPr/>
          <p:nvPr/>
        </p:nvSpPr>
        <p:spPr bwMode="auto">
          <a:xfrm>
            <a:off x="5170163"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7" name="Rectangle 696">
            <a:extLst>
              <a:ext uri="{FF2B5EF4-FFF2-40B4-BE49-F238E27FC236}">
                <a16:creationId xmlns:a16="http://schemas.microsoft.com/office/drawing/2014/main" id="{9D8A9155-48F5-43DF-B442-D256C0FF7592}"/>
              </a:ext>
            </a:extLst>
          </p:cNvPr>
          <p:cNvSpPr/>
          <p:nvPr/>
        </p:nvSpPr>
        <p:spPr bwMode="auto">
          <a:xfrm>
            <a:off x="5170163" y="364381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8" name="Rectangle 697">
            <a:extLst>
              <a:ext uri="{FF2B5EF4-FFF2-40B4-BE49-F238E27FC236}">
                <a16:creationId xmlns:a16="http://schemas.microsoft.com/office/drawing/2014/main" id="{F7BF5FCA-FDA1-47F8-B5CE-B8BB0182B539}"/>
              </a:ext>
            </a:extLst>
          </p:cNvPr>
          <p:cNvSpPr/>
          <p:nvPr/>
        </p:nvSpPr>
        <p:spPr bwMode="auto">
          <a:xfrm>
            <a:off x="8017272"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9" name="Rectangle 698">
            <a:extLst>
              <a:ext uri="{FF2B5EF4-FFF2-40B4-BE49-F238E27FC236}">
                <a16:creationId xmlns:a16="http://schemas.microsoft.com/office/drawing/2014/main" id="{8D9531AA-6CE9-499E-A6FB-8278D81D631B}"/>
              </a:ext>
            </a:extLst>
          </p:cNvPr>
          <p:cNvSpPr/>
          <p:nvPr/>
        </p:nvSpPr>
        <p:spPr bwMode="auto">
          <a:xfrm>
            <a:off x="10535230" y="4341730"/>
            <a:ext cx="400822" cy="4008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700" name="Rectangle 699">
            <a:extLst>
              <a:ext uri="{FF2B5EF4-FFF2-40B4-BE49-F238E27FC236}">
                <a16:creationId xmlns:a16="http://schemas.microsoft.com/office/drawing/2014/main" id="{E66181AC-8A9B-4FF6-B7ED-6B07E66940B6}"/>
              </a:ext>
            </a:extLst>
          </p:cNvPr>
          <p:cNvSpPr/>
          <p:nvPr/>
        </p:nvSpPr>
        <p:spPr bwMode="auto">
          <a:xfrm>
            <a:off x="2058364" y="462070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Digital Twins</a:t>
            </a:r>
          </a:p>
        </p:txBody>
      </p:sp>
      <p:sp>
        <p:nvSpPr>
          <p:cNvPr id="701" name="Rectangle 700">
            <a:extLst>
              <a:ext uri="{FF2B5EF4-FFF2-40B4-BE49-F238E27FC236}">
                <a16:creationId xmlns:a16="http://schemas.microsoft.com/office/drawing/2014/main" id="{E36B5F0E-9140-40B1-B149-BA964991F8AD}"/>
              </a:ext>
            </a:extLst>
          </p:cNvPr>
          <p:cNvSpPr/>
          <p:nvPr/>
        </p:nvSpPr>
        <p:spPr bwMode="auto">
          <a:xfrm>
            <a:off x="2058364" y="386186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IO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sp>
        <p:nvSpPr>
          <p:cNvPr id="702" name="Rectangle 701">
            <a:extLst>
              <a:ext uri="{FF2B5EF4-FFF2-40B4-BE49-F238E27FC236}">
                <a16:creationId xmlns:a16="http://schemas.microsoft.com/office/drawing/2014/main" id="{57DB9E18-A874-450C-AD94-E5A5AD72BD1F}"/>
              </a:ext>
            </a:extLst>
          </p:cNvPr>
          <p:cNvSpPr/>
          <p:nvPr/>
        </p:nvSpPr>
        <p:spPr bwMode="auto">
          <a:xfrm>
            <a:off x="2058364" y="3062268"/>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ven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grpSp>
        <p:nvGrpSpPr>
          <p:cNvPr id="703" name="Graphic 21">
            <a:extLst>
              <a:ext uri="{FF2B5EF4-FFF2-40B4-BE49-F238E27FC236}">
                <a16:creationId xmlns:a16="http://schemas.microsoft.com/office/drawing/2014/main" id="{AF62BC05-35DF-4DEB-B8DE-F00C4FD72696}"/>
              </a:ext>
            </a:extLst>
          </p:cNvPr>
          <p:cNvGrpSpPr/>
          <p:nvPr/>
        </p:nvGrpSpPr>
        <p:grpSpPr>
          <a:xfrm>
            <a:off x="1812867" y="3173105"/>
            <a:ext cx="265478" cy="330601"/>
            <a:chOff x="5653616" y="2462212"/>
            <a:chExt cx="924390" cy="951356"/>
          </a:xfrm>
          <a:solidFill>
            <a:schemeClr val="accent1">
              <a:lumMod val="75000"/>
            </a:schemeClr>
          </a:solidFill>
        </p:grpSpPr>
        <p:sp>
          <p:nvSpPr>
            <p:cNvPr id="704" name="Freeform: Shape 703">
              <a:extLst>
                <a:ext uri="{FF2B5EF4-FFF2-40B4-BE49-F238E27FC236}">
                  <a16:creationId xmlns:a16="http://schemas.microsoft.com/office/drawing/2014/main" id="{AC7A9915-42C5-4173-B084-FF17CFBFF7CC}"/>
                </a:ext>
              </a:extLst>
            </p:cNvPr>
            <p:cNvSpPr/>
            <p:nvPr/>
          </p:nvSpPr>
          <p:spPr>
            <a:xfrm>
              <a:off x="5653616" y="2462212"/>
              <a:ext cx="924348" cy="220122"/>
            </a:xfrm>
            <a:custGeom>
              <a:avLst/>
              <a:gdLst>
                <a:gd name="connsiteX0" fmla="*/ 2709 w 924348"/>
                <a:gd name="connsiteY0" fmla="*/ 0 h 220122"/>
                <a:gd name="connsiteX1" fmla="*/ 2709 w 924348"/>
                <a:gd name="connsiteY1" fmla="*/ 220123 h 220122"/>
                <a:gd name="connsiteX2" fmla="*/ 136440 w 924348"/>
                <a:gd name="connsiteY2" fmla="*/ 220123 h 220122"/>
                <a:gd name="connsiteX3" fmla="*/ 136440 w 924348"/>
                <a:gd name="connsiteY3" fmla="*/ 124016 h 220122"/>
                <a:gd name="connsiteX4" fmla="*/ 800333 w 924348"/>
                <a:gd name="connsiteY4" fmla="*/ 124016 h 220122"/>
                <a:gd name="connsiteX5" fmla="*/ 800333 w 924348"/>
                <a:gd name="connsiteY5" fmla="*/ 220123 h 220122"/>
                <a:gd name="connsiteX6" fmla="*/ 924348 w 924348"/>
                <a:gd name="connsiteY6" fmla="*/ 220123 h 220122"/>
                <a:gd name="connsiteX7" fmla="*/ 924348 w 924348"/>
                <a:gd name="connsiteY7" fmla="*/ 0 h 220122"/>
                <a:gd name="connsiteX8" fmla="*/ 2709 w 924348"/>
                <a:gd name="connsiteY8" fmla="*/ 0 h 2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122">
                  <a:moveTo>
                    <a:pt x="2709" y="0"/>
                  </a:moveTo>
                  <a:cubicBezTo>
                    <a:pt x="2709" y="0"/>
                    <a:pt x="-3387" y="220123"/>
                    <a:pt x="2709" y="220123"/>
                  </a:cubicBezTo>
                  <a:cubicBezTo>
                    <a:pt x="8805" y="220123"/>
                    <a:pt x="136440" y="220123"/>
                    <a:pt x="136440" y="220123"/>
                  </a:cubicBezTo>
                  <a:lnTo>
                    <a:pt x="136440" y="124016"/>
                  </a:lnTo>
                  <a:lnTo>
                    <a:pt x="800333" y="124016"/>
                  </a:lnTo>
                  <a:lnTo>
                    <a:pt x="800333" y="220123"/>
                  </a:lnTo>
                  <a:lnTo>
                    <a:pt x="924348" y="220123"/>
                  </a:lnTo>
                  <a:lnTo>
                    <a:pt x="924348" y="0"/>
                  </a:lnTo>
                  <a:lnTo>
                    <a:pt x="2709"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5" name="Freeform: Shape 704">
              <a:extLst>
                <a:ext uri="{FF2B5EF4-FFF2-40B4-BE49-F238E27FC236}">
                  <a16:creationId xmlns:a16="http://schemas.microsoft.com/office/drawing/2014/main" id="{8DE6ABA6-95E0-429C-B2EE-AB729C10AD8C}"/>
                </a:ext>
              </a:extLst>
            </p:cNvPr>
            <p:cNvSpPr/>
            <p:nvPr/>
          </p:nvSpPr>
          <p:spPr>
            <a:xfrm>
              <a:off x="5653658" y="3193351"/>
              <a:ext cx="924348" cy="220217"/>
            </a:xfrm>
            <a:custGeom>
              <a:avLst/>
              <a:gdLst>
                <a:gd name="connsiteX0" fmla="*/ 921639 w 924348"/>
                <a:gd name="connsiteY0" fmla="*/ 220123 h 220217"/>
                <a:gd name="connsiteX1" fmla="*/ 921639 w 924348"/>
                <a:gd name="connsiteY1" fmla="*/ 0 h 220217"/>
                <a:gd name="connsiteX2" fmla="*/ 787908 w 924348"/>
                <a:gd name="connsiteY2" fmla="*/ 0 h 220217"/>
                <a:gd name="connsiteX3" fmla="*/ 787908 w 924348"/>
                <a:gd name="connsiteY3" fmla="*/ 96107 h 220217"/>
                <a:gd name="connsiteX4" fmla="*/ 124016 w 924348"/>
                <a:gd name="connsiteY4" fmla="*/ 96107 h 220217"/>
                <a:gd name="connsiteX5" fmla="*/ 124016 w 924348"/>
                <a:gd name="connsiteY5" fmla="*/ 95 h 220217"/>
                <a:gd name="connsiteX6" fmla="*/ 0 w 924348"/>
                <a:gd name="connsiteY6" fmla="*/ 95 h 220217"/>
                <a:gd name="connsiteX7" fmla="*/ 0 w 924348"/>
                <a:gd name="connsiteY7" fmla="*/ 220218 h 220217"/>
                <a:gd name="connsiteX8" fmla="*/ 921639 w 924348"/>
                <a:gd name="connsiteY8" fmla="*/ 220218 h 22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217">
                  <a:moveTo>
                    <a:pt x="921639" y="220123"/>
                  </a:moveTo>
                  <a:cubicBezTo>
                    <a:pt x="921639" y="220123"/>
                    <a:pt x="927735" y="0"/>
                    <a:pt x="921639" y="0"/>
                  </a:cubicBezTo>
                  <a:cubicBezTo>
                    <a:pt x="915543" y="0"/>
                    <a:pt x="787908" y="0"/>
                    <a:pt x="787908" y="0"/>
                  </a:cubicBezTo>
                  <a:lnTo>
                    <a:pt x="787908" y="96107"/>
                  </a:lnTo>
                  <a:lnTo>
                    <a:pt x="124016" y="96107"/>
                  </a:lnTo>
                  <a:lnTo>
                    <a:pt x="124016" y="95"/>
                  </a:lnTo>
                  <a:lnTo>
                    <a:pt x="0" y="95"/>
                  </a:lnTo>
                  <a:lnTo>
                    <a:pt x="0" y="220218"/>
                  </a:lnTo>
                  <a:lnTo>
                    <a:pt x="921639" y="220218"/>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6" name="Freeform: Shape 705">
              <a:extLst>
                <a:ext uri="{FF2B5EF4-FFF2-40B4-BE49-F238E27FC236}">
                  <a16:creationId xmlns:a16="http://schemas.microsoft.com/office/drawing/2014/main" id="{9BB513D2-C5A6-47AA-8FB1-199AB0E60DC6}"/>
                </a:ext>
              </a:extLst>
            </p:cNvPr>
            <p:cNvSpPr/>
            <p:nvPr/>
          </p:nvSpPr>
          <p:spPr>
            <a:xfrm>
              <a:off x="5838729" y="268233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7" name="Freeform: Shape 706">
              <a:extLst>
                <a:ext uri="{FF2B5EF4-FFF2-40B4-BE49-F238E27FC236}">
                  <a16:creationId xmlns:a16="http://schemas.microsoft.com/office/drawing/2014/main" id="{2A117286-E0BC-45EA-88E7-C58EB861575D}"/>
                </a:ext>
              </a:extLst>
            </p:cNvPr>
            <p:cNvSpPr/>
            <p:nvPr/>
          </p:nvSpPr>
          <p:spPr>
            <a:xfrm>
              <a:off x="5838729"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8" name="Freeform: Shape 707">
              <a:extLst>
                <a:ext uri="{FF2B5EF4-FFF2-40B4-BE49-F238E27FC236}">
                  <a16:creationId xmlns:a16="http://schemas.microsoft.com/office/drawing/2014/main" id="{2B8483EE-2AEF-4C63-933E-A42F11238AE6}"/>
                </a:ext>
              </a:extLst>
            </p:cNvPr>
            <p:cNvSpPr/>
            <p:nvPr/>
          </p:nvSpPr>
          <p:spPr>
            <a:xfrm>
              <a:off x="5838729" y="3065335"/>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9" name="Freeform: Shape 708">
              <a:extLst>
                <a:ext uri="{FF2B5EF4-FFF2-40B4-BE49-F238E27FC236}">
                  <a16:creationId xmlns:a16="http://schemas.microsoft.com/office/drawing/2014/main" id="{F617F73F-4CF4-4068-9BF2-7009E4A38C20}"/>
                </a:ext>
              </a:extLst>
            </p:cNvPr>
            <p:cNvSpPr/>
            <p:nvPr/>
          </p:nvSpPr>
          <p:spPr>
            <a:xfrm>
              <a:off x="6063709" y="277348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0" name="Freeform: Shape 709">
              <a:extLst>
                <a:ext uri="{FF2B5EF4-FFF2-40B4-BE49-F238E27FC236}">
                  <a16:creationId xmlns:a16="http://schemas.microsoft.com/office/drawing/2014/main" id="{D1889F90-C384-42CC-B8D9-DBD2BA6DFF99}"/>
                </a:ext>
              </a:extLst>
            </p:cNvPr>
            <p:cNvSpPr/>
            <p:nvPr/>
          </p:nvSpPr>
          <p:spPr>
            <a:xfrm>
              <a:off x="6063709" y="296808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1" name="Freeform: Shape 710">
              <a:extLst>
                <a:ext uri="{FF2B5EF4-FFF2-40B4-BE49-F238E27FC236}">
                  <a16:creationId xmlns:a16="http://schemas.microsoft.com/office/drawing/2014/main" id="{2E1F1D50-7FC4-4405-985A-5DCC0454B4E1}"/>
                </a:ext>
              </a:extLst>
            </p:cNvPr>
            <p:cNvSpPr/>
            <p:nvPr/>
          </p:nvSpPr>
          <p:spPr>
            <a:xfrm>
              <a:off x="6294691"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712" name="Picture 711" descr="A picture containing clock&#10;&#10;Description automatically generated">
            <a:extLst>
              <a:ext uri="{FF2B5EF4-FFF2-40B4-BE49-F238E27FC236}">
                <a16:creationId xmlns:a16="http://schemas.microsoft.com/office/drawing/2014/main" id="{F583233B-A0F2-4396-A0F6-03CD1771FA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867" y="4683495"/>
            <a:ext cx="341096" cy="429743"/>
          </a:xfrm>
          <a:prstGeom prst="rect">
            <a:avLst/>
          </a:prstGeom>
        </p:spPr>
      </p:pic>
      <p:sp>
        <p:nvSpPr>
          <p:cNvPr id="714" name="Rectangle 713">
            <a:extLst>
              <a:ext uri="{FF2B5EF4-FFF2-40B4-BE49-F238E27FC236}">
                <a16:creationId xmlns:a16="http://schemas.microsoft.com/office/drawing/2014/main" id="{18DC945D-AE7A-4969-AE4B-6617843BEF3D}"/>
              </a:ext>
            </a:extLst>
          </p:cNvPr>
          <p:cNvSpPr/>
          <p:nvPr/>
        </p:nvSpPr>
        <p:spPr bwMode="auto">
          <a:xfrm>
            <a:off x="6095127" y="6257050"/>
            <a:ext cx="5758943" cy="363496"/>
          </a:xfrm>
          <a:prstGeom prst="rect">
            <a:avLst/>
          </a:prstGeom>
          <a:solidFill>
            <a:schemeClr val="bg1">
              <a:lumMod val="95000"/>
            </a:schemeClr>
          </a:solidFill>
          <a:ln w="6350">
            <a:noFill/>
            <a:prstDash val="solid"/>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715" name="TextBox 714">
            <a:extLst>
              <a:ext uri="{FF2B5EF4-FFF2-40B4-BE49-F238E27FC236}">
                <a16:creationId xmlns:a16="http://schemas.microsoft.com/office/drawing/2014/main" id="{CA54427B-6A18-48AA-89F8-3F499CC8EC6D}"/>
              </a:ext>
            </a:extLst>
          </p:cNvPr>
          <p:cNvSpPr txBox="1"/>
          <p:nvPr/>
        </p:nvSpPr>
        <p:spPr>
          <a:xfrm>
            <a:off x="6726426"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imeseries data</a:t>
            </a:r>
          </a:p>
        </p:txBody>
      </p:sp>
      <p:sp>
        <p:nvSpPr>
          <p:cNvPr id="716" name="TextBox 715">
            <a:extLst>
              <a:ext uri="{FF2B5EF4-FFF2-40B4-BE49-F238E27FC236}">
                <a16:creationId xmlns:a16="http://schemas.microsoft.com/office/drawing/2014/main" id="{3D6DB221-8644-4A7F-ACE1-6EBD31445412}"/>
              </a:ext>
            </a:extLst>
          </p:cNvPr>
          <p:cNvSpPr txBox="1"/>
          <p:nvPr/>
        </p:nvSpPr>
        <p:spPr>
          <a:xfrm>
            <a:off x="8458967"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PI requests/returns</a:t>
            </a:r>
          </a:p>
        </p:txBody>
      </p:sp>
      <p:sp>
        <p:nvSpPr>
          <p:cNvPr id="717" name="TextBox 716">
            <a:extLst>
              <a:ext uri="{FF2B5EF4-FFF2-40B4-BE49-F238E27FC236}">
                <a16:creationId xmlns:a16="http://schemas.microsoft.com/office/drawing/2014/main" id="{54E7CA9D-8FB8-47DB-8B7A-C0EA55C3D1AC}"/>
              </a:ext>
            </a:extLst>
          </p:cNvPr>
          <p:cNvSpPr txBox="1"/>
          <p:nvPr/>
        </p:nvSpPr>
        <p:spPr>
          <a:xfrm>
            <a:off x="10530988"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I/ML workflow</a:t>
            </a:r>
          </a:p>
        </p:txBody>
      </p:sp>
      <p:pic>
        <p:nvPicPr>
          <p:cNvPr id="724" name="Picture 723">
            <a:extLst>
              <a:ext uri="{FF2B5EF4-FFF2-40B4-BE49-F238E27FC236}">
                <a16:creationId xmlns:a16="http://schemas.microsoft.com/office/drawing/2014/main" id="{00A4972F-47FF-477E-BD61-DD84C67084D9}"/>
              </a:ext>
            </a:extLst>
          </p:cNvPr>
          <p:cNvPicPr>
            <a:picLocks noChangeAspect="1"/>
          </p:cNvPicPr>
          <p:nvPr/>
        </p:nvPicPr>
        <p:blipFill>
          <a:blip r:embed="rId4">
            <a:duotone>
              <a:schemeClr val="accent1">
                <a:shade val="45000"/>
                <a:satMod val="135000"/>
              </a:schemeClr>
              <a:prstClr val="white"/>
            </a:duotone>
            <a:lum bright="-20000"/>
          </a:blip>
          <a:stretch>
            <a:fillRect/>
          </a:stretch>
        </p:blipFill>
        <p:spPr>
          <a:xfrm>
            <a:off x="3268636" y="3628691"/>
            <a:ext cx="1048388" cy="904388"/>
          </a:xfrm>
          <a:prstGeom prst="rect">
            <a:avLst/>
          </a:prstGeom>
        </p:spPr>
      </p:pic>
      <p:grpSp>
        <p:nvGrpSpPr>
          <p:cNvPr id="725" name="Group 724">
            <a:extLst>
              <a:ext uri="{FF2B5EF4-FFF2-40B4-BE49-F238E27FC236}">
                <a16:creationId xmlns:a16="http://schemas.microsoft.com/office/drawing/2014/main" id="{6721A1F3-F970-4814-8972-755125ABD815}"/>
              </a:ext>
            </a:extLst>
          </p:cNvPr>
          <p:cNvGrpSpPr/>
          <p:nvPr/>
        </p:nvGrpSpPr>
        <p:grpSpPr>
          <a:xfrm>
            <a:off x="7264352" y="3418948"/>
            <a:ext cx="853216" cy="1372246"/>
            <a:chOff x="7172802" y="3508888"/>
            <a:chExt cx="853216" cy="1372246"/>
          </a:xfrm>
        </p:grpSpPr>
        <p:sp>
          <p:nvSpPr>
            <p:cNvPr id="726" name="Freeform: Shape 725">
              <a:extLst>
                <a:ext uri="{FF2B5EF4-FFF2-40B4-BE49-F238E27FC236}">
                  <a16:creationId xmlns:a16="http://schemas.microsoft.com/office/drawing/2014/main" id="{6C639985-2A42-4DA5-AEBF-69CAD079A8BB}"/>
                </a:ext>
              </a:extLst>
            </p:cNvPr>
            <p:cNvSpPr/>
            <p:nvPr/>
          </p:nvSpPr>
          <p:spPr bwMode="auto">
            <a:xfrm>
              <a:off x="7194926" y="4137515"/>
              <a:ext cx="792956" cy="340519"/>
            </a:xfrm>
            <a:custGeom>
              <a:avLst/>
              <a:gdLst>
                <a:gd name="connsiteX0" fmla="*/ 376237 w 792956"/>
                <a:gd name="connsiteY0" fmla="*/ 0 h 340519"/>
                <a:gd name="connsiteX1" fmla="*/ 0 w 792956"/>
                <a:gd name="connsiteY1" fmla="*/ 138113 h 340519"/>
                <a:gd name="connsiteX2" fmla="*/ 388144 w 792956"/>
                <a:gd name="connsiteY2" fmla="*/ 340519 h 340519"/>
                <a:gd name="connsiteX3" fmla="*/ 792956 w 792956"/>
                <a:gd name="connsiteY3" fmla="*/ 154782 h 340519"/>
                <a:gd name="connsiteX4" fmla="*/ 376237 w 792956"/>
                <a:gd name="connsiteY4" fmla="*/ 0 h 34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956" h="340519">
                  <a:moveTo>
                    <a:pt x="376237" y="0"/>
                  </a:moveTo>
                  <a:lnTo>
                    <a:pt x="0" y="138113"/>
                  </a:lnTo>
                  <a:lnTo>
                    <a:pt x="388144" y="340519"/>
                  </a:lnTo>
                  <a:lnTo>
                    <a:pt x="792956" y="154782"/>
                  </a:lnTo>
                  <a:lnTo>
                    <a:pt x="376237"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727" name="Group 726">
              <a:extLst>
                <a:ext uri="{FF2B5EF4-FFF2-40B4-BE49-F238E27FC236}">
                  <a16:creationId xmlns:a16="http://schemas.microsoft.com/office/drawing/2014/main" id="{31D334DC-5459-4414-9EA1-CAD6A0D090A3}"/>
                </a:ext>
              </a:extLst>
            </p:cNvPr>
            <p:cNvGrpSpPr/>
            <p:nvPr/>
          </p:nvGrpSpPr>
          <p:grpSpPr>
            <a:xfrm>
              <a:off x="7172802" y="3508888"/>
              <a:ext cx="853216" cy="1372246"/>
              <a:chOff x="7551470" y="2878314"/>
              <a:chExt cx="775651" cy="1247496"/>
            </a:xfrm>
            <a:solidFill>
              <a:schemeClr val="bg1"/>
            </a:solidFill>
          </p:grpSpPr>
          <p:sp>
            <p:nvSpPr>
              <p:cNvPr id="728" name="Freeform: Shape 308">
                <a:extLst>
                  <a:ext uri="{FF2B5EF4-FFF2-40B4-BE49-F238E27FC236}">
                    <a16:creationId xmlns:a16="http://schemas.microsoft.com/office/drawing/2014/main" id="{32460C52-9980-4E3C-8610-9366F79AF84E}"/>
                  </a:ext>
                </a:extLst>
              </p:cNvPr>
              <p:cNvSpPr/>
              <p:nvPr/>
            </p:nvSpPr>
            <p:spPr>
              <a:xfrm>
                <a:off x="7551470" y="3426792"/>
                <a:ext cx="775651" cy="699018"/>
              </a:xfrm>
              <a:custGeom>
                <a:avLst/>
                <a:gdLst>
                  <a:gd name="connsiteX0" fmla="*/ 452166 w 457200"/>
                  <a:gd name="connsiteY0" fmla="*/ 74976 h 304800"/>
                  <a:gd name="connsiteX1" fmla="*/ 452166 w 457200"/>
                  <a:gd name="connsiteY1" fmla="*/ 98788 h 304800"/>
                  <a:gd name="connsiteX2" fmla="*/ 220708 w 457200"/>
                  <a:gd name="connsiteY2" fmla="*/ 182608 h 304800"/>
                  <a:gd name="connsiteX3" fmla="*/ 7348 w 457200"/>
                  <a:gd name="connsiteY3" fmla="*/ 95931 h 304800"/>
                  <a:gd name="connsiteX4" fmla="*/ 7348 w 457200"/>
                  <a:gd name="connsiteY4" fmla="*/ 65451 h 304800"/>
                  <a:gd name="connsiteX5" fmla="*/ 220708 w 457200"/>
                  <a:gd name="connsiteY5" fmla="*/ 7348 h 304800"/>
                  <a:gd name="connsiteX6" fmla="*/ 452166 w 457200"/>
                  <a:gd name="connsiteY6" fmla="*/ 74976 h 304800"/>
                  <a:gd name="connsiteX7" fmla="*/ 10205 w 457200"/>
                  <a:gd name="connsiteY7" fmla="*/ 126411 h 304800"/>
                  <a:gd name="connsiteX8" fmla="*/ 220708 w 457200"/>
                  <a:gd name="connsiteY8" fmla="*/ 212136 h 304800"/>
                  <a:gd name="connsiteX9" fmla="*/ 448355 w 457200"/>
                  <a:gd name="connsiteY9" fmla="*/ 129268 h 304800"/>
                  <a:gd name="connsiteX10" fmla="*/ 10205 w 457200"/>
                  <a:gd name="connsiteY10" fmla="*/ 158796 h 304800"/>
                  <a:gd name="connsiteX11" fmla="*/ 220708 w 457200"/>
                  <a:gd name="connsiteY11" fmla="*/ 244521 h 304800"/>
                  <a:gd name="connsiteX12" fmla="*/ 448355 w 457200"/>
                  <a:gd name="connsiteY12" fmla="*/ 161653 h 304800"/>
                  <a:gd name="connsiteX13" fmla="*/ 10205 w 457200"/>
                  <a:gd name="connsiteY13" fmla="*/ 189276 h 304800"/>
                  <a:gd name="connsiteX14" fmla="*/ 220708 w 457200"/>
                  <a:gd name="connsiteY14" fmla="*/ 275001 h 304800"/>
                  <a:gd name="connsiteX15" fmla="*/ 449308 w 457200"/>
                  <a:gd name="connsiteY15" fmla="*/ 192133 h 304800"/>
                  <a:gd name="connsiteX16" fmla="*/ 7348 w 457200"/>
                  <a:gd name="connsiteY16" fmla="*/ 95931 h 304800"/>
                  <a:gd name="connsiteX17" fmla="*/ 7348 w 457200"/>
                  <a:gd name="connsiteY17" fmla="*/ 219756 h 304800"/>
                  <a:gd name="connsiteX18" fmla="*/ 220708 w 457200"/>
                  <a:gd name="connsiteY18" fmla="*/ 306433 h 304800"/>
                  <a:gd name="connsiteX19" fmla="*/ 452166 w 457200"/>
                  <a:gd name="connsiteY19" fmla="*/ 222613 h 304800"/>
                  <a:gd name="connsiteX20" fmla="*/ 452166 w 457200"/>
                  <a:gd name="connsiteY20" fmla="*/ 95931 h 304800"/>
                  <a:gd name="connsiteX21" fmla="*/ 14016 w 457200"/>
                  <a:gd name="connsiteY21" fmla="*/ 68308 h 304800"/>
                  <a:gd name="connsiteX22" fmla="*/ 220708 w 457200"/>
                  <a:gd name="connsiteY22" fmla="*/ 147366 h 304800"/>
                  <a:gd name="connsiteX23" fmla="*/ 439783 w 457200"/>
                  <a:gd name="connsiteY23" fmla="*/ 7497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304800">
                    <a:moveTo>
                      <a:pt x="452166" y="74976"/>
                    </a:moveTo>
                    <a:lnTo>
                      <a:pt x="452166" y="98788"/>
                    </a:lnTo>
                    <a:lnTo>
                      <a:pt x="220708" y="182608"/>
                    </a:lnTo>
                    <a:lnTo>
                      <a:pt x="7348" y="95931"/>
                    </a:lnTo>
                    <a:lnTo>
                      <a:pt x="7348" y="65451"/>
                    </a:lnTo>
                    <a:lnTo>
                      <a:pt x="220708" y="7348"/>
                    </a:lnTo>
                    <a:lnTo>
                      <a:pt x="452166" y="74976"/>
                    </a:lnTo>
                    <a:close/>
                    <a:moveTo>
                      <a:pt x="10205" y="126411"/>
                    </a:moveTo>
                    <a:lnTo>
                      <a:pt x="220708" y="212136"/>
                    </a:lnTo>
                    <a:lnTo>
                      <a:pt x="448355" y="129268"/>
                    </a:lnTo>
                    <a:moveTo>
                      <a:pt x="10205" y="158796"/>
                    </a:moveTo>
                    <a:lnTo>
                      <a:pt x="220708" y="244521"/>
                    </a:lnTo>
                    <a:lnTo>
                      <a:pt x="448355" y="161653"/>
                    </a:lnTo>
                    <a:moveTo>
                      <a:pt x="10205" y="189276"/>
                    </a:moveTo>
                    <a:lnTo>
                      <a:pt x="220708" y="275001"/>
                    </a:lnTo>
                    <a:lnTo>
                      <a:pt x="449308" y="192133"/>
                    </a:lnTo>
                    <a:moveTo>
                      <a:pt x="7348" y="95931"/>
                    </a:moveTo>
                    <a:lnTo>
                      <a:pt x="7348" y="219756"/>
                    </a:lnTo>
                    <a:lnTo>
                      <a:pt x="220708" y="306433"/>
                    </a:lnTo>
                    <a:lnTo>
                      <a:pt x="452166" y="222613"/>
                    </a:lnTo>
                    <a:lnTo>
                      <a:pt x="452166" y="95931"/>
                    </a:lnTo>
                    <a:moveTo>
                      <a:pt x="14016" y="68308"/>
                    </a:moveTo>
                    <a:lnTo>
                      <a:pt x="220708" y="147366"/>
                    </a:lnTo>
                    <a:lnTo>
                      <a:pt x="439783" y="74976"/>
                    </a:lnTo>
                  </a:path>
                </a:pathLst>
              </a:cu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nvGrpSpPr>
              <p:cNvPr id="729" name="Group 728">
                <a:extLst>
                  <a:ext uri="{FF2B5EF4-FFF2-40B4-BE49-F238E27FC236}">
                    <a16:creationId xmlns:a16="http://schemas.microsoft.com/office/drawing/2014/main" id="{3AF148C1-AF62-4264-8128-8091DA74AA1F}"/>
                  </a:ext>
                </a:extLst>
              </p:cNvPr>
              <p:cNvGrpSpPr/>
              <p:nvPr/>
            </p:nvGrpSpPr>
            <p:grpSpPr>
              <a:xfrm>
                <a:off x="7621836" y="2878314"/>
                <a:ext cx="593389" cy="533513"/>
                <a:chOff x="665019" y="3039690"/>
                <a:chExt cx="542084" cy="536126"/>
              </a:xfrm>
              <a:grpFill/>
            </p:grpSpPr>
            <p:sp>
              <p:nvSpPr>
                <p:cNvPr id="730" name="Freeform: Shape 339">
                  <a:extLst>
                    <a:ext uri="{FF2B5EF4-FFF2-40B4-BE49-F238E27FC236}">
                      <a16:creationId xmlns:a16="http://schemas.microsoft.com/office/drawing/2014/main" id="{AFA1AA13-0049-4C37-B254-44AFCB0A13EC}"/>
                    </a:ext>
                  </a:extLst>
                </p:cNvPr>
                <p:cNvSpPr/>
                <p:nvPr/>
              </p:nvSpPr>
              <p:spPr>
                <a:xfrm>
                  <a:off x="818994" y="3039690"/>
                  <a:ext cx="236514" cy="266992"/>
                </a:xfrm>
                <a:custGeom>
                  <a:avLst/>
                  <a:gdLst>
                    <a:gd name="connsiteX0" fmla="*/ 277178 w 554355"/>
                    <a:gd name="connsiteY0" fmla="*/ 277178 h 625792"/>
                    <a:gd name="connsiteX1" fmla="*/ 277178 w 554355"/>
                    <a:gd name="connsiteY1" fmla="*/ 624840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7178"/>
                      </a:moveTo>
                      <a:lnTo>
                        <a:pt x="277178" y="624840"/>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31" name="Freeform: Shape 340">
                  <a:extLst>
                    <a:ext uri="{FF2B5EF4-FFF2-40B4-BE49-F238E27FC236}">
                      <a16:creationId xmlns:a16="http://schemas.microsoft.com/office/drawing/2014/main" id="{B94B2E68-AF00-43CE-AFA0-C5919BAFFB89}"/>
                    </a:ext>
                  </a:extLst>
                </p:cNvPr>
                <p:cNvSpPr/>
                <p:nvPr/>
              </p:nvSpPr>
              <p:spPr>
                <a:xfrm>
                  <a:off x="97058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32" name="Freeform: Shape 341">
                  <a:extLst>
                    <a:ext uri="{FF2B5EF4-FFF2-40B4-BE49-F238E27FC236}">
                      <a16:creationId xmlns:a16="http://schemas.microsoft.com/office/drawing/2014/main" id="{D90D45A4-8C25-4EB4-B5FC-AD2706DA43DD}"/>
                    </a:ext>
                  </a:extLst>
                </p:cNvPr>
                <p:cNvSpPr/>
                <p:nvPr/>
              </p:nvSpPr>
              <p:spPr>
                <a:xfrm>
                  <a:off x="66501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grpSp>
      <p:sp>
        <p:nvSpPr>
          <p:cNvPr id="733" name="Rectangle 732">
            <a:extLst>
              <a:ext uri="{FF2B5EF4-FFF2-40B4-BE49-F238E27FC236}">
                <a16:creationId xmlns:a16="http://schemas.microsoft.com/office/drawing/2014/main" id="{AA1D7959-D2DC-41F9-B527-E415CEC2754D}"/>
              </a:ext>
            </a:extLst>
          </p:cNvPr>
          <p:cNvSpPr/>
          <p:nvPr/>
        </p:nvSpPr>
        <p:spPr bwMode="auto">
          <a:xfrm>
            <a:off x="6912935" y="2976680"/>
            <a:ext cx="1556050" cy="390278"/>
          </a:xfrm>
          <a:prstGeom prst="rect">
            <a:avLst/>
          </a:prstGeom>
          <a:no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TIME SERIES </a:t>
            </a:r>
            <a:b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MODEL</a:t>
            </a:r>
          </a:p>
        </p:txBody>
      </p:sp>
      <p:grpSp>
        <p:nvGrpSpPr>
          <p:cNvPr id="734" name="Group 733">
            <a:extLst>
              <a:ext uri="{FF2B5EF4-FFF2-40B4-BE49-F238E27FC236}">
                <a16:creationId xmlns:a16="http://schemas.microsoft.com/office/drawing/2014/main" id="{9512AD78-0D6D-4731-A7BE-948A810466B6}"/>
              </a:ext>
            </a:extLst>
          </p:cNvPr>
          <p:cNvGrpSpPr/>
          <p:nvPr/>
        </p:nvGrpSpPr>
        <p:grpSpPr>
          <a:xfrm>
            <a:off x="9903394" y="3574392"/>
            <a:ext cx="1824792" cy="1072769"/>
            <a:chOff x="9460808" y="2887493"/>
            <a:chExt cx="1824792" cy="1072769"/>
          </a:xfrm>
        </p:grpSpPr>
        <p:sp>
          <p:nvSpPr>
            <p:cNvPr id="735" name="Devices3_EA6C" title="Icon of a cellphone in front of a monitor">
              <a:extLst>
                <a:ext uri="{FF2B5EF4-FFF2-40B4-BE49-F238E27FC236}">
                  <a16:creationId xmlns:a16="http://schemas.microsoft.com/office/drawing/2014/main" id="{B1835D4B-4356-4455-A469-C2F553E3C29B}"/>
                </a:ext>
              </a:extLst>
            </p:cNvPr>
            <p:cNvSpPr>
              <a:spLocks noChangeAspect="1" noEditPoints="1"/>
            </p:cNvSpPr>
            <p:nvPr/>
          </p:nvSpPr>
          <p:spPr bwMode="auto">
            <a:xfrm>
              <a:off x="9460808" y="2887493"/>
              <a:ext cx="1548509" cy="1072769"/>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9050" cap="sq">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736" name="Rectangle 735">
              <a:extLst>
                <a:ext uri="{FF2B5EF4-FFF2-40B4-BE49-F238E27FC236}">
                  <a16:creationId xmlns:a16="http://schemas.microsoft.com/office/drawing/2014/main" id="{E6B78AA2-9CBB-4DB8-AB30-881DE4BD2118}"/>
                </a:ext>
              </a:extLst>
            </p:cNvPr>
            <p:cNvSpPr/>
            <p:nvPr/>
          </p:nvSpPr>
          <p:spPr bwMode="auto">
            <a:xfrm>
              <a:off x="10416157" y="3307484"/>
              <a:ext cx="869443" cy="541722"/>
            </a:xfrm>
            <a:prstGeom prst="rect">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737" name="light">
              <a:extLst>
                <a:ext uri="{FF2B5EF4-FFF2-40B4-BE49-F238E27FC236}">
                  <a16:creationId xmlns:a16="http://schemas.microsoft.com/office/drawing/2014/main" id="{0F195AE3-DDCB-46C9-BA42-7B16B1D9C7E9}"/>
                </a:ext>
              </a:extLst>
            </p:cNvPr>
            <p:cNvSpPr>
              <a:spLocks noChangeAspect="1" noEditPoints="1"/>
            </p:cNvSpPr>
            <p:nvPr/>
          </p:nvSpPr>
          <p:spPr bwMode="auto">
            <a:xfrm>
              <a:off x="9547576" y="3533514"/>
              <a:ext cx="178278" cy="26468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flat" cmpd="sng" algn="ctr">
              <a:solidFill>
                <a:schemeClr val="accent1">
                  <a:lumMod val="60000"/>
                  <a:lumOff val="4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38" name="Straight Connector 737">
              <a:extLst>
                <a:ext uri="{FF2B5EF4-FFF2-40B4-BE49-F238E27FC236}">
                  <a16:creationId xmlns:a16="http://schemas.microsoft.com/office/drawing/2014/main" id="{3EE42728-0DBF-4436-9404-43C855333476}"/>
                </a:ext>
              </a:extLst>
            </p:cNvPr>
            <p:cNvCxnSpPr>
              <a:stCxn id="735" idx="9"/>
            </p:cNvCxnSpPr>
            <p:nvPr/>
          </p:nvCxnSpPr>
          <p:spPr>
            <a:xfrm flipV="1">
              <a:off x="9579945" y="3104175"/>
              <a:ext cx="328686" cy="260134"/>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9" name="Straight Connector 738">
              <a:extLst>
                <a:ext uri="{FF2B5EF4-FFF2-40B4-BE49-F238E27FC236}">
                  <a16:creationId xmlns:a16="http://schemas.microsoft.com/office/drawing/2014/main" id="{2CA0C460-F912-4436-B08C-CAFDA9C71AB5}"/>
                </a:ext>
              </a:extLst>
            </p:cNvPr>
            <p:cNvCxnSpPr/>
            <p:nvPr/>
          </p:nvCxnSpPr>
          <p:spPr>
            <a:xfrm>
              <a:off x="9937852" y="3107942"/>
              <a:ext cx="272987" cy="245601"/>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0" name="Straight Connector 739">
              <a:extLst>
                <a:ext uri="{FF2B5EF4-FFF2-40B4-BE49-F238E27FC236}">
                  <a16:creationId xmlns:a16="http://schemas.microsoft.com/office/drawing/2014/main" id="{B4C92B8D-9D5B-419F-A36E-3CE28198917B}"/>
                </a:ext>
              </a:extLst>
            </p:cNvPr>
            <p:cNvCxnSpPr/>
            <p:nvPr/>
          </p:nvCxnSpPr>
          <p:spPr>
            <a:xfrm flipV="1">
              <a:off x="10235062" y="3017168"/>
              <a:ext cx="314818" cy="355453"/>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2FCF8E24-854A-4318-A4BF-B1B9E8507A5F}"/>
                </a:ext>
              </a:extLst>
            </p:cNvPr>
            <p:cNvCxnSpPr/>
            <p:nvPr/>
          </p:nvCxnSpPr>
          <p:spPr>
            <a:xfrm>
              <a:off x="10581743" y="3019296"/>
              <a:ext cx="223658" cy="177132"/>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2" name="Straight Connector 741">
              <a:extLst>
                <a:ext uri="{FF2B5EF4-FFF2-40B4-BE49-F238E27FC236}">
                  <a16:creationId xmlns:a16="http://schemas.microsoft.com/office/drawing/2014/main" id="{B4B7389D-396D-4957-9BD4-AE2285C46303}"/>
                </a:ext>
              </a:extLst>
            </p:cNvPr>
            <p:cNvCxnSpPr>
              <a:cxnSpLocks/>
            </p:cNvCxnSpPr>
            <p:nvPr/>
          </p:nvCxnSpPr>
          <p:spPr>
            <a:xfrm flipV="1">
              <a:off x="10810601" y="3036486"/>
              <a:ext cx="198716" cy="158409"/>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3" name="Oval 742">
              <a:extLst>
                <a:ext uri="{FF2B5EF4-FFF2-40B4-BE49-F238E27FC236}">
                  <a16:creationId xmlns:a16="http://schemas.microsoft.com/office/drawing/2014/main" id="{79E84FF7-D293-442D-B801-E2003DB4C0B2}"/>
                </a:ext>
              </a:extLst>
            </p:cNvPr>
            <p:cNvSpPr/>
            <p:nvPr/>
          </p:nvSpPr>
          <p:spPr bwMode="auto">
            <a:xfrm>
              <a:off x="9880199" y="3070907"/>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744" name="Oval 743">
              <a:extLst>
                <a:ext uri="{FF2B5EF4-FFF2-40B4-BE49-F238E27FC236}">
                  <a16:creationId xmlns:a16="http://schemas.microsoft.com/office/drawing/2014/main" id="{E81F7D9D-F7D9-4E13-8807-DB435E9BE159}"/>
                </a:ext>
              </a:extLst>
            </p:cNvPr>
            <p:cNvSpPr/>
            <p:nvPr/>
          </p:nvSpPr>
          <p:spPr bwMode="auto">
            <a:xfrm>
              <a:off x="10185996" y="3326596"/>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745" name="Oval 744">
              <a:extLst>
                <a:ext uri="{FF2B5EF4-FFF2-40B4-BE49-F238E27FC236}">
                  <a16:creationId xmlns:a16="http://schemas.microsoft.com/office/drawing/2014/main" id="{7F69CED8-490A-40ED-9EE5-01727CC5AF90}"/>
                </a:ext>
              </a:extLst>
            </p:cNvPr>
            <p:cNvSpPr/>
            <p:nvPr/>
          </p:nvSpPr>
          <p:spPr bwMode="auto">
            <a:xfrm>
              <a:off x="10522919" y="2973606"/>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746" name="Oval 745">
              <a:extLst>
                <a:ext uri="{FF2B5EF4-FFF2-40B4-BE49-F238E27FC236}">
                  <a16:creationId xmlns:a16="http://schemas.microsoft.com/office/drawing/2014/main" id="{7B0A6631-A9D1-463F-879E-5CC3346A1FBD}"/>
                </a:ext>
              </a:extLst>
            </p:cNvPr>
            <p:cNvSpPr/>
            <p:nvPr/>
          </p:nvSpPr>
          <p:spPr bwMode="auto">
            <a:xfrm>
              <a:off x="10765932" y="3150177"/>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747" name="Group 746">
              <a:extLst>
                <a:ext uri="{FF2B5EF4-FFF2-40B4-BE49-F238E27FC236}">
                  <a16:creationId xmlns:a16="http://schemas.microsoft.com/office/drawing/2014/main" id="{8E548015-8CFD-4668-80D6-39DC1150984B}"/>
                </a:ext>
              </a:extLst>
            </p:cNvPr>
            <p:cNvGrpSpPr/>
            <p:nvPr/>
          </p:nvGrpSpPr>
          <p:grpSpPr>
            <a:xfrm>
              <a:off x="10673740" y="3403379"/>
              <a:ext cx="354276" cy="357087"/>
              <a:chOff x="9709150" y="6365875"/>
              <a:chExt cx="200026" cy="201613"/>
            </a:xfrm>
          </p:grpSpPr>
          <p:sp>
            <p:nvSpPr>
              <p:cNvPr id="748" name="Oval 30">
                <a:extLst>
                  <a:ext uri="{FF2B5EF4-FFF2-40B4-BE49-F238E27FC236}">
                    <a16:creationId xmlns:a16="http://schemas.microsoft.com/office/drawing/2014/main" id="{8ECAF34C-8CC7-4D5F-9725-A8F2B6F260A3}"/>
                  </a:ext>
                </a:extLst>
              </p:cNvPr>
              <p:cNvSpPr>
                <a:spLocks noChangeArrowheads="1"/>
              </p:cNvSpPr>
              <p:nvPr/>
            </p:nvSpPr>
            <p:spPr bwMode="auto">
              <a:xfrm>
                <a:off x="9709150" y="6365875"/>
                <a:ext cx="150813" cy="152400"/>
              </a:xfrm>
              <a:prstGeom prst="ellips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9" name="Freeform 31">
                <a:extLst>
                  <a:ext uri="{FF2B5EF4-FFF2-40B4-BE49-F238E27FC236}">
                    <a16:creationId xmlns:a16="http://schemas.microsoft.com/office/drawing/2014/main" id="{441AB98B-E16F-47A8-853B-00D6026DA56C}"/>
                  </a:ext>
                </a:extLst>
              </p:cNvPr>
              <p:cNvSpPr>
                <a:spLocks/>
              </p:cNvSpPr>
              <p:nvPr/>
            </p:nvSpPr>
            <p:spPr bwMode="auto">
              <a:xfrm>
                <a:off x="9825038" y="6481763"/>
                <a:ext cx="84138" cy="85725"/>
              </a:xfrm>
              <a:custGeom>
                <a:avLst/>
                <a:gdLst>
                  <a:gd name="T0" fmla="*/ 15 w 53"/>
                  <a:gd name="T1" fmla="*/ 0 h 54"/>
                  <a:gd name="T2" fmla="*/ 53 w 53"/>
                  <a:gd name="T3" fmla="*/ 39 h 54"/>
                  <a:gd name="T4" fmla="*/ 38 w 53"/>
                  <a:gd name="T5" fmla="*/ 54 h 54"/>
                  <a:gd name="T6" fmla="*/ 0 w 53"/>
                  <a:gd name="T7" fmla="*/ 16 h 54"/>
                </a:gdLst>
                <a:ahLst/>
                <a:cxnLst>
                  <a:cxn ang="0">
                    <a:pos x="T0" y="T1"/>
                  </a:cxn>
                  <a:cxn ang="0">
                    <a:pos x="T2" y="T3"/>
                  </a:cxn>
                  <a:cxn ang="0">
                    <a:pos x="T4" y="T5"/>
                  </a:cxn>
                  <a:cxn ang="0">
                    <a:pos x="T6" y="T7"/>
                  </a:cxn>
                </a:cxnLst>
                <a:rect l="0" t="0" r="r" b="b"/>
                <a:pathLst>
                  <a:path w="53" h="54">
                    <a:moveTo>
                      <a:pt x="15" y="0"/>
                    </a:moveTo>
                    <a:lnTo>
                      <a:pt x="53" y="39"/>
                    </a:lnTo>
                    <a:lnTo>
                      <a:pt x="38" y="54"/>
                    </a:lnTo>
                    <a:lnTo>
                      <a:pt x="0" y="16"/>
                    </a:lnTo>
                  </a:path>
                </a:pathLst>
              </a:cu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0" name="Line 32">
                <a:extLst>
                  <a:ext uri="{FF2B5EF4-FFF2-40B4-BE49-F238E27FC236}">
                    <a16:creationId xmlns:a16="http://schemas.microsoft.com/office/drawing/2014/main" id="{DFB0E1E2-54ED-403F-B937-47F858B8B407}"/>
                  </a:ext>
                </a:extLst>
              </p:cNvPr>
              <p:cNvSpPr>
                <a:spLocks noChangeShapeType="1"/>
              </p:cNvSpPr>
              <p:nvPr/>
            </p:nvSpPr>
            <p:spPr bwMode="auto">
              <a:xfrm>
                <a:off x="9748838" y="6423025"/>
                <a:ext cx="0" cy="46038"/>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1" name="Line 33">
                <a:extLst>
                  <a:ext uri="{FF2B5EF4-FFF2-40B4-BE49-F238E27FC236}">
                    <a16:creationId xmlns:a16="http://schemas.microsoft.com/office/drawing/2014/main" id="{4E6052F2-5968-426D-A1CF-B19A1A30E4CA}"/>
                  </a:ext>
                </a:extLst>
              </p:cNvPr>
              <p:cNvSpPr>
                <a:spLocks noChangeShapeType="1"/>
              </p:cNvSpPr>
              <p:nvPr/>
            </p:nvSpPr>
            <p:spPr bwMode="auto">
              <a:xfrm>
                <a:off x="9821863" y="6426200"/>
                <a:ext cx="0" cy="42863"/>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2" name="Line 34">
                <a:extLst>
                  <a:ext uri="{FF2B5EF4-FFF2-40B4-BE49-F238E27FC236}">
                    <a16:creationId xmlns:a16="http://schemas.microsoft.com/office/drawing/2014/main" id="{3D3C4010-C35C-4BA4-8FCD-E48492B6D751}"/>
                  </a:ext>
                </a:extLst>
              </p:cNvPr>
              <p:cNvSpPr>
                <a:spLocks noChangeShapeType="1"/>
              </p:cNvSpPr>
              <p:nvPr/>
            </p:nvSpPr>
            <p:spPr bwMode="auto">
              <a:xfrm>
                <a:off x="9766300" y="6413500"/>
                <a:ext cx="0" cy="55563"/>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3" name="Line 35">
                <a:extLst>
                  <a:ext uri="{FF2B5EF4-FFF2-40B4-BE49-F238E27FC236}">
                    <a16:creationId xmlns:a16="http://schemas.microsoft.com/office/drawing/2014/main" id="{A075C535-0BAD-496A-8B64-F622FCBE7247}"/>
                  </a:ext>
                </a:extLst>
              </p:cNvPr>
              <p:cNvSpPr>
                <a:spLocks noChangeShapeType="1"/>
              </p:cNvSpPr>
              <p:nvPr/>
            </p:nvSpPr>
            <p:spPr bwMode="auto">
              <a:xfrm>
                <a:off x="9785350" y="6434138"/>
                <a:ext cx="0" cy="34925"/>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4" name="Line 36">
                <a:extLst>
                  <a:ext uri="{FF2B5EF4-FFF2-40B4-BE49-F238E27FC236}">
                    <a16:creationId xmlns:a16="http://schemas.microsoft.com/office/drawing/2014/main" id="{7967A8C0-6DFE-4190-BB1B-010FCE709276}"/>
                  </a:ext>
                </a:extLst>
              </p:cNvPr>
              <p:cNvSpPr>
                <a:spLocks noChangeShapeType="1"/>
              </p:cNvSpPr>
              <p:nvPr/>
            </p:nvSpPr>
            <p:spPr bwMode="auto">
              <a:xfrm>
                <a:off x="9802813" y="6399213"/>
                <a:ext cx="0" cy="6985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5" name="Line 37">
                <a:extLst>
                  <a:ext uri="{FF2B5EF4-FFF2-40B4-BE49-F238E27FC236}">
                    <a16:creationId xmlns:a16="http://schemas.microsoft.com/office/drawing/2014/main" id="{8961CF66-D5AA-4F2A-B21B-02150C59D5DD}"/>
                  </a:ext>
                </a:extLst>
              </p:cNvPr>
              <p:cNvSpPr>
                <a:spLocks noChangeShapeType="1"/>
              </p:cNvSpPr>
              <p:nvPr/>
            </p:nvSpPr>
            <p:spPr bwMode="auto">
              <a:xfrm flipH="1">
                <a:off x="9745663" y="6480175"/>
                <a:ext cx="79375" cy="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6" name="Line 38">
                <a:extLst>
                  <a:ext uri="{FF2B5EF4-FFF2-40B4-BE49-F238E27FC236}">
                    <a16:creationId xmlns:a16="http://schemas.microsoft.com/office/drawing/2014/main" id="{A1B144D5-A596-4CD9-B123-9DA71FC5685F}"/>
                  </a:ext>
                </a:extLst>
              </p:cNvPr>
              <p:cNvSpPr>
                <a:spLocks noChangeShapeType="1"/>
              </p:cNvSpPr>
              <p:nvPr/>
            </p:nvSpPr>
            <p:spPr bwMode="auto">
              <a:xfrm>
                <a:off x="9850438" y="6480175"/>
                <a:ext cx="0" cy="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757" name="Arrow: Chevron 756">
            <a:extLst>
              <a:ext uri="{FF2B5EF4-FFF2-40B4-BE49-F238E27FC236}">
                <a16:creationId xmlns:a16="http://schemas.microsoft.com/office/drawing/2014/main" id="{C2E17EF1-A8CB-47DC-A1CA-04E046EC369B}"/>
              </a:ext>
              <a:ext uri="{C183D7F6-B498-43B3-948B-1728B52AA6E4}">
                <adec:decorative xmlns:adec="http://schemas.microsoft.com/office/drawing/2017/decorative" val="1"/>
              </a:ext>
            </a:extLst>
          </p:cNvPr>
          <p:cNvSpPr/>
          <p:nvPr/>
        </p:nvSpPr>
        <p:spPr>
          <a:xfrm>
            <a:off x="8710433" y="1342055"/>
            <a:ext cx="3143638" cy="320040"/>
          </a:xfrm>
          <a:prstGeom prst="chevron">
            <a:avLst>
              <a:gd name="adj" fmla="val 35474"/>
            </a:avLst>
          </a:prstGeom>
          <a:solidFill>
            <a:schemeClr val="accent1">
              <a:lumMod val="60000"/>
              <a:lumOff val="40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Analyze</a:t>
            </a:r>
          </a:p>
        </p:txBody>
      </p:sp>
      <p:grpSp>
        <p:nvGrpSpPr>
          <p:cNvPr id="758" name="Group 757">
            <a:extLst>
              <a:ext uri="{FF2B5EF4-FFF2-40B4-BE49-F238E27FC236}">
                <a16:creationId xmlns:a16="http://schemas.microsoft.com/office/drawing/2014/main" id="{C8AEE551-8579-48E7-8257-8F124C5972FC}"/>
              </a:ext>
            </a:extLst>
          </p:cNvPr>
          <p:cNvGrpSpPr/>
          <p:nvPr/>
        </p:nvGrpSpPr>
        <p:grpSpPr>
          <a:xfrm>
            <a:off x="5253390" y="1227755"/>
            <a:ext cx="548640" cy="548640"/>
            <a:chOff x="4258502" y="2265815"/>
            <a:chExt cx="844109" cy="844111"/>
          </a:xfrm>
        </p:grpSpPr>
        <p:sp>
          <p:nvSpPr>
            <p:cNvPr id="759" name="Oval 758">
              <a:extLst>
                <a:ext uri="{FF2B5EF4-FFF2-40B4-BE49-F238E27FC236}">
                  <a16:creationId xmlns:a16="http://schemas.microsoft.com/office/drawing/2014/main" id="{90786201-3A95-418C-83AF-F5AB13129D66}"/>
                </a:ext>
                <a:ext uri="{C183D7F6-B498-43B3-948B-1728B52AA6E4}">
                  <adec:decorative xmlns:adec="http://schemas.microsoft.com/office/drawing/2017/decorative" val="1"/>
                </a:ext>
              </a:extLst>
            </p:cNvPr>
            <p:cNvSpPr/>
            <p:nvPr/>
          </p:nvSpPr>
          <p:spPr bwMode="auto">
            <a:xfrm>
              <a:off x="4258502" y="2265815"/>
              <a:ext cx="844109" cy="844111"/>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0" name="Database_EFC7" title="Icon of a cylinder">
              <a:extLst>
                <a:ext uri="{FF2B5EF4-FFF2-40B4-BE49-F238E27FC236}">
                  <a16:creationId xmlns:a16="http://schemas.microsoft.com/office/drawing/2014/main" id="{160AEE02-ED04-4AD1-933B-E765F4914C03}"/>
                </a:ext>
              </a:extLst>
            </p:cNvPr>
            <p:cNvSpPr>
              <a:spLocks noChangeAspect="1" noEditPoints="1"/>
            </p:cNvSpPr>
            <p:nvPr/>
          </p:nvSpPr>
          <p:spPr bwMode="auto">
            <a:xfrm>
              <a:off x="4501709" y="2455397"/>
              <a:ext cx="357695" cy="4649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761" name="Group 760">
            <a:extLst>
              <a:ext uri="{FF2B5EF4-FFF2-40B4-BE49-F238E27FC236}">
                <a16:creationId xmlns:a16="http://schemas.microsoft.com/office/drawing/2014/main" id="{8177D8C9-261C-45E8-974B-53453676499C}"/>
              </a:ext>
            </a:extLst>
          </p:cNvPr>
          <p:cNvGrpSpPr/>
          <p:nvPr/>
        </p:nvGrpSpPr>
        <p:grpSpPr>
          <a:xfrm>
            <a:off x="7404888" y="1227755"/>
            <a:ext cx="548640" cy="548640"/>
            <a:chOff x="7089384" y="2265815"/>
            <a:chExt cx="844109" cy="844111"/>
          </a:xfrm>
        </p:grpSpPr>
        <p:sp>
          <p:nvSpPr>
            <p:cNvPr id="762" name="Oval 761">
              <a:extLst>
                <a:ext uri="{FF2B5EF4-FFF2-40B4-BE49-F238E27FC236}">
                  <a16:creationId xmlns:a16="http://schemas.microsoft.com/office/drawing/2014/main" id="{13B4C57C-AD77-4A87-B9A5-0E769D08EF07}"/>
                </a:ext>
                <a:ext uri="{C183D7F6-B498-43B3-948B-1728B52AA6E4}">
                  <adec:decorative xmlns:adec="http://schemas.microsoft.com/office/drawing/2017/decorative" val="1"/>
                </a:ext>
              </a:extLst>
            </p:cNvPr>
            <p:cNvSpPr/>
            <p:nvPr/>
          </p:nvSpPr>
          <p:spPr bwMode="auto">
            <a:xfrm>
              <a:off x="7089384" y="2265815"/>
              <a:ext cx="844109" cy="844111"/>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3" name="Group 762">
              <a:extLst>
                <a:ext uri="{FF2B5EF4-FFF2-40B4-BE49-F238E27FC236}">
                  <a16:creationId xmlns:a16="http://schemas.microsoft.com/office/drawing/2014/main" id="{DD8C6828-21BD-4C67-93FC-ACD1E6604085}"/>
                </a:ext>
              </a:extLst>
            </p:cNvPr>
            <p:cNvGrpSpPr/>
            <p:nvPr/>
          </p:nvGrpSpPr>
          <p:grpSpPr>
            <a:xfrm>
              <a:off x="7256105" y="2422002"/>
              <a:ext cx="510665" cy="466758"/>
              <a:chOff x="665019" y="3030792"/>
              <a:chExt cx="542084" cy="545024"/>
            </a:xfrm>
          </p:grpSpPr>
          <p:sp>
            <p:nvSpPr>
              <p:cNvPr id="764" name="Freeform: Shape 763">
                <a:extLst>
                  <a:ext uri="{FF2B5EF4-FFF2-40B4-BE49-F238E27FC236}">
                    <a16:creationId xmlns:a16="http://schemas.microsoft.com/office/drawing/2014/main" id="{8B41BA6E-C3AD-43A3-A356-532E124C0F90}"/>
                  </a:ext>
                </a:extLst>
              </p:cNvPr>
              <p:cNvSpPr/>
              <p:nvPr/>
            </p:nvSpPr>
            <p:spPr>
              <a:xfrm>
                <a:off x="818994" y="3030792"/>
                <a:ext cx="236514" cy="266991"/>
              </a:xfrm>
              <a:custGeom>
                <a:avLst/>
                <a:gdLst>
                  <a:gd name="connsiteX0" fmla="*/ 277178 w 554355"/>
                  <a:gd name="connsiteY0" fmla="*/ 277178 h 625792"/>
                  <a:gd name="connsiteX1" fmla="*/ 277178 w 554355"/>
                  <a:gd name="connsiteY1" fmla="*/ 624840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7178"/>
                    </a:moveTo>
                    <a:lnTo>
                      <a:pt x="277178" y="624840"/>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65" name="Freeform: Shape 764">
                <a:extLst>
                  <a:ext uri="{FF2B5EF4-FFF2-40B4-BE49-F238E27FC236}">
                    <a16:creationId xmlns:a16="http://schemas.microsoft.com/office/drawing/2014/main" id="{71543CDA-C02A-468F-9D0F-541F53C3CC2D}"/>
                  </a:ext>
                </a:extLst>
              </p:cNvPr>
              <p:cNvSpPr/>
              <p:nvPr/>
            </p:nvSpPr>
            <p:spPr>
              <a:xfrm>
                <a:off x="97058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66" name="Freeform: Shape 765">
                <a:extLst>
                  <a:ext uri="{FF2B5EF4-FFF2-40B4-BE49-F238E27FC236}">
                    <a16:creationId xmlns:a16="http://schemas.microsoft.com/office/drawing/2014/main" id="{FEAFE740-7A4F-45FA-BB61-F9E1BE924183}"/>
                  </a:ext>
                </a:extLst>
              </p:cNvPr>
              <p:cNvSpPr/>
              <p:nvPr/>
            </p:nvSpPr>
            <p:spPr>
              <a:xfrm>
                <a:off x="66501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grpSp>
        <p:nvGrpSpPr>
          <p:cNvPr id="767" name="Group 766">
            <a:extLst>
              <a:ext uri="{FF2B5EF4-FFF2-40B4-BE49-F238E27FC236}">
                <a16:creationId xmlns:a16="http://schemas.microsoft.com/office/drawing/2014/main" id="{FB01A1C0-3BF9-4FA8-8B38-A75AAB578D4C}"/>
              </a:ext>
            </a:extLst>
          </p:cNvPr>
          <p:cNvGrpSpPr/>
          <p:nvPr/>
        </p:nvGrpSpPr>
        <p:grpSpPr>
          <a:xfrm>
            <a:off x="10007932" y="1227755"/>
            <a:ext cx="548640" cy="548640"/>
            <a:chOff x="9920265" y="2265815"/>
            <a:chExt cx="844109" cy="844111"/>
          </a:xfrm>
        </p:grpSpPr>
        <p:sp>
          <p:nvSpPr>
            <p:cNvPr id="768" name="Oval 767">
              <a:extLst>
                <a:ext uri="{FF2B5EF4-FFF2-40B4-BE49-F238E27FC236}">
                  <a16:creationId xmlns:a16="http://schemas.microsoft.com/office/drawing/2014/main" id="{C76F2E4E-EEF3-436F-B1E6-80C8D196D362}"/>
                </a:ext>
                <a:ext uri="{C183D7F6-B498-43B3-948B-1728B52AA6E4}">
                  <adec:decorative xmlns:adec="http://schemas.microsoft.com/office/drawing/2017/decorative" val="1"/>
                </a:ext>
              </a:extLst>
            </p:cNvPr>
            <p:cNvSpPr/>
            <p:nvPr/>
          </p:nvSpPr>
          <p:spPr bwMode="auto">
            <a:xfrm>
              <a:off x="9920265" y="2265815"/>
              <a:ext cx="844109" cy="844111"/>
            </a:xfrm>
            <a:prstGeom prst="ellipse">
              <a:avLst/>
            </a:prstGeom>
            <a:solidFill>
              <a:schemeClr val="accent1">
                <a:lumMod val="60000"/>
                <a:lumOff val="40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graph_9" title="Icon of a line chart with connected circles at varying points">
              <a:extLst>
                <a:ext uri="{FF2B5EF4-FFF2-40B4-BE49-F238E27FC236}">
                  <a16:creationId xmlns:a16="http://schemas.microsoft.com/office/drawing/2014/main" id="{618A26E1-CC26-4C57-9637-33D2FC1650B2}"/>
                </a:ext>
              </a:extLst>
            </p:cNvPr>
            <p:cNvSpPr>
              <a:spLocks noChangeAspect="1" noEditPoints="1"/>
            </p:cNvSpPr>
            <p:nvPr/>
          </p:nvSpPr>
          <p:spPr bwMode="auto">
            <a:xfrm>
              <a:off x="10107480" y="2448202"/>
              <a:ext cx="469677" cy="423811"/>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770" name="Graphic 276">
            <a:extLst>
              <a:ext uri="{FF2B5EF4-FFF2-40B4-BE49-F238E27FC236}">
                <a16:creationId xmlns:a16="http://schemas.microsoft.com/office/drawing/2014/main" id="{8F4A7F3E-1AAD-4EEE-85CF-F573D5D9BDF3}"/>
              </a:ext>
            </a:extLst>
          </p:cNvPr>
          <p:cNvGrpSpPr/>
          <p:nvPr/>
        </p:nvGrpSpPr>
        <p:grpSpPr>
          <a:xfrm>
            <a:off x="5270118" y="3238488"/>
            <a:ext cx="510189" cy="716571"/>
            <a:chOff x="5755481" y="2939577"/>
            <a:chExt cx="680085" cy="955195"/>
          </a:xfrm>
          <a:solidFill>
            <a:schemeClr val="bg1"/>
          </a:solidFill>
        </p:grpSpPr>
        <p:sp>
          <p:nvSpPr>
            <p:cNvPr id="771" name="Freeform: Shape 278">
              <a:extLst>
                <a:ext uri="{FF2B5EF4-FFF2-40B4-BE49-F238E27FC236}">
                  <a16:creationId xmlns:a16="http://schemas.microsoft.com/office/drawing/2014/main" id="{66D6D257-D2B2-4104-B9F8-39EE91990166}"/>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2" name="Freeform: Shape 279">
              <a:extLst>
                <a:ext uri="{FF2B5EF4-FFF2-40B4-BE49-F238E27FC236}">
                  <a16:creationId xmlns:a16="http://schemas.microsoft.com/office/drawing/2014/main" id="{DAA79F90-205D-445B-930E-4AA5E5A25D5B}"/>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3" name="Freeform: Shape 280">
              <a:extLst>
                <a:ext uri="{FF2B5EF4-FFF2-40B4-BE49-F238E27FC236}">
                  <a16:creationId xmlns:a16="http://schemas.microsoft.com/office/drawing/2014/main" id="{F6146982-2A20-4658-A7CC-098BDB1DBA38}"/>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4" name="Freeform: Shape 281">
              <a:extLst>
                <a:ext uri="{FF2B5EF4-FFF2-40B4-BE49-F238E27FC236}">
                  <a16:creationId xmlns:a16="http://schemas.microsoft.com/office/drawing/2014/main" id="{708853E2-3C2C-42CE-9C30-8E3D0CD20B59}"/>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75" name="Graphic 276">
            <a:extLst>
              <a:ext uri="{FF2B5EF4-FFF2-40B4-BE49-F238E27FC236}">
                <a16:creationId xmlns:a16="http://schemas.microsoft.com/office/drawing/2014/main" id="{6AF7D22A-0C2D-47F7-B570-216C18F7D5E4}"/>
              </a:ext>
            </a:extLst>
          </p:cNvPr>
          <p:cNvGrpSpPr/>
          <p:nvPr/>
        </p:nvGrpSpPr>
        <p:grpSpPr>
          <a:xfrm>
            <a:off x="5269447" y="4182268"/>
            <a:ext cx="510189" cy="716571"/>
            <a:chOff x="5755481" y="2939577"/>
            <a:chExt cx="680085" cy="955195"/>
          </a:xfrm>
          <a:solidFill>
            <a:schemeClr val="bg1"/>
          </a:solidFill>
        </p:grpSpPr>
        <p:sp>
          <p:nvSpPr>
            <p:cNvPr id="776" name="Freeform: Shape 288">
              <a:extLst>
                <a:ext uri="{FF2B5EF4-FFF2-40B4-BE49-F238E27FC236}">
                  <a16:creationId xmlns:a16="http://schemas.microsoft.com/office/drawing/2014/main" id="{BCCEF193-25ED-466B-82B6-B9C6B59DE17F}"/>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7" name="Freeform: Shape 289">
              <a:extLst>
                <a:ext uri="{FF2B5EF4-FFF2-40B4-BE49-F238E27FC236}">
                  <a16:creationId xmlns:a16="http://schemas.microsoft.com/office/drawing/2014/main" id="{0B2572BA-1823-4056-B0CA-8396E5C1DF13}"/>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8" name="Freeform: Shape 290">
              <a:extLst>
                <a:ext uri="{FF2B5EF4-FFF2-40B4-BE49-F238E27FC236}">
                  <a16:creationId xmlns:a16="http://schemas.microsoft.com/office/drawing/2014/main" id="{63B9B276-9041-4D75-88FA-12E1D6F57E36}"/>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9" name="Freeform: Shape 291">
              <a:extLst>
                <a:ext uri="{FF2B5EF4-FFF2-40B4-BE49-F238E27FC236}">
                  <a16:creationId xmlns:a16="http://schemas.microsoft.com/office/drawing/2014/main" id="{45DC1099-01E8-4E26-92B4-DE9EB6536BC3}"/>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80" name="Rectangle 779">
            <a:extLst>
              <a:ext uri="{FF2B5EF4-FFF2-40B4-BE49-F238E27FC236}">
                <a16:creationId xmlns:a16="http://schemas.microsoft.com/office/drawing/2014/main" id="{0F0D9CB7-0582-487D-A7F6-7AA81FEA177B}"/>
              </a:ext>
            </a:extLst>
          </p:cNvPr>
          <p:cNvSpPr/>
          <p:nvPr/>
        </p:nvSpPr>
        <p:spPr bwMode="auto">
          <a:xfrm>
            <a:off x="4993139" y="4754502"/>
            <a:ext cx="1062804" cy="556260"/>
          </a:xfrm>
          <a:prstGeom prst="rect">
            <a:avLst/>
          </a:prstGeom>
          <a:noFill/>
          <a:ln>
            <a:noFill/>
          </a:ln>
        </p:spPr>
        <p:txBody>
          <a:bodyPr vert="horz" wrap="square" lIns="91440" tIns="45720" rIns="91440" bIns="4572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WARM STORE</a:t>
            </a:r>
          </a:p>
        </p:txBody>
      </p:sp>
      <p:cxnSp>
        <p:nvCxnSpPr>
          <p:cNvPr id="782" name="Straight Arrow Connector 781">
            <a:extLst>
              <a:ext uri="{FF2B5EF4-FFF2-40B4-BE49-F238E27FC236}">
                <a16:creationId xmlns:a16="http://schemas.microsoft.com/office/drawing/2014/main" id="{CBE1013A-2668-4556-9838-5F6C6CE1A457}"/>
              </a:ext>
            </a:extLst>
          </p:cNvPr>
          <p:cNvCxnSpPr>
            <a:cxnSpLocks/>
            <a:stCxn id="774" idx="9"/>
            <a:endCxn id="776" idx="3"/>
          </p:cNvCxnSpPr>
          <p:nvPr/>
        </p:nvCxnSpPr>
        <p:spPr>
          <a:xfrm flipH="1">
            <a:off x="5524542" y="3998124"/>
            <a:ext cx="671" cy="141078"/>
          </a:xfrm>
          <a:prstGeom prst="straightConnector1">
            <a:avLst/>
          </a:prstGeom>
          <a:ln w="12700">
            <a:solidFill>
              <a:schemeClr val="accent4"/>
            </a:solidFill>
            <a:prstDash val="solid"/>
            <a:tailEnd type="arrow" w="med" len="sm"/>
          </a:ln>
        </p:spPr>
        <p:style>
          <a:lnRef idx="1">
            <a:schemeClr val="accent1"/>
          </a:lnRef>
          <a:fillRef idx="0">
            <a:schemeClr val="accent1"/>
          </a:fillRef>
          <a:effectRef idx="0">
            <a:schemeClr val="accent1"/>
          </a:effectRef>
          <a:fontRef idx="minor">
            <a:schemeClr val="tx1"/>
          </a:fontRef>
        </p:style>
      </p:cxnSp>
      <p:cxnSp>
        <p:nvCxnSpPr>
          <p:cNvPr id="783" name="Straight Connector 782">
            <a:extLst>
              <a:ext uri="{FF2B5EF4-FFF2-40B4-BE49-F238E27FC236}">
                <a16:creationId xmlns:a16="http://schemas.microsoft.com/office/drawing/2014/main" id="{8431D91C-DB43-4E1E-8D32-0E06BC7C31D7}"/>
              </a:ext>
            </a:extLst>
          </p:cNvPr>
          <p:cNvCxnSpPr/>
          <p:nvPr/>
        </p:nvCxnSpPr>
        <p:spPr>
          <a:xfrm>
            <a:off x="6313117" y="6438798"/>
            <a:ext cx="340242" cy="0"/>
          </a:xfrm>
          <a:prstGeom prst="line">
            <a:avLst/>
          </a:prstGeom>
          <a:ln w="28575">
            <a:solidFill>
              <a:schemeClr val="accent3"/>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84" name="Straight Connector 783">
            <a:extLst>
              <a:ext uri="{FF2B5EF4-FFF2-40B4-BE49-F238E27FC236}">
                <a16:creationId xmlns:a16="http://schemas.microsoft.com/office/drawing/2014/main" id="{B93354B0-A234-4EAC-BF65-DF35093BBC79}"/>
              </a:ext>
            </a:extLst>
          </p:cNvPr>
          <p:cNvCxnSpPr/>
          <p:nvPr/>
        </p:nvCxnSpPr>
        <p:spPr>
          <a:xfrm>
            <a:off x="8045658" y="6438798"/>
            <a:ext cx="340242" cy="0"/>
          </a:xfrm>
          <a:prstGeom prst="line">
            <a:avLst/>
          </a:prstGeom>
          <a:ln w="28575">
            <a:solidFill>
              <a:schemeClr val="accent4"/>
            </a:solidFill>
            <a:prstDash val="solid"/>
            <a:tailEnd type="none" w="lg" len="med"/>
          </a:ln>
        </p:spPr>
        <p:style>
          <a:lnRef idx="1">
            <a:schemeClr val="accent1"/>
          </a:lnRef>
          <a:fillRef idx="0">
            <a:schemeClr val="accent1"/>
          </a:fillRef>
          <a:effectRef idx="0">
            <a:schemeClr val="accent1"/>
          </a:effectRef>
          <a:fontRef idx="minor">
            <a:schemeClr val="tx1"/>
          </a:fontRef>
        </p:style>
      </p:cxnSp>
      <p:sp>
        <p:nvSpPr>
          <p:cNvPr id="785" name="Oval 784">
            <a:extLst>
              <a:ext uri="{FF2B5EF4-FFF2-40B4-BE49-F238E27FC236}">
                <a16:creationId xmlns:a16="http://schemas.microsoft.com/office/drawing/2014/main" id="{4CCFBA0B-BD1A-4960-92F5-190D81E825BC}"/>
              </a:ext>
            </a:extLst>
          </p:cNvPr>
          <p:cNvSpPr/>
          <p:nvPr/>
        </p:nvSpPr>
        <p:spPr bwMode="auto">
          <a:xfrm>
            <a:off x="8812465" y="2452479"/>
            <a:ext cx="548640" cy="5486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786" name="Rectangle 785">
            <a:extLst>
              <a:ext uri="{FF2B5EF4-FFF2-40B4-BE49-F238E27FC236}">
                <a16:creationId xmlns:a16="http://schemas.microsoft.com/office/drawing/2014/main" id="{CEB8C50E-C70D-4F82-A1C3-ACECFFC43174}"/>
              </a:ext>
            </a:extLst>
          </p:cNvPr>
          <p:cNvSpPr/>
          <p:nvPr/>
        </p:nvSpPr>
        <p:spPr bwMode="auto">
          <a:xfrm>
            <a:off x="8309427" y="2976680"/>
            <a:ext cx="1552705" cy="398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Time Series </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Query API</a:t>
            </a:r>
          </a:p>
        </p:txBody>
      </p:sp>
      <p:sp>
        <p:nvSpPr>
          <p:cNvPr id="795" name="Rectangle 32">
            <a:extLst>
              <a:ext uri="{FF2B5EF4-FFF2-40B4-BE49-F238E27FC236}">
                <a16:creationId xmlns:a16="http://schemas.microsoft.com/office/drawing/2014/main" id="{0F43B0C3-0F55-4A5A-9BF8-AFC0FACAFEF4}"/>
              </a:ext>
            </a:extLst>
          </p:cNvPr>
          <p:cNvSpPr>
            <a:spLocks noChangeArrowheads="1"/>
          </p:cNvSpPr>
          <p:nvPr/>
        </p:nvSpPr>
        <p:spPr bwMode="auto">
          <a:xfrm>
            <a:off x="9534192" y="2976680"/>
            <a:ext cx="2429184" cy="778935"/>
          </a:xfrm>
          <a:prstGeom prst="rect">
            <a:avLst/>
          </a:prstGeom>
          <a:no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rPr>
              <a:t>TIME SERIES INSIGHTS EXPLOR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rPr>
              <a:t>POWER BI CONN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rPr>
              <a:t>3rd PARTY APPS</a:t>
            </a:r>
          </a:p>
        </p:txBody>
      </p:sp>
      <p:cxnSp>
        <p:nvCxnSpPr>
          <p:cNvPr id="796" name="Connector: Elbow 795">
            <a:extLst>
              <a:ext uri="{FF2B5EF4-FFF2-40B4-BE49-F238E27FC236}">
                <a16:creationId xmlns:a16="http://schemas.microsoft.com/office/drawing/2014/main" id="{10514ECD-39F8-440D-B800-C0A8366CB6CA}"/>
              </a:ext>
            </a:extLst>
          </p:cNvPr>
          <p:cNvCxnSpPr>
            <a:cxnSpLocks/>
            <a:stCxn id="698" idx="3"/>
            <a:endCxn id="786" idx="2"/>
          </p:cNvCxnSpPr>
          <p:nvPr/>
        </p:nvCxnSpPr>
        <p:spPr>
          <a:xfrm flipV="1">
            <a:off x="8178441" y="3375631"/>
            <a:ext cx="907339" cy="1084621"/>
          </a:xfrm>
          <a:prstGeom prst="bentConnector2">
            <a:avLst/>
          </a:prstGeom>
          <a:ln w="12700">
            <a:solidFill>
              <a:schemeClr val="accent4"/>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797" name="Connector: Elbow 796">
            <a:extLst>
              <a:ext uri="{FF2B5EF4-FFF2-40B4-BE49-F238E27FC236}">
                <a16:creationId xmlns:a16="http://schemas.microsoft.com/office/drawing/2014/main" id="{29219D3E-873B-4F0D-8B65-ACA0AB9699DC}"/>
              </a:ext>
            </a:extLst>
          </p:cNvPr>
          <p:cNvCxnSpPr>
            <a:cxnSpLocks/>
            <a:stCxn id="795" idx="0"/>
          </p:cNvCxnSpPr>
          <p:nvPr/>
        </p:nvCxnSpPr>
        <p:spPr>
          <a:xfrm rot="16200000" flipV="1">
            <a:off x="9956116" y="2184011"/>
            <a:ext cx="266693" cy="1318645"/>
          </a:xfrm>
          <a:prstGeom prst="bentConnector2">
            <a:avLst/>
          </a:prstGeom>
          <a:ln w="12700">
            <a:solidFill>
              <a:schemeClr val="accent4"/>
            </a:solidFill>
            <a:prstDash val="solid"/>
            <a:miter lim="800000"/>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00" name="Straight Connector 799">
            <a:extLst>
              <a:ext uri="{FF2B5EF4-FFF2-40B4-BE49-F238E27FC236}">
                <a16:creationId xmlns:a16="http://schemas.microsoft.com/office/drawing/2014/main" id="{E4661AF6-32F5-4050-9FC1-9BCDE219259D}"/>
              </a:ext>
            </a:extLst>
          </p:cNvPr>
          <p:cNvCxnSpPr/>
          <p:nvPr/>
        </p:nvCxnSpPr>
        <p:spPr>
          <a:xfrm>
            <a:off x="10117679" y="6438798"/>
            <a:ext cx="340242" cy="0"/>
          </a:xfrm>
          <a:prstGeom prst="line">
            <a:avLst/>
          </a:prstGeom>
          <a:ln w="28575">
            <a:solidFill>
              <a:srgbClr val="E3591B"/>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801" name="Connector: Elbow 800">
            <a:extLst>
              <a:ext uri="{FF2B5EF4-FFF2-40B4-BE49-F238E27FC236}">
                <a16:creationId xmlns:a16="http://schemas.microsoft.com/office/drawing/2014/main" id="{549B4784-B0DB-42A4-A4EE-4578B64D75FB}"/>
              </a:ext>
            </a:extLst>
          </p:cNvPr>
          <p:cNvCxnSpPr>
            <a:cxnSpLocks/>
            <a:endCxn id="692" idx="3"/>
          </p:cNvCxnSpPr>
          <p:nvPr/>
        </p:nvCxnSpPr>
        <p:spPr>
          <a:xfrm rot="10800000" flipV="1">
            <a:off x="5864877" y="2709986"/>
            <a:ext cx="3185861" cy="1014409"/>
          </a:xfrm>
          <a:prstGeom prst="bentConnector3">
            <a:avLst>
              <a:gd name="adj1" fmla="val 75773"/>
            </a:avLst>
          </a:prstGeom>
          <a:ln w="12700">
            <a:solidFill>
              <a:schemeClr val="accent4"/>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grpSp>
        <p:nvGrpSpPr>
          <p:cNvPr id="808" name="Group 807">
            <a:extLst>
              <a:ext uri="{FF2B5EF4-FFF2-40B4-BE49-F238E27FC236}">
                <a16:creationId xmlns:a16="http://schemas.microsoft.com/office/drawing/2014/main" id="{BEECB548-B962-495E-90DE-FCEFE558DF17}"/>
              </a:ext>
            </a:extLst>
          </p:cNvPr>
          <p:cNvGrpSpPr/>
          <p:nvPr/>
        </p:nvGrpSpPr>
        <p:grpSpPr>
          <a:xfrm>
            <a:off x="3594648" y="2747945"/>
            <a:ext cx="353076" cy="381008"/>
            <a:chOff x="3218968" y="2962504"/>
            <a:chExt cx="388384" cy="419109"/>
          </a:xfrm>
        </p:grpSpPr>
        <p:pic>
          <p:nvPicPr>
            <p:cNvPr id="809" name="Picture 808">
              <a:extLst>
                <a:ext uri="{FF2B5EF4-FFF2-40B4-BE49-F238E27FC236}">
                  <a16:creationId xmlns:a16="http://schemas.microsoft.com/office/drawing/2014/main" id="{7BB5D9A7-61E3-4B65-BA37-9F4279FEE301}"/>
                </a:ext>
              </a:extLst>
            </p:cNvPr>
            <p:cNvPicPr>
              <a:picLocks noChangeAspect="1"/>
            </p:cNvPicPr>
            <p:nvPr/>
          </p:nvPicPr>
          <p:blipFill>
            <a:blip r:embed="rId5">
              <a:duotone>
                <a:schemeClr val="bg2">
                  <a:shade val="45000"/>
                  <a:satMod val="135000"/>
                </a:schemeClr>
                <a:prstClr val="white"/>
              </a:duotone>
              <a:lum bright="40000" contrast="40000"/>
            </a:blip>
            <a:stretch>
              <a:fillRect/>
            </a:stretch>
          </p:blipFill>
          <p:spPr>
            <a:xfrm>
              <a:off x="3331329" y="2962504"/>
              <a:ext cx="150917" cy="150917"/>
            </a:xfrm>
            <a:prstGeom prst="rect">
              <a:avLst/>
            </a:prstGeom>
          </p:spPr>
        </p:pic>
        <p:pic>
          <p:nvPicPr>
            <p:cNvPr id="810" name="Picture 809">
              <a:extLst>
                <a:ext uri="{FF2B5EF4-FFF2-40B4-BE49-F238E27FC236}">
                  <a16:creationId xmlns:a16="http://schemas.microsoft.com/office/drawing/2014/main" id="{82B07C04-9C19-4636-B14B-D864618281B1}"/>
                </a:ext>
              </a:extLst>
            </p:cNvPr>
            <p:cNvPicPr>
              <a:picLocks noChangeAspect="1"/>
            </p:cNvPicPr>
            <p:nvPr/>
          </p:nvPicPr>
          <p:blipFill>
            <a:blip r:embed="rId5">
              <a:duotone>
                <a:schemeClr val="bg2">
                  <a:shade val="45000"/>
                  <a:satMod val="135000"/>
                </a:schemeClr>
                <a:prstClr val="white"/>
              </a:duotone>
              <a:lum bright="40000" contrast="40000"/>
            </a:blip>
            <a:stretch>
              <a:fillRect/>
            </a:stretch>
          </p:blipFill>
          <p:spPr>
            <a:xfrm>
              <a:off x="3456435" y="3051218"/>
              <a:ext cx="150917" cy="150917"/>
            </a:xfrm>
            <a:prstGeom prst="rect">
              <a:avLst/>
            </a:prstGeom>
          </p:spPr>
        </p:pic>
        <p:pic>
          <p:nvPicPr>
            <p:cNvPr id="811" name="Graphic 810">
              <a:extLst>
                <a:ext uri="{FF2B5EF4-FFF2-40B4-BE49-F238E27FC236}">
                  <a16:creationId xmlns:a16="http://schemas.microsoft.com/office/drawing/2014/main" id="{9D030FB0-AC86-495D-83CB-9A684DA6A75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18968" y="3130350"/>
              <a:ext cx="251263" cy="251263"/>
            </a:xfrm>
            <a:prstGeom prst="rect">
              <a:avLst/>
            </a:prstGeom>
          </p:spPr>
        </p:pic>
      </p:grpSp>
      <p:cxnSp>
        <p:nvCxnSpPr>
          <p:cNvPr id="813" name="Connector: Elbow 812">
            <a:extLst>
              <a:ext uri="{FF2B5EF4-FFF2-40B4-BE49-F238E27FC236}">
                <a16:creationId xmlns:a16="http://schemas.microsoft.com/office/drawing/2014/main" id="{6D702A0B-00E1-434D-9E4D-43F5A7D35BC9}"/>
              </a:ext>
            </a:extLst>
          </p:cNvPr>
          <p:cNvCxnSpPr>
            <a:cxnSpLocks/>
            <a:stCxn id="696" idx="1"/>
            <a:endCxn id="697" idx="1"/>
          </p:cNvCxnSpPr>
          <p:nvPr/>
        </p:nvCxnSpPr>
        <p:spPr>
          <a:xfrm rot="10800000">
            <a:off x="5170163" y="3724396"/>
            <a:ext cx="12700" cy="735856"/>
          </a:xfrm>
          <a:prstGeom prst="bentConnector3">
            <a:avLst>
              <a:gd name="adj1" fmla="val 1800000"/>
            </a:avLst>
          </a:prstGeom>
          <a:ln w="12700">
            <a:solidFill>
              <a:schemeClr val="accent3"/>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814" name="Rounded Rectangle 21">
            <a:extLst>
              <a:ext uri="{FF2B5EF4-FFF2-40B4-BE49-F238E27FC236}">
                <a16:creationId xmlns:a16="http://schemas.microsoft.com/office/drawing/2014/main" id="{BDC87D3D-7AD1-4B4C-826A-FAAF116289CE}"/>
              </a:ext>
            </a:extLst>
          </p:cNvPr>
          <p:cNvSpPr/>
          <p:nvPr/>
        </p:nvSpPr>
        <p:spPr bwMode="auto">
          <a:xfrm>
            <a:off x="3059935" y="4607189"/>
            <a:ext cx="1439157" cy="324083"/>
          </a:xfrm>
          <a:prstGeom prst="roundRect">
            <a:avLst>
              <a:gd name="adj" fmla="val 274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tream </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processing</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ngine</a:t>
            </a:r>
          </a:p>
        </p:txBody>
      </p:sp>
      <p:sp>
        <p:nvSpPr>
          <p:cNvPr id="815" name="Arrow: Pentagon 814">
            <a:extLst>
              <a:ext uri="{FF2B5EF4-FFF2-40B4-BE49-F238E27FC236}">
                <a16:creationId xmlns:a16="http://schemas.microsoft.com/office/drawing/2014/main" id="{7D5A81D0-B2AC-4E37-AA22-51F26DB26C8A}"/>
              </a:ext>
              <a:ext uri="{C183D7F6-B498-43B3-948B-1728B52AA6E4}">
                <adec:decorative xmlns:adec="http://schemas.microsoft.com/office/drawing/2017/decorative" val="1"/>
              </a:ext>
            </a:extLst>
          </p:cNvPr>
          <p:cNvSpPr/>
          <p:nvPr/>
        </p:nvSpPr>
        <p:spPr>
          <a:xfrm>
            <a:off x="411479" y="1342055"/>
            <a:ext cx="4077732" cy="320040"/>
          </a:xfrm>
          <a:prstGeom prst="homePlate">
            <a:avLst>
              <a:gd name="adj" fmla="val 35480"/>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Collect</a:t>
            </a:r>
          </a:p>
        </p:txBody>
      </p:sp>
      <p:sp>
        <p:nvSpPr>
          <p:cNvPr id="816" name="Rectangle 815">
            <a:extLst>
              <a:ext uri="{FF2B5EF4-FFF2-40B4-BE49-F238E27FC236}">
                <a16:creationId xmlns:a16="http://schemas.microsoft.com/office/drawing/2014/main" id="{83435793-4FE0-4223-9772-96F87495B3C9}"/>
              </a:ext>
              <a:ext uri="{C183D7F6-B498-43B3-948B-1728B52AA6E4}">
                <adec:decorative xmlns:adec="http://schemas.microsoft.com/office/drawing/2017/decorative" val="1"/>
              </a:ext>
            </a:extLst>
          </p:cNvPr>
          <p:cNvSpPr/>
          <p:nvPr/>
        </p:nvSpPr>
        <p:spPr>
          <a:xfrm>
            <a:off x="411479" y="5955277"/>
            <a:ext cx="3982516" cy="91440"/>
          </a:xfrm>
          <a:prstGeom prst="rect">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817" name="Rectangle 816">
            <a:extLst>
              <a:ext uri="{FF2B5EF4-FFF2-40B4-BE49-F238E27FC236}">
                <a16:creationId xmlns:a16="http://schemas.microsoft.com/office/drawing/2014/main" id="{C9EFA60B-0815-4345-B245-AE8B2CF3DD29}"/>
              </a:ext>
              <a:ext uri="{C183D7F6-B498-43B3-948B-1728B52AA6E4}">
                <adec:decorative xmlns:adec="http://schemas.microsoft.com/office/drawing/2017/decorative" val="1"/>
              </a:ext>
            </a:extLst>
          </p:cNvPr>
          <p:cNvSpPr/>
          <p:nvPr/>
        </p:nvSpPr>
        <p:spPr>
          <a:xfrm>
            <a:off x="8735170" y="5955277"/>
            <a:ext cx="3118902" cy="91440"/>
          </a:xfrm>
          <a:prstGeom prst="rect">
            <a:avLst/>
          </a:prstGeom>
          <a:solidFill>
            <a:schemeClr val="accent1">
              <a:lumMod val="60000"/>
              <a:lumOff val="40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cxnSp>
        <p:nvCxnSpPr>
          <p:cNvPr id="819" name="Straight Arrow Connector 818">
            <a:extLst>
              <a:ext uri="{FF2B5EF4-FFF2-40B4-BE49-F238E27FC236}">
                <a16:creationId xmlns:a16="http://schemas.microsoft.com/office/drawing/2014/main" id="{937896CD-D27B-4A85-B067-7D13FEB07A82}"/>
              </a:ext>
            </a:extLst>
          </p:cNvPr>
          <p:cNvCxnSpPr>
            <a:cxnSpLocks/>
          </p:cNvCxnSpPr>
          <p:nvPr/>
        </p:nvCxnSpPr>
        <p:spPr>
          <a:xfrm flipV="1">
            <a:off x="3771343" y="3276744"/>
            <a:ext cx="0" cy="285208"/>
          </a:xfrm>
          <a:prstGeom prst="straightConnector1">
            <a:avLst/>
          </a:prstGeom>
          <a:ln w="12700">
            <a:solidFill>
              <a:schemeClr val="accent3"/>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27" name="Straight Arrow Connector 826">
            <a:extLst>
              <a:ext uri="{FF2B5EF4-FFF2-40B4-BE49-F238E27FC236}">
                <a16:creationId xmlns:a16="http://schemas.microsoft.com/office/drawing/2014/main" id="{5F497066-3F2D-4DF1-8380-893500B72E44}"/>
              </a:ext>
            </a:extLst>
          </p:cNvPr>
          <p:cNvCxnSpPr>
            <a:cxnSpLocks/>
            <a:stCxn id="687" idx="3"/>
          </p:cNvCxnSpPr>
          <p:nvPr/>
        </p:nvCxnSpPr>
        <p:spPr>
          <a:xfrm>
            <a:off x="5864876" y="4460252"/>
            <a:ext cx="1326499" cy="0"/>
          </a:xfrm>
          <a:prstGeom prst="straightConnector1">
            <a:avLst/>
          </a:prstGeom>
          <a:ln w="12700">
            <a:solidFill>
              <a:schemeClr val="accent4"/>
            </a:solidFill>
            <a:prstDash val="solid"/>
            <a:headEnd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28" name="Straight Arrow Connector 827">
            <a:extLst>
              <a:ext uri="{FF2B5EF4-FFF2-40B4-BE49-F238E27FC236}">
                <a16:creationId xmlns:a16="http://schemas.microsoft.com/office/drawing/2014/main" id="{982EFAD8-C502-4ABD-B641-DC6648882E6C}"/>
              </a:ext>
            </a:extLst>
          </p:cNvPr>
          <p:cNvCxnSpPr>
            <a:cxnSpLocks/>
          </p:cNvCxnSpPr>
          <p:nvPr/>
        </p:nvCxnSpPr>
        <p:spPr>
          <a:xfrm>
            <a:off x="4421200" y="4111386"/>
            <a:ext cx="532030" cy="0"/>
          </a:xfrm>
          <a:prstGeom prst="straightConnector1">
            <a:avLst/>
          </a:prstGeom>
          <a:ln w="12700">
            <a:solidFill>
              <a:schemeClr val="accent3"/>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grpSp>
        <p:nvGrpSpPr>
          <p:cNvPr id="831" name="Group 830">
            <a:extLst>
              <a:ext uri="{FF2B5EF4-FFF2-40B4-BE49-F238E27FC236}">
                <a16:creationId xmlns:a16="http://schemas.microsoft.com/office/drawing/2014/main" id="{19C5903C-4B9F-4050-9142-73CFEB3B1875}"/>
              </a:ext>
            </a:extLst>
          </p:cNvPr>
          <p:cNvGrpSpPr/>
          <p:nvPr/>
        </p:nvGrpSpPr>
        <p:grpSpPr>
          <a:xfrm>
            <a:off x="2190205" y="1227755"/>
            <a:ext cx="548640" cy="548640"/>
            <a:chOff x="1427625" y="2265815"/>
            <a:chExt cx="844109" cy="844111"/>
          </a:xfrm>
        </p:grpSpPr>
        <p:sp>
          <p:nvSpPr>
            <p:cNvPr id="832" name="Oval 831">
              <a:extLst>
                <a:ext uri="{FF2B5EF4-FFF2-40B4-BE49-F238E27FC236}">
                  <a16:creationId xmlns:a16="http://schemas.microsoft.com/office/drawing/2014/main" id="{B3B36633-6C21-4364-944B-E5749C2A1ACF}"/>
                </a:ext>
                <a:ext uri="{C183D7F6-B498-43B3-948B-1728B52AA6E4}">
                  <adec:decorative xmlns:adec="http://schemas.microsoft.com/office/drawing/2017/decorative" val="1"/>
                </a:ext>
              </a:extLst>
            </p:cNvPr>
            <p:cNvSpPr/>
            <p:nvPr/>
          </p:nvSpPr>
          <p:spPr bwMode="auto">
            <a:xfrm>
              <a:off x="1427625" y="2265815"/>
              <a:ext cx="844109" cy="844111"/>
            </a:xfrm>
            <a:prstGeom prst="ellipse">
              <a:avLst/>
            </a:prstGeom>
            <a:solidFill>
              <a:schemeClr val="accent1">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33" name="Group 832">
              <a:extLst>
                <a:ext uri="{FF2B5EF4-FFF2-40B4-BE49-F238E27FC236}">
                  <a16:creationId xmlns:a16="http://schemas.microsoft.com/office/drawing/2014/main" id="{66203F34-5628-452E-A78E-AFF1A6019187}"/>
                </a:ext>
              </a:extLst>
            </p:cNvPr>
            <p:cNvGrpSpPr/>
            <p:nvPr/>
          </p:nvGrpSpPr>
          <p:grpSpPr>
            <a:xfrm>
              <a:off x="1653837" y="2463440"/>
              <a:ext cx="425119" cy="425320"/>
              <a:chOff x="2809993" y="1208899"/>
              <a:chExt cx="365586" cy="365760"/>
            </a:xfrm>
          </p:grpSpPr>
          <p:sp>
            <p:nvSpPr>
              <p:cNvPr id="834" name="BackToWindow_E73F" title="Icon of two arrows pointing towards eachother">
                <a:extLst>
                  <a:ext uri="{FF2B5EF4-FFF2-40B4-BE49-F238E27FC236}">
                    <a16:creationId xmlns:a16="http://schemas.microsoft.com/office/drawing/2014/main" id="{DB33ACA8-BD51-4E64-BBD1-565E895FBE61}"/>
                  </a:ext>
                </a:extLst>
              </p:cNvPr>
              <p:cNvSpPr>
                <a:spLocks noChangeAspect="1" noEditPoints="1"/>
              </p:cNvSpPr>
              <p:nvPr/>
            </p:nvSpPr>
            <p:spPr bwMode="auto">
              <a:xfrm>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35" name="BackToWindow_E73F" title="Icon of two arrows pointing towards eachother">
                <a:extLst>
                  <a:ext uri="{FF2B5EF4-FFF2-40B4-BE49-F238E27FC236}">
                    <a16:creationId xmlns:a16="http://schemas.microsoft.com/office/drawing/2014/main" id="{72F91548-E5EB-4EC8-BADE-D87FFC2B1641}"/>
                  </a:ext>
                </a:extLst>
              </p:cNvPr>
              <p:cNvSpPr>
                <a:spLocks noChangeAspect="1" noEditPoints="1"/>
              </p:cNvSpPr>
              <p:nvPr/>
            </p:nvSpPr>
            <p:spPr bwMode="auto">
              <a:xfrm flipV="1">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grpSp>
        <p:nvGrpSpPr>
          <p:cNvPr id="837" name="Graphic 21">
            <a:extLst>
              <a:ext uri="{FF2B5EF4-FFF2-40B4-BE49-F238E27FC236}">
                <a16:creationId xmlns:a16="http://schemas.microsoft.com/office/drawing/2014/main" id="{06BB979D-1D6E-458D-903B-DD881DA61970}"/>
              </a:ext>
            </a:extLst>
          </p:cNvPr>
          <p:cNvGrpSpPr/>
          <p:nvPr/>
        </p:nvGrpSpPr>
        <p:grpSpPr>
          <a:xfrm>
            <a:off x="1812867" y="3987981"/>
            <a:ext cx="299102" cy="304037"/>
            <a:chOff x="5614987" y="3432237"/>
            <a:chExt cx="946785" cy="962406"/>
          </a:xfrm>
          <a:solidFill>
            <a:schemeClr val="accent1">
              <a:lumMod val="75000"/>
            </a:schemeClr>
          </a:solidFill>
        </p:grpSpPr>
        <p:sp>
          <p:nvSpPr>
            <p:cNvPr id="838" name="Freeform: Shape 837">
              <a:extLst>
                <a:ext uri="{FF2B5EF4-FFF2-40B4-BE49-F238E27FC236}">
                  <a16:creationId xmlns:a16="http://schemas.microsoft.com/office/drawing/2014/main" id="{C8A44A45-465E-44A8-8FCB-71B2D4CCC354}"/>
                </a:ext>
              </a:extLst>
            </p:cNvPr>
            <p:cNvSpPr/>
            <p:nvPr/>
          </p:nvSpPr>
          <p:spPr>
            <a:xfrm>
              <a:off x="6288880" y="3432237"/>
              <a:ext cx="272891" cy="267747"/>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9" name="Freeform: Shape 838">
              <a:extLst>
                <a:ext uri="{FF2B5EF4-FFF2-40B4-BE49-F238E27FC236}">
                  <a16:creationId xmlns:a16="http://schemas.microsoft.com/office/drawing/2014/main" id="{14D38418-55E0-4821-8C70-46C9144A510F}"/>
                </a:ext>
              </a:extLst>
            </p:cNvPr>
            <p:cNvSpPr/>
            <p:nvPr/>
          </p:nvSpPr>
          <p:spPr>
            <a:xfrm>
              <a:off x="5614987" y="4126991"/>
              <a:ext cx="272891" cy="267652"/>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0" name="Freeform: Shape 839">
              <a:extLst>
                <a:ext uri="{FF2B5EF4-FFF2-40B4-BE49-F238E27FC236}">
                  <a16:creationId xmlns:a16="http://schemas.microsoft.com/office/drawing/2014/main" id="{690D739C-626B-479E-8277-AB2BF9DA68AC}"/>
                </a:ext>
              </a:extLst>
            </p:cNvPr>
            <p:cNvSpPr/>
            <p:nvPr/>
          </p:nvSpPr>
          <p:spPr>
            <a:xfrm>
              <a:off x="5690329" y="3495864"/>
              <a:ext cx="803338" cy="804195"/>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841" name="Connector: Elbow 840">
            <a:extLst>
              <a:ext uri="{FF2B5EF4-FFF2-40B4-BE49-F238E27FC236}">
                <a16:creationId xmlns:a16="http://schemas.microsoft.com/office/drawing/2014/main" id="{185B151B-05C1-4240-88A9-ADE6A63F9407}"/>
              </a:ext>
            </a:extLst>
          </p:cNvPr>
          <p:cNvCxnSpPr>
            <a:cxnSpLocks/>
            <a:endCxn id="700" idx="3"/>
          </p:cNvCxnSpPr>
          <p:nvPr/>
        </p:nvCxnSpPr>
        <p:spPr>
          <a:xfrm rot="5400000">
            <a:off x="2062833" y="3999557"/>
            <a:ext cx="1575296" cy="223269"/>
          </a:xfrm>
          <a:prstGeom prst="bentConnector2">
            <a:avLst/>
          </a:prstGeom>
          <a:ln w="12700">
            <a:solidFill>
              <a:schemeClr val="accent3"/>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cxnSp>
        <p:nvCxnSpPr>
          <p:cNvPr id="842" name="Straight Arrow Connector 841">
            <a:extLst>
              <a:ext uri="{FF2B5EF4-FFF2-40B4-BE49-F238E27FC236}">
                <a16:creationId xmlns:a16="http://schemas.microsoft.com/office/drawing/2014/main" id="{5544E93F-C457-44C7-9A1C-FA737618BBBB}"/>
              </a:ext>
            </a:extLst>
          </p:cNvPr>
          <p:cNvCxnSpPr>
            <a:cxnSpLocks/>
          </p:cNvCxnSpPr>
          <p:nvPr/>
        </p:nvCxnSpPr>
        <p:spPr>
          <a:xfrm>
            <a:off x="2738845" y="4111386"/>
            <a:ext cx="459325" cy="0"/>
          </a:xfrm>
          <a:prstGeom prst="straightConnector1">
            <a:avLst/>
          </a:prstGeom>
          <a:ln w="12700">
            <a:solidFill>
              <a:schemeClr val="accent3"/>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843" name="Straight Arrow Connector 842">
            <a:extLst>
              <a:ext uri="{FF2B5EF4-FFF2-40B4-BE49-F238E27FC236}">
                <a16:creationId xmlns:a16="http://schemas.microsoft.com/office/drawing/2014/main" id="{789631E1-90DF-472F-82C7-BC03B3CEB79B}"/>
              </a:ext>
            </a:extLst>
          </p:cNvPr>
          <p:cNvCxnSpPr>
            <a:cxnSpLocks/>
          </p:cNvCxnSpPr>
          <p:nvPr/>
        </p:nvCxnSpPr>
        <p:spPr>
          <a:xfrm flipH="1">
            <a:off x="2738845" y="3335772"/>
            <a:ext cx="223270" cy="0"/>
          </a:xfrm>
          <a:prstGeom prst="straightConnector1">
            <a:avLst/>
          </a:prstGeom>
          <a:ln w="12700">
            <a:solidFill>
              <a:schemeClr val="accent3"/>
            </a:solidFill>
            <a:prstDash val="solid"/>
            <a:miter lim="800000"/>
            <a:tailEnd type="none" w="med" len="sm"/>
          </a:ln>
        </p:spPr>
        <p:style>
          <a:lnRef idx="1">
            <a:schemeClr val="accent1"/>
          </a:lnRef>
          <a:fillRef idx="0">
            <a:schemeClr val="accent1"/>
          </a:fillRef>
          <a:effectRef idx="0">
            <a:schemeClr val="accent1"/>
          </a:effectRef>
          <a:fontRef idx="minor">
            <a:schemeClr val="tx1"/>
          </a:fontRef>
        </p:style>
      </p:cxnSp>
      <p:sp>
        <p:nvSpPr>
          <p:cNvPr id="787" name="Rectangle 786">
            <a:extLst>
              <a:ext uri="{FF2B5EF4-FFF2-40B4-BE49-F238E27FC236}">
                <a16:creationId xmlns:a16="http://schemas.microsoft.com/office/drawing/2014/main" id="{94CEC315-1BED-4F1E-814B-EE038B3DBE90}"/>
              </a:ext>
            </a:extLst>
          </p:cNvPr>
          <p:cNvSpPr/>
          <p:nvPr/>
        </p:nvSpPr>
        <p:spPr bwMode="auto">
          <a:xfrm>
            <a:off x="8889184" y="2560420"/>
            <a:ext cx="382235" cy="3485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panose="020F0302020204030204"/>
                <a:ea typeface="Segoe UI" pitchFamily="34" charset="0"/>
                <a:cs typeface="Segoe UI" pitchFamily="34" charset="0"/>
              </a:rPr>
              <a:t>&lt;/&gt;</a:t>
            </a:r>
          </a:p>
        </p:txBody>
      </p:sp>
      <p:grpSp>
        <p:nvGrpSpPr>
          <p:cNvPr id="140" name="Group 139">
            <a:extLst>
              <a:ext uri="{FF2B5EF4-FFF2-40B4-BE49-F238E27FC236}">
                <a16:creationId xmlns:a16="http://schemas.microsoft.com/office/drawing/2014/main" id="{D0F542D3-169C-1246-BE24-9C06421ACF4B}"/>
              </a:ext>
            </a:extLst>
          </p:cNvPr>
          <p:cNvGrpSpPr/>
          <p:nvPr/>
        </p:nvGrpSpPr>
        <p:grpSpPr>
          <a:xfrm>
            <a:off x="3497023" y="2671875"/>
            <a:ext cx="548640" cy="548640"/>
            <a:chOff x="3497023" y="2671875"/>
            <a:chExt cx="548640" cy="548640"/>
          </a:xfrm>
        </p:grpSpPr>
        <p:sp>
          <p:nvSpPr>
            <p:cNvPr id="141" name="Oval 140">
              <a:extLst>
                <a:ext uri="{FF2B5EF4-FFF2-40B4-BE49-F238E27FC236}">
                  <a16:creationId xmlns:a16="http://schemas.microsoft.com/office/drawing/2014/main" id="{4C284E8A-3935-8740-A262-0D2241C8EF97}"/>
                </a:ext>
              </a:extLst>
            </p:cNvPr>
            <p:cNvSpPr/>
            <p:nvPr/>
          </p:nvSpPr>
          <p:spPr bwMode="auto">
            <a:xfrm>
              <a:off x="3497023" y="2671875"/>
              <a:ext cx="548640" cy="548640"/>
            </a:xfrm>
            <a:prstGeom prst="ellips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pic>
          <p:nvPicPr>
            <p:cNvPr id="142" name="Graphic 141">
              <a:extLst>
                <a:ext uri="{FF2B5EF4-FFF2-40B4-BE49-F238E27FC236}">
                  <a16:creationId xmlns:a16="http://schemas.microsoft.com/office/drawing/2014/main" id="{41F69785-3A41-D448-8D26-7547ACB631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94648" y="2900533"/>
              <a:ext cx="228421" cy="228421"/>
            </a:xfrm>
            <a:prstGeom prst="rect">
              <a:avLst/>
            </a:prstGeom>
          </p:spPr>
        </p:pic>
        <p:pic>
          <p:nvPicPr>
            <p:cNvPr id="143" name="Picture 142">
              <a:extLst>
                <a:ext uri="{FF2B5EF4-FFF2-40B4-BE49-F238E27FC236}">
                  <a16:creationId xmlns:a16="http://schemas.microsoft.com/office/drawing/2014/main" id="{14E33092-035E-854B-999B-D509036F667A}"/>
                </a:ext>
              </a:extLst>
            </p:cNvPr>
            <p:cNvPicPr>
              <a:picLocks noChangeAspect="1"/>
            </p:cNvPicPr>
            <p:nvPr/>
          </p:nvPicPr>
          <p:blipFill>
            <a:blip r:embed="rId10"/>
            <a:stretch>
              <a:fillRect/>
            </a:stretch>
          </p:blipFill>
          <p:spPr>
            <a:xfrm>
              <a:off x="3712269" y="2736833"/>
              <a:ext cx="137197" cy="137197"/>
            </a:xfrm>
            <a:prstGeom prst="rect">
              <a:avLst/>
            </a:prstGeom>
          </p:spPr>
        </p:pic>
        <p:pic>
          <p:nvPicPr>
            <p:cNvPr id="144" name="Picture 143">
              <a:extLst>
                <a:ext uri="{FF2B5EF4-FFF2-40B4-BE49-F238E27FC236}">
                  <a16:creationId xmlns:a16="http://schemas.microsoft.com/office/drawing/2014/main" id="{0CE1FE37-A42B-D94D-B0AB-1575354E2AF9}"/>
                </a:ext>
              </a:extLst>
            </p:cNvPr>
            <p:cNvPicPr>
              <a:picLocks noChangeAspect="1"/>
            </p:cNvPicPr>
            <p:nvPr/>
          </p:nvPicPr>
          <p:blipFill>
            <a:blip r:embed="rId10"/>
            <a:stretch>
              <a:fillRect/>
            </a:stretch>
          </p:blipFill>
          <p:spPr>
            <a:xfrm>
              <a:off x="3826958" y="2817845"/>
              <a:ext cx="137197" cy="137197"/>
            </a:xfrm>
            <a:prstGeom prst="rect">
              <a:avLst/>
            </a:prstGeom>
          </p:spPr>
        </p:pic>
      </p:grpSp>
      <p:sp>
        <p:nvSpPr>
          <p:cNvPr id="3" name="Rectangle 2">
            <a:extLst>
              <a:ext uri="{FF2B5EF4-FFF2-40B4-BE49-F238E27FC236}">
                <a16:creationId xmlns:a16="http://schemas.microsoft.com/office/drawing/2014/main" id="{EE77040E-E3B6-46ED-8BC1-8A86E6F36146}"/>
              </a:ext>
            </a:extLst>
          </p:cNvPr>
          <p:cNvSpPr/>
          <p:nvPr/>
        </p:nvSpPr>
        <p:spPr bwMode="auto">
          <a:xfrm>
            <a:off x="3038448" y="2294016"/>
            <a:ext cx="1453888" cy="375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Real Time Processing engine</a:t>
            </a:r>
          </a:p>
        </p:txBody>
      </p:sp>
      <p:sp>
        <p:nvSpPr>
          <p:cNvPr id="5" name="Rectangle 4">
            <a:extLst>
              <a:ext uri="{FF2B5EF4-FFF2-40B4-BE49-F238E27FC236}">
                <a16:creationId xmlns:a16="http://schemas.microsoft.com/office/drawing/2014/main" id="{64434790-3DB9-4C40-BCEC-4BCEA7694BC8}"/>
              </a:ext>
            </a:extLst>
          </p:cNvPr>
          <p:cNvSpPr/>
          <p:nvPr/>
        </p:nvSpPr>
        <p:spPr bwMode="auto">
          <a:xfrm>
            <a:off x="4993139" y="2707321"/>
            <a:ext cx="1062804" cy="741510"/>
          </a:xfrm>
          <a:prstGeom prst="rect">
            <a:avLst/>
          </a:prstGeom>
          <a:no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COLD STORE</a:t>
            </a:r>
            <a:b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800" b="0" i="0" u="none" strike="noStrike" kern="1200" cap="none" spc="0" normalizeH="0" baseline="0" noProof="0" dirty="0">
                <a:ln>
                  <a:noFill/>
                </a:ln>
                <a:solidFill>
                  <a:srgbClr val="4472C4"/>
                </a:solidFill>
                <a:effectLst/>
                <a:uLnTx/>
                <a:uFillTx/>
                <a:latin typeface="Calibri Light" panose="020F0302020204030204"/>
                <a:ea typeface="+mn-ea"/>
                <a:cs typeface="+mn-cs"/>
              </a:rPr>
              <a:t>ADLS Gen 2/ Azure Blob</a:t>
            </a:r>
            <a:endPar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32554430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6" name="Freeform: Shape 1015">
            <a:extLst>
              <a:ext uri="{FF2B5EF4-FFF2-40B4-BE49-F238E27FC236}">
                <a16:creationId xmlns:a16="http://schemas.microsoft.com/office/drawing/2014/main" id="{0AAD54A1-4101-4AF1-8F08-BE8D47F41258}"/>
              </a:ext>
            </a:extLst>
          </p:cNvPr>
          <p:cNvSpPr/>
          <p:nvPr/>
        </p:nvSpPr>
        <p:spPr bwMode="auto">
          <a:xfrm>
            <a:off x="694230" y="2897173"/>
            <a:ext cx="992070" cy="2443324"/>
          </a:xfrm>
          <a:custGeom>
            <a:avLst/>
            <a:gdLst>
              <a:gd name="connsiteX0" fmla="*/ 568562 w 992070"/>
              <a:gd name="connsiteY0" fmla="*/ 0 h 2443324"/>
              <a:gd name="connsiteX1" fmla="*/ 676485 w 992070"/>
              <a:gd name="connsiteY1" fmla="*/ 0 h 2443324"/>
              <a:gd name="connsiteX2" fmla="*/ 676485 w 992070"/>
              <a:gd name="connsiteY2" fmla="*/ 387341 h 2443324"/>
              <a:gd name="connsiteX3" fmla="*/ 992070 w 992070"/>
              <a:gd name="connsiteY3" fmla="*/ 387341 h 2443324"/>
              <a:gd name="connsiteX4" fmla="*/ 992070 w 992070"/>
              <a:gd name="connsiteY4" fmla="*/ 497069 h 2443324"/>
              <a:gd name="connsiteX5" fmla="*/ 676485 w 992070"/>
              <a:gd name="connsiteY5" fmla="*/ 497069 h 2443324"/>
              <a:gd name="connsiteX6" fmla="*/ 676485 w 992070"/>
              <a:gd name="connsiteY6" fmla="*/ 1165808 h 2443324"/>
              <a:gd name="connsiteX7" fmla="*/ 992070 w 992070"/>
              <a:gd name="connsiteY7" fmla="*/ 1165808 h 2443324"/>
              <a:gd name="connsiteX8" fmla="*/ 992070 w 992070"/>
              <a:gd name="connsiteY8" fmla="*/ 1275536 h 2443324"/>
              <a:gd name="connsiteX9" fmla="*/ 676485 w 992070"/>
              <a:gd name="connsiteY9" fmla="*/ 1275536 h 2443324"/>
              <a:gd name="connsiteX10" fmla="*/ 676485 w 992070"/>
              <a:gd name="connsiteY10" fmla="*/ 1944275 h 2443324"/>
              <a:gd name="connsiteX11" fmla="*/ 992070 w 992070"/>
              <a:gd name="connsiteY11" fmla="*/ 1944275 h 2443324"/>
              <a:gd name="connsiteX12" fmla="*/ 992070 w 992070"/>
              <a:gd name="connsiteY12" fmla="*/ 2054003 h 2443324"/>
              <a:gd name="connsiteX13" fmla="*/ 676485 w 992070"/>
              <a:gd name="connsiteY13" fmla="*/ 2054003 h 2443324"/>
              <a:gd name="connsiteX14" fmla="*/ 676485 w 992070"/>
              <a:gd name="connsiteY14" fmla="*/ 2443322 h 2443324"/>
              <a:gd name="connsiteX15" fmla="*/ 672478 w 992070"/>
              <a:gd name="connsiteY15" fmla="*/ 2443322 h 2443324"/>
              <a:gd name="connsiteX16" fmla="*/ 672478 w 992070"/>
              <a:gd name="connsiteY16" fmla="*/ 2443324 h 2443324"/>
              <a:gd name="connsiteX17" fmla="*/ 1 w 992070"/>
              <a:gd name="connsiteY17" fmla="*/ 2443324 h 2443324"/>
              <a:gd name="connsiteX18" fmla="*/ 1 w 992070"/>
              <a:gd name="connsiteY18" fmla="*/ 2335401 h 2443324"/>
              <a:gd name="connsiteX19" fmla="*/ 568562 w 992070"/>
              <a:gd name="connsiteY19" fmla="*/ 2335401 h 2443324"/>
              <a:gd name="connsiteX20" fmla="*/ 568562 w 992070"/>
              <a:gd name="connsiteY20" fmla="*/ 1664857 h 2443324"/>
              <a:gd name="connsiteX21" fmla="*/ 0 w 992070"/>
              <a:gd name="connsiteY21" fmla="*/ 1664857 h 2443324"/>
              <a:gd name="connsiteX22" fmla="*/ 0 w 992070"/>
              <a:gd name="connsiteY22" fmla="*/ 1556934 h 2443324"/>
              <a:gd name="connsiteX23" fmla="*/ 568562 w 992070"/>
              <a:gd name="connsiteY23" fmla="*/ 1556934 h 2443324"/>
              <a:gd name="connsiteX24" fmla="*/ 568562 w 992070"/>
              <a:gd name="connsiteY24" fmla="*/ 886392 h 2443324"/>
              <a:gd name="connsiteX25" fmla="*/ 2361 w 992070"/>
              <a:gd name="connsiteY25" fmla="*/ 886392 h 2443324"/>
              <a:gd name="connsiteX26" fmla="*/ 2361 w 992070"/>
              <a:gd name="connsiteY26" fmla="*/ 778469 h 2443324"/>
              <a:gd name="connsiteX27" fmla="*/ 568562 w 992070"/>
              <a:gd name="connsiteY27" fmla="*/ 778469 h 2443324"/>
              <a:gd name="connsiteX28" fmla="*/ 568562 w 992070"/>
              <a:gd name="connsiteY28" fmla="*/ 107924 h 2443324"/>
              <a:gd name="connsiteX29" fmla="*/ 0 w 992070"/>
              <a:gd name="connsiteY29" fmla="*/ 107924 h 2443324"/>
              <a:gd name="connsiteX30" fmla="*/ 0 w 992070"/>
              <a:gd name="connsiteY30" fmla="*/ 1 h 2443324"/>
              <a:gd name="connsiteX31" fmla="*/ 568562 w 992070"/>
              <a:gd name="connsiteY31" fmla="*/ 1 h 244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2070" h="2443324">
                <a:moveTo>
                  <a:pt x="568562" y="0"/>
                </a:moveTo>
                <a:lnTo>
                  <a:pt x="676485" y="0"/>
                </a:lnTo>
                <a:lnTo>
                  <a:pt x="676485" y="387341"/>
                </a:lnTo>
                <a:lnTo>
                  <a:pt x="992070" y="387341"/>
                </a:lnTo>
                <a:lnTo>
                  <a:pt x="992070" y="497069"/>
                </a:lnTo>
                <a:lnTo>
                  <a:pt x="676485" y="497069"/>
                </a:lnTo>
                <a:lnTo>
                  <a:pt x="676485" y="1165808"/>
                </a:lnTo>
                <a:lnTo>
                  <a:pt x="992070" y="1165808"/>
                </a:lnTo>
                <a:lnTo>
                  <a:pt x="992070" y="1275536"/>
                </a:lnTo>
                <a:lnTo>
                  <a:pt x="676485" y="1275536"/>
                </a:lnTo>
                <a:lnTo>
                  <a:pt x="676485" y="1944275"/>
                </a:lnTo>
                <a:lnTo>
                  <a:pt x="992070" y="1944275"/>
                </a:lnTo>
                <a:lnTo>
                  <a:pt x="992070" y="2054003"/>
                </a:lnTo>
                <a:lnTo>
                  <a:pt x="676485" y="2054003"/>
                </a:lnTo>
                <a:lnTo>
                  <a:pt x="676485" y="2443322"/>
                </a:lnTo>
                <a:lnTo>
                  <a:pt x="672478" y="2443322"/>
                </a:lnTo>
                <a:lnTo>
                  <a:pt x="672478" y="2443324"/>
                </a:lnTo>
                <a:lnTo>
                  <a:pt x="1" y="2443324"/>
                </a:lnTo>
                <a:lnTo>
                  <a:pt x="1" y="2335401"/>
                </a:lnTo>
                <a:lnTo>
                  <a:pt x="568562" y="2335401"/>
                </a:lnTo>
                <a:lnTo>
                  <a:pt x="568562" y="1664857"/>
                </a:lnTo>
                <a:lnTo>
                  <a:pt x="0" y="1664857"/>
                </a:lnTo>
                <a:lnTo>
                  <a:pt x="0" y="1556934"/>
                </a:lnTo>
                <a:lnTo>
                  <a:pt x="568562" y="1556934"/>
                </a:lnTo>
                <a:lnTo>
                  <a:pt x="568562" y="886392"/>
                </a:lnTo>
                <a:lnTo>
                  <a:pt x="2361" y="886392"/>
                </a:lnTo>
                <a:lnTo>
                  <a:pt x="2361" y="778469"/>
                </a:lnTo>
                <a:lnTo>
                  <a:pt x="568562" y="778469"/>
                </a:lnTo>
                <a:lnTo>
                  <a:pt x="568562" y="107924"/>
                </a:lnTo>
                <a:lnTo>
                  <a:pt x="0" y="107924"/>
                </a:lnTo>
                <a:lnTo>
                  <a:pt x="0" y="1"/>
                </a:lnTo>
                <a:lnTo>
                  <a:pt x="568562" y="1"/>
                </a:lnTo>
                <a:close/>
              </a:path>
            </a:pathLst>
          </a:custGeom>
          <a:solidFill>
            <a:schemeClr val="bg1"/>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1018" name="Rectangle 1017">
            <a:extLst>
              <a:ext uri="{FF2B5EF4-FFF2-40B4-BE49-F238E27FC236}">
                <a16:creationId xmlns:a16="http://schemas.microsoft.com/office/drawing/2014/main" id="{329557AE-6D7F-4FE0-BAC0-1EEC22F7D10B}"/>
              </a:ext>
            </a:extLst>
          </p:cNvPr>
          <p:cNvSpPr/>
          <p:nvPr/>
        </p:nvSpPr>
        <p:spPr bwMode="auto">
          <a:xfrm>
            <a:off x="1663901" y="3240620"/>
            <a:ext cx="260839" cy="17626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203" name="Title 1">
            <a:extLst>
              <a:ext uri="{FF2B5EF4-FFF2-40B4-BE49-F238E27FC236}">
                <a16:creationId xmlns:a16="http://schemas.microsoft.com/office/drawing/2014/main" id="{B5FE7631-AB65-4401-8750-D79BB0EA9DC5}"/>
              </a:ext>
            </a:extLst>
          </p:cNvPr>
          <p:cNvSpPr txBox="1">
            <a:spLocks/>
          </p:cNvSpPr>
          <p:nvPr/>
        </p:nvSpPr>
        <p:spPr>
          <a:xfrm>
            <a:off x="569409" y="194800"/>
            <a:ext cx="11049000" cy="492443"/>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ED7D31"/>
                </a:solidFill>
                <a:effectLst/>
                <a:uLnTx/>
                <a:uFillTx/>
                <a:latin typeface="Calibri Light" panose="020F0302020204030204"/>
                <a:ea typeface="+mn-ea"/>
                <a:cs typeface="Segoe UI" pitchFamily="34" charset="0"/>
              </a:rPr>
              <a:t>Azure Time Series Insights pay as you go high level architecture</a:t>
            </a:r>
          </a:p>
        </p:txBody>
      </p:sp>
      <p:sp>
        <p:nvSpPr>
          <p:cNvPr id="689" name="Rectangle 688">
            <a:extLst>
              <a:ext uri="{FF2B5EF4-FFF2-40B4-BE49-F238E27FC236}">
                <a16:creationId xmlns:a16="http://schemas.microsoft.com/office/drawing/2014/main" id="{CFFBF892-5B46-4924-96A0-80EC5F074E20}"/>
              </a:ext>
            </a:extLst>
          </p:cNvPr>
          <p:cNvSpPr/>
          <p:nvPr/>
        </p:nvSpPr>
        <p:spPr bwMode="auto">
          <a:xfrm>
            <a:off x="5703707"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0" name="Arrow: Chevron 689">
            <a:extLst>
              <a:ext uri="{FF2B5EF4-FFF2-40B4-BE49-F238E27FC236}">
                <a16:creationId xmlns:a16="http://schemas.microsoft.com/office/drawing/2014/main" id="{D9D1575B-E5CB-4148-B102-EE661420ABC8}"/>
              </a:ext>
              <a:ext uri="{C183D7F6-B498-43B3-948B-1728B52AA6E4}">
                <adec:decorative xmlns:adec="http://schemas.microsoft.com/office/drawing/2017/decorative" val="1"/>
              </a:ext>
            </a:extLst>
          </p:cNvPr>
          <p:cNvSpPr/>
          <p:nvPr/>
        </p:nvSpPr>
        <p:spPr>
          <a:xfrm>
            <a:off x="4414712" y="1342055"/>
            <a:ext cx="2225997" cy="320040"/>
          </a:xfrm>
          <a:prstGeom prst="chevron">
            <a:avLst>
              <a:gd name="adj" fmla="val 35474"/>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Store</a:t>
            </a:r>
          </a:p>
        </p:txBody>
      </p:sp>
      <p:sp>
        <p:nvSpPr>
          <p:cNvPr id="691" name="Arrow: Chevron 690">
            <a:extLst>
              <a:ext uri="{FF2B5EF4-FFF2-40B4-BE49-F238E27FC236}">
                <a16:creationId xmlns:a16="http://schemas.microsoft.com/office/drawing/2014/main" id="{BDC07892-3895-4888-BD77-D0A010184D81}"/>
              </a:ext>
              <a:ext uri="{C183D7F6-B498-43B3-948B-1728B52AA6E4}">
                <adec:decorative xmlns:adec="http://schemas.microsoft.com/office/drawing/2017/decorative" val="1"/>
              </a:ext>
            </a:extLst>
          </p:cNvPr>
          <p:cNvSpPr/>
          <p:nvPr/>
        </p:nvSpPr>
        <p:spPr>
          <a:xfrm>
            <a:off x="6566210" y="1342055"/>
            <a:ext cx="2225997" cy="320040"/>
          </a:xfrm>
          <a:prstGeom prst="chevron">
            <a:avLst>
              <a:gd name="adj" fmla="val 35474"/>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Model</a:t>
            </a:r>
          </a:p>
        </p:txBody>
      </p:sp>
      <p:sp>
        <p:nvSpPr>
          <p:cNvPr id="692" name="Rectangle 691">
            <a:extLst>
              <a:ext uri="{FF2B5EF4-FFF2-40B4-BE49-F238E27FC236}">
                <a16:creationId xmlns:a16="http://schemas.microsoft.com/office/drawing/2014/main" id="{DA16F583-D343-458B-A7C8-A6EDB471CCA9}"/>
              </a:ext>
              <a:ext uri="{C183D7F6-B498-43B3-948B-1728B52AA6E4}">
                <adec:decorative xmlns:adec="http://schemas.microsoft.com/office/drawing/2017/decorative" val="1"/>
              </a:ext>
            </a:extLst>
          </p:cNvPr>
          <p:cNvSpPr/>
          <p:nvPr/>
        </p:nvSpPr>
        <p:spPr>
          <a:xfrm>
            <a:off x="4411675" y="5955277"/>
            <a:ext cx="2152728" cy="91440"/>
          </a:xfrm>
          <a:prstGeom prst="rect">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693" name="Rectangle 692">
            <a:extLst>
              <a:ext uri="{FF2B5EF4-FFF2-40B4-BE49-F238E27FC236}">
                <a16:creationId xmlns:a16="http://schemas.microsoft.com/office/drawing/2014/main" id="{9BFFE9CD-275A-4EC4-ACD0-2C87D7C301BA}"/>
              </a:ext>
              <a:ext uri="{C183D7F6-B498-43B3-948B-1728B52AA6E4}">
                <adec:decorative xmlns:adec="http://schemas.microsoft.com/office/drawing/2017/decorative" val="1"/>
              </a:ext>
            </a:extLst>
          </p:cNvPr>
          <p:cNvSpPr/>
          <p:nvPr/>
        </p:nvSpPr>
        <p:spPr>
          <a:xfrm>
            <a:off x="6590555" y="5955277"/>
            <a:ext cx="2126935" cy="91440"/>
          </a:xfrm>
          <a:prstGeom prst="rect">
            <a:avLst/>
          </a:prstGeom>
          <a:solidFill>
            <a:schemeClr val="accent1"/>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694" name="Rectangle 693">
            <a:extLst>
              <a:ext uri="{FF2B5EF4-FFF2-40B4-BE49-F238E27FC236}">
                <a16:creationId xmlns:a16="http://schemas.microsoft.com/office/drawing/2014/main" id="{FA6A3D9F-AA5A-45B1-ADC6-339ADD47D046}"/>
              </a:ext>
            </a:extLst>
          </p:cNvPr>
          <p:cNvSpPr/>
          <p:nvPr/>
        </p:nvSpPr>
        <p:spPr bwMode="auto">
          <a:xfrm>
            <a:off x="5703707" y="364381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5" name="Rectangle 694">
            <a:extLst>
              <a:ext uri="{FF2B5EF4-FFF2-40B4-BE49-F238E27FC236}">
                <a16:creationId xmlns:a16="http://schemas.microsoft.com/office/drawing/2014/main" id="{EFE67C7D-311A-4C4C-BED5-959F2FB8170F}"/>
              </a:ext>
            </a:extLst>
          </p:cNvPr>
          <p:cNvSpPr/>
          <p:nvPr/>
        </p:nvSpPr>
        <p:spPr bwMode="auto">
          <a:xfrm>
            <a:off x="3687390" y="2493902"/>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6" name="Rectangle 695">
            <a:extLst>
              <a:ext uri="{FF2B5EF4-FFF2-40B4-BE49-F238E27FC236}">
                <a16:creationId xmlns:a16="http://schemas.microsoft.com/office/drawing/2014/main" id="{CAA738ED-0EEA-4EA8-8FA4-EDC7311380AB}"/>
              </a:ext>
            </a:extLst>
          </p:cNvPr>
          <p:cNvSpPr/>
          <p:nvPr/>
        </p:nvSpPr>
        <p:spPr bwMode="auto">
          <a:xfrm>
            <a:off x="7844728" y="5275550"/>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7" name="Rectangle 696">
            <a:extLst>
              <a:ext uri="{FF2B5EF4-FFF2-40B4-BE49-F238E27FC236}">
                <a16:creationId xmlns:a16="http://schemas.microsoft.com/office/drawing/2014/main" id="{1AD8FEF7-DCF7-47A9-815A-0326A77D0E63}"/>
              </a:ext>
            </a:extLst>
          </p:cNvPr>
          <p:cNvSpPr/>
          <p:nvPr/>
        </p:nvSpPr>
        <p:spPr bwMode="auto">
          <a:xfrm>
            <a:off x="7349455" y="5275550"/>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8" name="Rectangle 697">
            <a:extLst>
              <a:ext uri="{FF2B5EF4-FFF2-40B4-BE49-F238E27FC236}">
                <a16:creationId xmlns:a16="http://schemas.microsoft.com/office/drawing/2014/main" id="{326A2520-90FD-4269-BB67-67071B19CEA7}"/>
              </a:ext>
            </a:extLst>
          </p:cNvPr>
          <p:cNvSpPr/>
          <p:nvPr/>
        </p:nvSpPr>
        <p:spPr bwMode="auto">
          <a:xfrm>
            <a:off x="5170163"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699" name="Rectangle 698">
            <a:extLst>
              <a:ext uri="{FF2B5EF4-FFF2-40B4-BE49-F238E27FC236}">
                <a16:creationId xmlns:a16="http://schemas.microsoft.com/office/drawing/2014/main" id="{1FE7CE96-D11C-4EE0-9FA3-CD6C8376D38E}"/>
              </a:ext>
            </a:extLst>
          </p:cNvPr>
          <p:cNvSpPr/>
          <p:nvPr/>
        </p:nvSpPr>
        <p:spPr bwMode="auto">
          <a:xfrm>
            <a:off x="5170163" y="364381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700" name="Rectangle 699">
            <a:extLst>
              <a:ext uri="{FF2B5EF4-FFF2-40B4-BE49-F238E27FC236}">
                <a16:creationId xmlns:a16="http://schemas.microsoft.com/office/drawing/2014/main" id="{F8A530C1-44B3-47B7-94D6-0EF37E990A2B}"/>
              </a:ext>
            </a:extLst>
          </p:cNvPr>
          <p:cNvSpPr/>
          <p:nvPr/>
        </p:nvSpPr>
        <p:spPr bwMode="auto">
          <a:xfrm>
            <a:off x="8017272" y="4379667"/>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701" name="Rectangle 700">
            <a:extLst>
              <a:ext uri="{FF2B5EF4-FFF2-40B4-BE49-F238E27FC236}">
                <a16:creationId xmlns:a16="http://schemas.microsoft.com/office/drawing/2014/main" id="{4EB47F18-7CD9-4272-AC6F-AC7EAAB34E3F}"/>
              </a:ext>
            </a:extLst>
          </p:cNvPr>
          <p:cNvSpPr/>
          <p:nvPr/>
        </p:nvSpPr>
        <p:spPr bwMode="auto">
          <a:xfrm>
            <a:off x="10535230" y="4341730"/>
            <a:ext cx="400822" cy="4008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702" name="Rectangle 701">
            <a:extLst>
              <a:ext uri="{FF2B5EF4-FFF2-40B4-BE49-F238E27FC236}">
                <a16:creationId xmlns:a16="http://schemas.microsoft.com/office/drawing/2014/main" id="{38043F67-5592-4982-B7C9-E8B90CDE2DC9}"/>
              </a:ext>
            </a:extLst>
          </p:cNvPr>
          <p:cNvSpPr/>
          <p:nvPr/>
        </p:nvSpPr>
        <p:spPr bwMode="auto">
          <a:xfrm>
            <a:off x="2058364" y="462070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Digital Twins</a:t>
            </a:r>
          </a:p>
        </p:txBody>
      </p:sp>
      <p:sp>
        <p:nvSpPr>
          <p:cNvPr id="703" name="Rectangle 702">
            <a:extLst>
              <a:ext uri="{FF2B5EF4-FFF2-40B4-BE49-F238E27FC236}">
                <a16:creationId xmlns:a16="http://schemas.microsoft.com/office/drawing/2014/main" id="{FE51D644-64AF-48DD-A55E-E08C5883EBE4}"/>
              </a:ext>
            </a:extLst>
          </p:cNvPr>
          <p:cNvSpPr/>
          <p:nvPr/>
        </p:nvSpPr>
        <p:spPr bwMode="auto">
          <a:xfrm>
            <a:off x="2058364" y="3861869"/>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IO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sp>
        <p:nvSpPr>
          <p:cNvPr id="704" name="Rectangle 703">
            <a:extLst>
              <a:ext uri="{FF2B5EF4-FFF2-40B4-BE49-F238E27FC236}">
                <a16:creationId xmlns:a16="http://schemas.microsoft.com/office/drawing/2014/main" id="{C6A9CF4B-167E-4907-964C-08146F8618BB}"/>
              </a:ext>
            </a:extLst>
          </p:cNvPr>
          <p:cNvSpPr/>
          <p:nvPr/>
        </p:nvSpPr>
        <p:spPr bwMode="auto">
          <a:xfrm>
            <a:off x="2058364" y="3062268"/>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Azure</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ven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Hub</a:t>
            </a:r>
          </a:p>
        </p:txBody>
      </p:sp>
      <p:grpSp>
        <p:nvGrpSpPr>
          <p:cNvPr id="705" name="Graphic 21">
            <a:extLst>
              <a:ext uri="{FF2B5EF4-FFF2-40B4-BE49-F238E27FC236}">
                <a16:creationId xmlns:a16="http://schemas.microsoft.com/office/drawing/2014/main" id="{8D8E9E2A-BF1A-44D2-BE9B-9D920F880474}"/>
              </a:ext>
            </a:extLst>
          </p:cNvPr>
          <p:cNvGrpSpPr/>
          <p:nvPr/>
        </p:nvGrpSpPr>
        <p:grpSpPr>
          <a:xfrm>
            <a:off x="1812867" y="3173105"/>
            <a:ext cx="265478" cy="330601"/>
            <a:chOff x="5653616" y="2462212"/>
            <a:chExt cx="924390" cy="951356"/>
          </a:xfrm>
          <a:solidFill>
            <a:schemeClr val="accent1">
              <a:lumMod val="75000"/>
            </a:schemeClr>
          </a:solidFill>
        </p:grpSpPr>
        <p:sp>
          <p:nvSpPr>
            <p:cNvPr id="706" name="Freeform: Shape 705">
              <a:extLst>
                <a:ext uri="{FF2B5EF4-FFF2-40B4-BE49-F238E27FC236}">
                  <a16:creationId xmlns:a16="http://schemas.microsoft.com/office/drawing/2014/main" id="{6159E9F6-4E80-4236-B915-D853EBBF42AD}"/>
                </a:ext>
              </a:extLst>
            </p:cNvPr>
            <p:cNvSpPr/>
            <p:nvPr/>
          </p:nvSpPr>
          <p:spPr>
            <a:xfrm>
              <a:off x="5653616" y="2462212"/>
              <a:ext cx="924348" cy="220122"/>
            </a:xfrm>
            <a:custGeom>
              <a:avLst/>
              <a:gdLst>
                <a:gd name="connsiteX0" fmla="*/ 2709 w 924348"/>
                <a:gd name="connsiteY0" fmla="*/ 0 h 220122"/>
                <a:gd name="connsiteX1" fmla="*/ 2709 w 924348"/>
                <a:gd name="connsiteY1" fmla="*/ 220123 h 220122"/>
                <a:gd name="connsiteX2" fmla="*/ 136440 w 924348"/>
                <a:gd name="connsiteY2" fmla="*/ 220123 h 220122"/>
                <a:gd name="connsiteX3" fmla="*/ 136440 w 924348"/>
                <a:gd name="connsiteY3" fmla="*/ 124016 h 220122"/>
                <a:gd name="connsiteX4" fmla="*/ 800333 w 924348"/>
                <a:gd name="connsiteY4" fmla="*/ 124016 h 220122"/>
                <a:gd name="connsiteX5" fmla="*/ 800333 w 924348"/>
                <a:gd name="connsiteY5" fmla="*/ 220123 h 220122"/>
                <a:gd name="connsiteX6" fmla="*/ 924348 w 924348"/>
                <a:gd name="connsiteY6" fmla="*/ 220123 h 220122"/>
                <a:gd name="connsiteX7" fmla="*/ 924348 w 924348"/>
                <a:gd name="connsiteY7" fmla="*/ 0 h 220122"/>
                <a:gd name="connsiteX8" fmla="*/ 2709 w 924348"/>
                <a:gd name="connsiteY8" fmla="*/ 0 h 2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122">
                  <a:moveTo>
                    <a:pt x="2709" y="0"/>
                  </a:moveTo>
                  <a:cubicBezTo>
                    <a:pt x="2709" y="0"/>
                    <a:pt x="-3387" y="220123"/>
                    <a:pt x="2709" y="220123"/>
                  </a:cubicBezTo>
                  <a:cubicBezTo>
                    <a:pt x="8805" y="220123"/>
                    <a:pt x="136440" y="220123"/>
                    <a:pt x="136440" y="220123"/>
                  </a:cubicBezTo>
                  <a:lnTo>
                    <a:pt x="136440" y="124016"/>
                  </a:lnTo>
                  <a:lnTo>
                    <a:pt x="800333" y="124016"/>
                  </a:lnTo>
                  <a:lnTo>
                    <a:pt x="800333" y="220123"/>
                  </a:lnTo>
                  <a:lnTo>
                    <a:pt x="924348" y="220123"/>
                  </a:lnTo>
                  <a:lnTo>
                    <a:pt x="924348" y="0"/>
                  </a:lnTo>
                  <a:lnTo>
                    <a:pt x="2709"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7" name="Freeform: Shape 706">
              <a:extLst>
                <a:ext uri="{FF2B5EF4-FFF2-40B4-BE49-F238E27FC236}">
                  <a16:creationId xmlns:a16="http://schemas.microsoft.com/office/drawing/2014/main" id="{1080D2EB-17DA-4987-A4EC-0E5AF5D39E77}"/>
                </a:ext>
              </a:extLst>
            </p:cNvPr>
            <p:cNvSpPr/>
            <p:nvPr/>
          </p:nvSpPr>
          <p:spPr>
            <a:xfrm>
              <a:off x="5653658" y="3193351"/>
              <a:ext cx="924348" cy="220217"/>
            </a:xfrm>
            <a:custGeom>
              <a:avLst/>
              <a:gdLst>
                <a:gd name="connsiteX0" fmla="*/ 921639 w 924348"/>
                <a:gd name="connsiteY0" fmla="*/ 220123 h 220217"/>
                <a:gd name="connsiteX1" fmla="*/ 921639 w 924348"/>
                <a:gd name="connsiteY1" fmla="*/ 0 h 220217"/>
                <a:gd name="connsiteX2" fmla="*/ 787908 w 924348"/>
                <a:gd name="connsiteY2" fmla="*/ 0 h 220217"/>
                <a:gd name="connsiteX3" fmla="*/ 787908 w 924348"/>
                <a:gd name="connsiteY3" fmla="*/ 96107 h 220217"/>
                <a:gd name="connsiteX4" fmla="*/ 124016 w 924348"/>
                <a:gd name="connsiteY4" fmla="*/ 96107 h 220217"/>
                <a:gd name="connsiteX5" fmla="*/ 124016 w 924348"/>
                <a:gd name="connsiteY5" fmla="*/ 95 h 220217"/>
                <a:gd name="connsiteX6" fmla="*/ 0 w 924348"/>
                <a:gd name="connsiteY6" fmla="*/ 95 h 220217"/>
                <a:gd name="connsiteX7" fmla="*/ 0 w 924348"/>
                <a:gd name="connsiteY7" fmla="*/ 220218 h 220217"/>
                <a:gd name="connsiteX8" fmla="*/ 921639 w 924348"/>
                <a:gd name="connsiteY8" fmla="*/ 220218 h 22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217">
                  <a:moveTo>
                    <a:pt x="921639" y="220123"/>
                  </a:moveTo>
                  <a:cubicBezTo>
                    <a:pt x="921639" y="220123"/>
                    <a:pt x="927735" y="0"/>
                    <a:pt x="921639" y="0"/>
                  </a:cubicBezTo>
                  <a:cubicBezTo>
                    <a:pt x="915543" y="0"/>
                    <a:pt x="787908" y="0"/>
                    <a:pt x="787908" y="0"/>
                  </a:cubicBezTo>
                  <a:lnTo>
                    <a:pt x="787908" y="96107"/>
                  </a:lnTo>
                  <a:lnTo>
                    <a:pt x="124016" y="96107"/>
                  </a:lnTo>
                  <a:lnTo>
                    <a:pt x="124016" y="95"/>
                  </a:lnTo>
                  <a:lnTo>
                    <a:pt x="0" y="95"/>
                  </a:lnTo>
                  <a:lnTo>
                    <a:pt x="0" y="220218"/>
                  </a:lnTo>
                  <a:lnTo>
                    <a:pt x="921639" y="220218"/>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8" name="Freeform: Shape 707">
              <a:extLst>
                <a:ext uri="{FF2B5EF4-FFF2-40B4-BE49-F238E27FC236}">
                  <a16:creationId xmlns:a16="http://schemas.microsoft.com/office/drawing/2014/main" id="{25A562BB-EC18-4882-9EDF-78F7428CDC84}"/>
                </a:ext>
              </a:extLst>
            </p:cNvPr>
            <p:cNvSpPr/>
            <p:nvPr/>
          </p:nvSpPr>
          <p:spPr>
            <a:xfrm>
              <a:off x="5838729" y="268233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9" name="Freeform: Shape 708">
              <a:extLst>
                <a:ext uri="{FF2B5EF4-FFF2-40B4-BE49-F238E27FC236}">
                  <a16:creationId xmlns:a16="http://schemas.microsoft.com/office/drawing/2014/main" id="{516D2B65-EF7F-452D-A8D8-916AA4354A8A}"/>
                </a:ext>
              </a:extLst>
            </p:cNvPr>
            <p:cNvSpPr/>
            <p:nvPr/>
          </p:nvSpPr>
          <p:spPr>
            <a:xfrm>
              <a:off x="5838729"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0" name="Freeform: Shape 709">
              <a:extLst>
                <a:ext uri="{FF2B5EF4-FFF2-40B4-BE49-F238E27FC236}">
                  <a16:creationId xmlns:a16="http://schemas.microsoft.com/office/drawing/2014/main" id="{9230DF05-768A-496A-916E-47345D465278}"/>
                </a:ext>
              </a:extLst>
            </p:cNvPr>
            <p:cNvSpPr/>
            <p:nvPr/>
          </p:nvSpPr>
          <p:spPr>
            <a:xfrm>
              <a:off x="5838729" y="3065335"/>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1" name="Freeform: Shape 710">
              <a:extLst>
                <a:ext uri="{FF2B5EF4-FFF2-40B4-BE49-F238E27FC236}">
                  <a16:creationId xmlns:a16="http://schemas.microsoft.com/office/drawing/2014/main" id="{CAF829ED-049D-490F-B3A5-E7F18923D031}"/>
                </a:ext>
              </a:extLst>
            </p:cNvPr>
            <p:cNvSpPr/>
            <p:nvPr/>
          </p:nvSpPr>
          <p:spPr>
            <a:xfrm>
              <a:off x="6063709" y="277348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2" name="Freeform: Shape 711">
              <a:extLst>
                <a:ext uri="{FF2B5EF4-FFF2-40B4-BE49-F238E27FC236}">
                  <a16:creationId xmlns:a16="http://schemas.microsoft.com/office/drawing/2014/main" id="{A815AA44-B81D-4E6A-A99B-6A81BB7D11F8}"/>
                </a:ext>
              </a:extLst>
            </p:cNvPr>
            <p:cNvSpPr/>
            <p:nvPr/>
          </p:nvSpPr>
          <p:spPr>
            <a:xfrm>
              <a:off x="6063709" y="296808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3" name="Freeform: Shape 712">
              <a:extLst>
                <a:ext uri="{FF2B5EF4-FFF2-40B4-BE49-F238E27FC236}">
                  <a16:creationId xmlns:a16="http://schemas.microsoft.com/office/drawing/2014/main" id="{0E8E6FE7-1739-479F-A4A0-AC72A01C5C7A}"/>
                </a:ext>
              </a:extLst>
            </p:cNvPr>
            <p:cNvSpPr/>
            <p:nvPr/>
          </p:nvSpPr>
          <p:spPr>
            <a:xfrm>
              <a:off x="6294691"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714" name="Picture 713" descr="A picture containing clock&#10;&#10;Description automatically generated">
            <a:extLst>
              <a:ext uri="{FF2B5EF4-FFF2-40B4-BE49-F238E27FC236}">
                <a16:creationId xmlns:a16="http://schemas.microsoft.com/office/drawing/2014/main" id="{FEF28D39-5ACB-49BA-AF48-AA438CDF1B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867" y="4683495"/>
            <a:ext cx="341096" cy="429743"/>
          </a:xfrm>
          <a:prstGeom prst="rect">
            <a:avLst/>
          </a:prstGeom>
        </p:spPr>
      </p:pic>
      <p:sp>
        <p:nvSpPr>
          <p:cNvPr id="716" name="Rectangle 715">
            <a:extLst>
              <a:ext uri="{FF2B5EF4-FFF2-40B4-BE49-F238E27FC236}">
                <a16:creationId xmlns:a16="http://schemas.microsoft.com/office/drawing/2014/main" id="{1D07C95D-721E-4BD3-9D93-80F89C7C068E}"/>
              </a:ext>
            </a:extLst>
          </p:cNvPr>
          <p:cNvSpPr/>
          <p:nvPr/>
        </p:nvSpPr>
        <p:spPr bwMode="auto">
          <a:xfrm>
            <a:off x="6095127" y="6257050"/>
            <a:ext cx="5758943" cy="363496"/>
          </a:xfrm>
          <a:prstGeom prst="rect">
            <a:avLst/>
          </a:prstGeom>
          <a:solidFill>
            <a:schemeClr val="bg1">
              <a:lumMod val="95000"/>
            </a:schemeClr>
          </a:solidFill>
          <a:ln w="6350">
            <a:noFill/>
            <a:prstDash val="solid"/>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717" name="TextBox 716">
            <a:extLst>
              <a:ext uri="{FF2B5EF4-FFF2-40B4-BE49-F238E27FC236}">
                <a16:creationId xmlns:a16="http://schemas.microsoft.com/office/drawing/2014/main" id="{5FB25635-E79A-4DD0-9E62-FEF6B14B18BC}"/>
              </a:ext>
            </a:extLst>
          </p:cNvPr>
          <p:cNvSpPr txBox="1"/>
          <p:nvPr/>
        </p:nvSpPr>
        <p:spPr>
          <a:xfrm>
            <a:off x="6726426"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imeseries data</a:t>
            </a:r>
          </a:p>
        </p:txBody>
      </p:sp>
      <p:sp>
        <p:nvSpPr>
          <p:cNvPr id="718" name="TextBox 717">
            <a:extLst>
              <a:ext uri="{FF2B5EF4-FFF2-40B4-BE49-F238E27FC236}">
                <a16:creationId xmlns:a16="http://schemas.microsoft.com/office/drawing/2014/main" id="{BFA458E6-118E-49D8-8C60-FF9531AC42FB}"/>
              </a:ext>
            </a:extLst>
          </p:cNvPr>
          <p:cNvSpPr txBox="1"/>
          <p:nvPr/>
        </p:nvSpPr>
        <p:spPr>
          <a:xfrm>
            <a:off x="8458967"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PI requests/returns</a:t>
            </a:r>
          </a:p>
        </p:txBody>
      </p:sp>
      <p:sp>
        <p:nvSpPr>
          <p:cNvPr id="719" name="TextBox 718">
            <a:extLst>
              <a:ext uri="{FF2B5EF4-FFF2-40B4-BE49-F238E27FC236}">
                <a16:creationId xmlns:a16="http://schemas.microsoft.com/office/drawing/2014/main" id="{0E263E7C-2F41-4E66-8D25-0FE2D3EB2F64}"/>
              </a:ext>
            </a:extLst>
          </p:cNvPr>
          <p:cNvSpPr txBox="1"/>
          <p:nvPr/>
        </p:nvSpPr>
        <p:spPr>
          <a:xfrm>
            <a:off x="10530988" y="6361455"/>
            <a:ext cx="1587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I/ML workflow</a:t>
            </a:r>
          </a:p>
        </p:txBody>
      </p:sp>
      <p:pic>
        <p:nvPicPr>
          <p:cNvPr id="726" name="Picture 725">
            <a:extLst>
              <a:ext uri="{FF2B5EF4-FFF2-40B4-BE49-F238E27FC236}">
                <a16:creationId xmlns:a16="http://schemas.microsoft.com/office/drawing/2014/main" id="{D6056316-4A5C-4F53-8944-553D730BF996}"/>
              </a:ext>
            </a:extLst>
          </p:cNvPr>
          <p:cNvPicPr>
            <a:picLocks noChangeAspect="1"/>
          </p:cNvPicPr>
          <p:nvPr/>
        </p:nvPicPr>
        <p:blipFill>
          <a:blip r:embed="rId4">
            <a:duotone>
              <a:schemeClr val="accent1">
                <a:shade val="45000"/>
                <a:satMod val="135000"/>
              </a:schemeClr>
              <a:prstClr val="white"/>
            </a:duotone>
            <a:lum bright="-20000"/>
          </a:blip>
          <a:stretch>
            <a:fillRect/>
          </a:stretch>
        </p:blipFill>
        <p:spPr>
          <a:xfrm>
            <a:off x="3268636" y="3628691"/>
            <a:ext cx="1048388" cy="904388"/>
          </a:xfrm>
          <a:prstGeom prst="rect">
            <a:avLst/>
          </a:prstGeom>
        </p:spPr>
      </p:pic>
      <p:grpSp>
        <p:nvGrpSpPr>
          <p:cNvPr id="727" name="Group 726">
            <a:extLst>
              <a:ext uri="{FF2B5EF4-FFF2-40B4-BE49-F238E27FC236}">
                <a16:creationId xmlns:a16="http://schemas.microsoft.com/office/drawing/2014/main" id="{A4DE149B-0D65-4867-9971-3058D4753AB8}"/>
              </a:ext>
            </a:extLst>
          </p:cNvPr>
          <p:cNvGrpSpPr/>
          <p:nvPr/>
        </p:nvGrpSpPr>
        <p:grpSpPr>
          <a:xfrm>
            <a:off x="7264352" y="3418948"/>
            <a:ext cx="853216" cy="1372246"/>
            <a:chOff x="7172802" y="3508888"/>
            <a:chExt cx="853216" cy="1372246"/>
          </a:xfrm>
        </p:grpSpPr>
        <p:sp>
          <p:nvSpPr>
            <p:cNvPr id="728" name="Freeform: Shape 727">
              <a:extLst>
                <a:ext uri="{FF2B5EF4-FFF2-40B4-BE49-F238E27FC236}">
                  <a16:creationId xmlns:a16="http://schemas.microsoft.com/office/drawing/2014/main" id="{CA7B1D57-1797-42D8-AFB4-7D18919736D9}"/>
                </a:ext>
              </a:extLst>
            </p:cNvPr>
            <p:cNvSpPr/>
            <p:nvPr/>
          </p:nvSpPr>
          <p:spPr bwMode="auto">
            <a:xfrm>
              <a:off x="7194926" y="4137515"/>
              <a:ext cx="792956" cy="340519"/>
            </a:xfrm>
            <a:custGeom>
              <a:avLst/>
              <a:gdLst>
                <a:gd name="connsiteX0" fmla="*/ 376237 w 792956"/>
                <a:gd name="connsiteY0" fmla="*/ 0 h 340519"/>
                <a:gd name="connsiteX1" fmla="*/ 0 w 792956"/>
                <a:gd name="connsiteY1" fmla="*/ 138113 h 340519"/>
                <a:gd name="connsiteX2" fmla="*/ 388144 w 792956"/>
                <a:gd name="connsiteY2" fmla="*/ 340519 h 340519"/>
                <a:gd name="connsiteX3" fmla="*/ 792956 w 792956"/>
                <a:gd name="connsiteY3" fmla="*/ 154782 h 340519"/>
                <a:gd name="connsiteX4" fmla="*/ 376237 w 792956"/>
                <a:gd name="connsiteY4" fmla="*/ 0 h 34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956" h="340519">
                  <a:moveTo>
                    <a:pt x="376237" y="0"/>
                  </a:moveTo>
                  <a:lnTo>
                    <a:pt x="0" y="138113"/>
                  </a:lnTo>
                  <a:lnTo>
                    <a:pt x="388144" y="340519"/>
                  </a:lnTo>
                  <a:lnTo>
                    <a:pt x="792956" y="154782"/>
                  </a:lnTo>
                  <a:lnTo>
                    <a:pt x="376237"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729" name="Group 728">
              <a:extLst>
                <a:ext uri="{FF2B5EF4-FFF2-40B4-BE49-F238E27FC236}">
                  <a16:creationId xmlns:a16="http://schemas.microsoft.com/office/drawing/2014/main" id="{9D9C9F2D-EDB0-459B-8A5F-F1930419AFA3}"/>
                </a:ext>
              </a:extLst>
            </p:cNvPr>
            <p:cNvGrpSpPr/>
            <p:nvPr/>
          </p:nvGrpSpPr>
          <p:grpSpPr>
            <a:xfrm>
              <a:off x="7172802" y="3508888"/>
              <a:ext cx="853216" cy="1372246"/>
              <a:chOff x="7551470" y="2878314"/>
              <a:chExt cx="775651" cy="1247496"/>
            </a:xfrm>
            <a:solidFill>
              <a:schemeClr val="bg1"/>
            </a:solidFill>
          </p:grpSpPr>
          <p:sp>
            <p:nvSpPr>
              <p:cNvPr id="730" name="Freeform: Shape 308">
                <a:extLst>
                  <a:ext uri="{FF2B5EF4-FFF2-40B4-BE49-F238E27FC236}">
                    <a16:creationId xmlns:a16="http://schemas.microsoft.com/office/drawing/2014/main" id="{EF5EB859-7E3C-4761-BB9B-4534019B8284}"/>
                  </a:ext>
                </a:extLst>
              </p:cNvPr>
              <p:cNvSpPr/>
              <p:nvPr/>
            </p:nvSpPr>
            <p:spPr>
              <a:xfrm>
                <a:off x="7551470" y="3426792"/>
                <a:ext cx="775651" cy="699018"/>
              </a:xfrm>
              <a:custGeom>
                <a:avLst/>
                <a:gdLst>
                  <a:gd name="connsiteX0" fmla="*/ 452166 w 457200"/>
                  <a:gd name="connsiteY0" fmla="*/ 74976 h 304800"/>
                  <a:gd name="connsiteX1" fmla="*/ 452166 w 457200"/>
                  <a:gd name="connsiteY1" fmla="*/ 98788 h 304800"/>
                  <a:gd name="connsiteX2" fmla="*/ 220708 w 457200"/>
                  <a:gd name="connsiteY2" fmla="*/ 182608 h 304800"/>
                  <a:gd name="connsiteX3" fmla="*/ 7348 w 457200"/>
                  <a:gd name="connsiteY3" fmla="*/ 95931 h 304800"/>
                  <a:gd name="connsiteX4" fmla="*/ 7348 w 457200"/>
                  <a:gd name="connsiteY4" fmla="*/ 65451 h 304800"/>
                  <a:gd name="connsiteX5" fmla="*/ 220708 w 457200"/>
                  <a:gd name="connsiteY5" fmla="*/ 7348 h 304800"/>
                  <a:gd name="connsiteX6" fmla="*/ 452166 w 457200"/>
                  <a:gd name="connsiteY6" fmla="*/ 74976 h 304800"/>
                  <a:gd name="connsiteX7" fmla="*/ 10205 w 457200"/>
                  <a:gd name="connsiteY7" fmla="*/ 126411 h 304800"/>
                  <a:gd name="connsiteX8" fmla="*/ 220708 w 457200"/>
                  <a:gd name="connsiteY8" fmla="*/ 212136 h 304800"/>
                  <a:gd name="connsiteX9" fmla="*/ 448355 w 457200"/>
                  <a:gd name="connsiteY9" fmla="*/ 129268 h 304800"/>
                  <a:gd name="connsiteX10" fmla="*/ 10205 w 457200"/>
                  <a:gd name="connsiteY10" fmla="*/ 158796 h 304800"/>
                  <a:gd name="connsiteX11" fmla="*/ 220708 w 457200"/>
                  <a:gd name="connsiteY11" fmla="*/ 244521 h 304800"/>
                  <a:gd name="connsiteX12" fmla="*/ 448355 w 457200"/>
                  <a:gd name="connsiteY12" fmla="*/ 161653 h 304800"/>
                  <a:gd name="connsiteX13" fmla="*/ 10205 w 457200"/>
                  <a:gd name="connsiteY13" fmla="*/ 189276 h 304800"/>
                  <a:gd name="connsiteX14" fmla="*/ 220708 w 457200"/>
                  <a:gd name="connsiteY14" fmla="*/ 275001 h 304800"/>
                  <a:gd name="connsiteX15" fmla="*/ 449308 w 457200"/>
                  <a:gd name="connsiteY15" fmla="*/ 192133 h 304800"/>
                  <a:gd name="connsiteX16" fmla="*/ 7348 w 457200"/>
                  <a:gd name="connsiteY16" fmla="*/ 95931 h 304800"/>
                  <a:gd name="connsiteX17" fmla="*/ 7348 w 457200"/>
                  <a:gd name="connsiteY17" fmla="*/ 219756 h 304800"/>
                  <a:gd name="connsiteX18" fmla="*/ 220708 w 457200"/>
                  <a:gd name="connsiteY18" fmla="*/ 306433 h 304800"/>
                  <a:gd name="connsiteX19" fmla="*/ 452166 w 457200"/>
                  <a:gd name="connsiteY19" fmla="*/ 222613 h 304800"/>
                  <a:gd name="connsiteX20" fmla="*/ 452166 w 457200"/>
                  <a:gd name="connsiteY20" fmla="*/ 95931 h 304800"/>
                  <a:gd name="connsiteX21" fmla="*/ 14016 w 457200"/>
                  <a:gd name="connsiteY21" fmla="*/ 68308 h 304800"/>
                  <a:gd name="connsiteX22" fmla="*/ 220708 w 457200"/>
                  <a:gd name="connsiteY22" fmla="*/ 147366 h 304800"/>
                  <a:gd name="connsiteX23" fmla="*/ 439783 w 457200"/>
                  <a:gd name="connsiteY23" fmla="*/ 7497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304800">
                    <a:moveTo>
                      <a:pt x="452166" y="74976"/>
                    </a:moveTo>
                    <a:lnTo>
                      <a:pt x="452166" y="98788"/>
                    </a:lnTo>
                    <a:lnTo>
                      <a:pt x="220708" y="182608"/>
                    </a:lnTo>
                    <a:lnTo>
                      <a:pt x="7348" y="95931"/>
                    </a:lnTo>
                    <a:lnTo>
                      <a:pt x="7348" y="65451"/>
                    </a:lnTo>
                    <a:lnTo>
                      <a:pt x="220708" y="7348"/>
                    </a:lnTo>
                    <a:lnTo>
                      <a:pt x="452166" y="74976"/>
                    </a:lnTo>
                    <a:close/>
                    <a:moveTo>
                      <a:pt x="10205" y="126411"/>
                    </a:moveTo>
                    <a:lnTo>
                      <a:pt x="220708" y="212136"/>
                    </a:lnTo>
                    <a:lnTo>
                      <a:pt x="448355" y="129268"/>
                    </a:lnTo>
                    <a:moveTo>
                      <a:pt x="10205" y="158796"/>
                    </a:moveTo>
                    <a:lnTo>
                      <a:pt x="220708" y="244521"/>
                    </a:lnTo>
                    <a:lnTo>
                      <a:pt x="448355" y="161653"/>
                    </a:lnTo>
                    <a:moveTo>
                      <a:pt x="10205" y="189276"/>
                    </a:moveTo>
                    <a:lnTo>
                      <a:pt x="220708" y="275001"/>
                    </a:lnTo>
                    <a:lnTo>
                      <a:pt x="449308" y="192133"/>
                    </a:lnTo>
                    <a:moveTo>
                      <a:pt x="7348" y="95931"/>
                    </a:moveTo>
                    <a:lnTo>
                      <a:pt x="7348" y="219756"/>
                    </a:lnTo>
                    <a:lnTo>
                      <a:pt x="220708" y="306433"/>
                    </a:lnTo>
                    <a:lnTo>
                      <a:pt x="452166" y="222613"/>
                    </a:lnTo>
                    <a:lnTo>
                      <a:pt x="452166" y="95931"/>
                    </a:lnTo>
                    <a:moveTo>
                      <a:pt x="14016" y="68308"/>
                    </a:moveTo>
                    <a:lnTo>
                      <a:pt x="220708" y="147366"/>
                    </a:lnTo>
                    <a:lnTo>
                      <a:pt x="439783" y="74976"/>
                    </a:lnTo>
                  </a:path>
                </a:pathLst>
              </a:cu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nvGrpSpPr>
              <p:cNvPr id="731" name="Group 730">
                <a:extLst>
                  <a:ext uri="{FF2B5EF4-FFF2-40B4-BE49-F238E27FC236}">
                    <a16:creationId xmlns:a16="http://schemas.microsoft.com/office/drawing/2014/main" id="{74EA90FB-BBFD-4EE4-8E05-1E736AD11EBA}"/>
                  </a:ext>
                </a:extLst>
              </p:cNvPr>
              <p:cNvGrpSpPr/>
              <p:nvPr/>
            </p:nvGrpSpPr>
            <p:grpSpPr>
              <a:xfrm>
                <a:off x="7621836" y="2878314"/>
                <a:ext cx="593389" cy="533513"/>
                <a:chOff x="665019" y="3039690"/>
                <a:chExt cx="542084" cy="536126"/>
              </a:xfrm>
              <a:grpFill/>
            </p:grpSpPr>
            <p:sp>
              <p:nvSpPr>
                <p:cNvPr id="732" name="Freeform: Shape 339">
                  <a:extLst>
                    <a:ext uri="{FF2B5EF4-FFF2-40B4-BE49-F238E27FC236}">
                      <a16:creationId xmlns:a16="http://schemas.microsoft.com/office/drawing/2014/main" id="{E014896C-10D0-456E-BC1D-199AE429C825}"/>
                    </a:ext>
                  </a:extLst>
                </p:cNvPr>
                <p:cNvSpPr/>
                <p:nvPr/>
              </p:nvSpPr>
              <p:spPr>
                <a:xfrm>
                  <a:off x="818994" y="3039690"/>
                  <a:ext cx="236514" cy="266992"/>
                </a:xfrm>
                <a:custGeom>
                  <a:avLst/>
                  <a:gdLst>
                    <a:gd name="connsiteX0" fmla="*/ 277178 w 554355"/>
                    <a:gd name="connsiteY0" fmla="*/ 277178 h 625792"/>
                    <a:gd name="connsiteX1" fmla="*/ 277178 w 554355"/>
                    <a:gd name="connsiteY1" fmla="*/ 624840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7178"/>
                      </a:moveTo>
                      <a:lnTo>
                        <a:pt x="277178" y="624840"/>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33" name="Freeform: Shape 340">
                  <a:extLst>
                    <a:ext uri="{FF2B5EF4-FFF2-40B4-BE49-F238E27FC236}">
                      <a16:creationId xmlns:a16="http://schemas.microsoft.com/office/drawing/2014/main" id="{58BDAE6F-3900-495F-809E-5CD3B499966C}"/>
                    </a:ext>
                  </a:extLst>
                </p:cNvPr>
                <p:cNvSpPr/>
                <p:nvPr/>
              </p:nvSpPr>
              <p:spPr>
                <a:xfrm>
                  <a:off x="97058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34" name="Freeform: Shape 341">
                  <a:extLst>
                    <a:ext uri="{FF2B5EF4-FFF2-40B4-BE49-F238E27FC236}">
                      <a16:creationId xmlns:a16="http://schemas.microsoft.com/office/drawing/2014/main" id="{0F37A010-84B1-4746-923F-2AD6D2FD9C15}"/>
                    </a:ext>
                  </a:extLst>
                </p:cNvPr>
                <p:cNvSpPr/>
                <p:nvPr/>
              </p:nvSpPr>
              <p:spPr>
                <a:xfrm>
                  <a:off x="66501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grpSp>
      <p:sp>
        <p:nvSpPr>
          <p:cNvPr id="735" name="Rectangle 734">
            <a:extLst>
              <a:ext uri="{FF2B5EF4-FFF2-40B4-BE49-F238E27FC236}">
                <a16:creationId xmlns:a16="http://schemas.microsoft.com/office/drawing/2014/main" id="{087244F4-729E-4050-A6D8-23AE9E070B7D}"/>
              </a:ext>
            </a:extLst>
          </p:cNvPr>
          <p:cNvSpPr/>
          <p:nvPr/>
        </p:nvSpPr>
        <p:spPr bwMode="auto">
          <a:xfrm>
            <a:off x="6912935" y="2976680"/>
            <a:ext cx="1556050" cy="390278"/>
          </a:xfrm>
          <a:prstGeom prst="rect">
            <a:avLst/>
          </a:prstGeom>
          <a:no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TIME SERIES </a:t>
            </a:r>
            <a:b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MODEL</a:t>
            </a:r>
          </a:p>
        </p:txBody>
      </p:sp>
      <p:grpSp>
        <p:nvGrpSpPr>
          <p:cNvPr id="736" name="Group 735">
            <a:extLst>
              <a:ext uri="{FF2B5EF4-FFF2-40B4-BE49-F238E27FC236}">
                <a16:creationId xmlns:a16="http://schemas.microsoft.com/office/drawing/2014/main" id="{471E99B3-21A3-492D-BD2A-B03AE7858EEC}"/>
              </a:ext>
            </a:extLst>
          </p:cNvPr>
          <p:cNvGrpSpPr/>
          <p:nvPr/>
        </p:nvGrpSpPr>
        <p:grpSpPr>
          <a:xfrm>
            <a:off x="9903394" y="3574392"/>
            <a:ext cx="1824792" cy="1072769"/>
            <a:chOff x="9460808" y="2887493"/>
            <a:chExt cx="1824792" cy="1072769"/>
          </a:xfrm>
        </p:grpSpPr>
        <p:sp>
          <p:nvSpPr>
            <p:cNvPr id="737" name="Devices3_EA6C" title="Icon of a cellphone in front of a monitor">
              <a:extLst>
                <a:ext uri="{FF2B5EF4-FFF2-40B4-BE49-F238E27FC236}">
                  <a16:creationId xmlns:a16="http://schemas.microsoft.com/office/drawing/2014/main" id="{3C84475D-7507-4EE7-A545-9820000D8D52}"/>
                </a:ext>
              </a:extLst>
            </p:cNvPr>
            <p:cNvSpPr>
              <a:spLocks noChangeAspect="1" noEditPoints="1"/>
            </p:cNvSpPr>
            <p:nvPr/>
          </p:nvSpPr>
          <p:spPr bwMode="auto">
            <a:xfrm>
              <a:off x="9460808" y="2887493"/>
              <a:ext cx="1548509" cy="1072769"/>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9050" cap="sq">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738" name="Rectangle 737">
              <a:extLst>
                <a:ext uri="{FF2B5EF4-FFF2-40B4-BE49-F238E27FC236}">
                  <a16:creationId xmlns:a16="http://schemas.microsoft.com/office/drawing/2014/main" id="{7920F35F-C4A6-4EE9-BCFB-B08C10D5F51A}"/>
                </a:ext>
              </a:extLst>
            </p:cNvPr>
            <p:cNvSpPr/>
            <p:nvPr/>
          </p:nvSpPr>
          <p:spPr bwMode="auto">
            <a:xfrm>
              <a:off x="10416157" y="3307484"/>
              <a:ext cx="869443" cy="541722"/>
            </a:xfrm>
            <a:prstGeom prst="rect">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739" name="light">
              <a:extLst>
                <a:ext uri="{FF2B5EF4-FFF2-40B4-BE49-F238E27FC236}">
                  <a16:creationId xmlns:a16="http://schemas.microsoft.com/office/drawing/2014/main" id="{72265C0A-240B-4EE8-B9E9-BCA4B7BB29E1}"/>
                </a:ext>
              </a:extLst>
            </p:cNvPr>
            <p:cNvSpPr>
              <a:spLocks noChangeAspect="1" noEditPoints="1"/>
            </p:cNvSpPr>
            <p:nvPr/>
          </p:nvSpPr>
          <p:spPr bwMode="auto">
            <a:xfrm>
              <a:off x="9547576" y="3533514"/>
              <a:ext cx="178278" cy="26468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flat" cmpd="sng" algn="ctr">
              <a:solidFill>
                <a:schemeClr val="accent1">
                  <a:lumMod val="60000"/>
                  <a:lumOff val="4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40" name="Straight Connector 739">
              <a:extLst>
                <a:ext uri="{FF2B5EF4-FFF2-40B4-BE49-F238E27FC236}">
                  <a16:creationId xmlns:a16="http://schemas.microsoft.com/office/drawing/2014/main" id="{D0BF6506-409B-48D8-9E7D-456C2CA6FB06}"/>
                </a:ext>
              </a:extLst>
            </p:cNvPr>
            <p:cNvCxnSpPr>
              <a:stCxn id="737" idx="9"/>
            </p:cNvCxnSpPr>
            <p:nvPr/>
          </p:nvCxnSpPr>
          <p:spPr>
            <a:xfrm flipV="1">
              <a:off x="9579945" y="3104175"/>
              <a:ext cx="328686" cy="260134"/>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A301732A-148E-47A6-8CB5-DFEDFD5F7731}"/>
                </a:ext>
              </a:extLst>
            </p:cNvPr>
            <p:cNvCxnSpPr/>
            <p:nvPr/>
          </p:nvCxnSpPr>
          <p:spPr>
            <a:xfrm>
              <a:off x="9937852" y="3107942"/>
              <a:ext cx="272987" cy="245601"/>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2" name="Straight Connector 741">
              <a:extLst>
                <a:ext uri="{FF2B5EF4-FFF2-40B4-BE49-F238E27FC236}">
                  <a16:creationId xmlns:a16="http://schemas.microsoft.com/office/drawing/2014/main" id="{AB78559D-4F9B-4756-98E0-A61C446797E3}"/>
                </a:ext>
              </a:extLst>
            </p:cNvPr>
            <p:cNvCxnSpPr/>
            <p:nvPr/>
          </p:nvCxnSpPr>
          <p:spPr>
            <a:xfrm flipV="1">
              <a:off x="10235062" y="3017168"/>
              <a:ext cx="314818" cy="355453"/>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3" name="Straight Connector 742">
              <a:extLst>
                <a:ext uri="{FF2B5EF4-FFF2-40B4-BE49-F238E27FC236}">
                  <a16:creationId xmlns:a16="http://schemas.microsoft.com/office/drawing/2014/main" id="{1DF8BDC2-5C7F-47D9-924C-D62DFD5A7CC6}"/>
                </a:ext>
              </a:extLst>
            </p:cNvPr>
            <p:cNvCxnSpPr/>
            <p:nvPr/>
          </p:nvCxnSpPr>
          <p:spPr>
            <a:xfrm>
              <a:off x="10581743" y="3019296"/>
              <a:ext cx="223658" cy="177132"/>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4" name="Straight Connector 743">
              <a:extLst>
                <a:ext uri="{FF2B5EF4-FFF2-40B4-BE49-F238E27FC236}">
                  <a16:creationId xmlns:a16="http://schemas.microsoft.com/office/drawing/2014/main" id="{69530C02-B73D-4DD3-A7E3-39E43F4D5613}"/>
                </a:ext>
              </a:extLst>
            </p:cNvPr>
            <p:cNvCxnSpPr>
              <a:cxnSpLocks/>
            </p:cNvCxnSpPr>
            <p:nvPr/>
          </p:nvCxnSpPr>
          <p:spPr>
            <a:xfrm flipV="1">
              <a:off x="10810601" y="3036486"/>
              <a:ext cx="198716" cy="158409"/>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5" name="Oval 744">
              <a:extLst>
                <a:ext uri="{FF2B5EF4-FFF2-40B4-BE49-F238E27FC236}">
                  <a16:creationId xmlns:a16="http://schemas.microsoft.com/office/drawing/2014/main" id="{AF972D49-C313-4B0B-AA1F-9B8A7C736CAC}"/>
                </a:ext>
              </a:extLst>
            </p:cNvPr>
            <p:cNvSpPr/>
            <p:nvPr/>
          </p:nvSpPr>
          <p:spPr bwMode="auto">
            <a:xfrm>
              <a:off x="9880199" y="3070907"/>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746" name="Oval 745">
              <a:extLst>
                <a:ext uri="{FF2B5EF4-FFF2-40B4-BE49-F238E27FC236}">
                  <a16:creationId xmlns:a16="http://schemas.microsoft.com/office/drawing/2014/main" id="{D230503E-F017-45B4-A332-204A7680F659}"/>
                </a:ext>
              </a:extLst>
            </p:cNvPr>
            <p:cNvSpPr/>
            <p:nvPr/>
          </p:nvSpPr>
          <p:spPr bwMode="auto">
            <a:xfrm>
              <a:off x="10185996" y="3326596"/>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747" name="Oval 746">
              <a:extLst>
                <a:ext uri="{FF2B5EF4-FFF2-40B4-BE49-F238E27FC236}">
                  <a16:creationId xmlns:a16="http://schemas.microsoft.com/office/drawing/2014/main" id="{82D12D7F-09FC-4C05-9A3E-054A55EEA29C}"/>
                </a:ext>
              </a:extLst>
            </p:cNvPr>
            <p:cNvSpPr/>
            <p:nvPr/>
          </p:nvSpPr>
          <p:spPr bwMode="auto">
            <a:xfrm>
              <a:off x="10522919" y="2973606"/>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748" name="Oval 747">
              <a:extLst>
                <a:ext uri="{FF2B5EF4-FFF2-40B4-BE49-F238E27FC236}">
                  <a16:creationId xmlns:a16="http://schemas.microsoft.com/office/drawing/2014/main" id="{597952E1-3C4E-4030-9AE8-FDB1C64319E7}"/>
                </a:ext>
              </a:extLst>
            </p:cNvPr>
            <p:cNvSpPr/>
            <p:nvPr/>
          </p:nvSpPr>
          <p:spPr bwMode="auto">
            <a:xfrm>
              <a:off x="10765932" y="3150177"/>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grpSp>
          <p:nvGrpSpPr>
            <p:cNvPr id="749" name="Group 748">
              <a:extLst>
                <a:ext uri="{FF2B5EF4-FFF2-40B4-BE49-F238E27FC236}">
                  <a16:creationId xmlns:a16="http://schemas.microsoft.com/office/drawing/2014/main" id="{4BD84221-F829-4768-B5C8-073CAB188BFA}"/>
                </a:ext>
              </a:extLst>
            </p:cNvPr>
            <p:cNvGrpSpPr/>
            <p:nvPr/>
          </p:nvGrpSpPr>
          <p:grpSpPr>
            <a:xfrm>
              <a:off x="10673740" y="3403379"/>
              <a:ext cx="354276" cy="357087"/>
              <a:chOff x="9709150" y="6365875"/>
              <a:chExt cx="200026" cy="201613"/>
            </a:xfrm>
          </p:grpSpPr>
          <p:sp>
            <p:nvSpPr>
              <p:cNvPr id="750" name="Oval 30">
                <a:extLst>
                  <a:ext uri="{FF2B5EF4-FFF2-40B4-BE49-F238E27FC236}">
                    <a16:creationId xmlns:a16="http://schemas.microsoft.com/office/drawing/2014/main" id="{0B2396A3-8281-4C96-BB2C-AF3B375FF6B8}"/>
                  </a:ext>
                </a:extLst>
              </p:cNvPr>
              <p:cNvSpPr>
                <a:spLocks noChangeArrowheads="1"/>
              </p:cNvSpPr>
              <p:nvPr/>
            </p:nvSpPr>
            <p:spPr bwMode="auto">
              <a:xfrm>
                <a:off x="9709150" y="6365875"/>
                <a:ext cx="150813" cy="152400"/>
              </a:xfrm>
              <a:prstGeom prst="ellips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1" name="Freeform 31">
                <a:extLst>
                  <a:ext uri="{FF2B5EF4-FFF2-40B4-BE49-F238E27FC236}">
                    <a16:creationId xmlns:a16="http://schemas.microsoft.com/office/drawing/2014/main" id="{4A3AC2EF-DE6E-4B11-8F7C-8418325E6E27}"/>
                  </a:ext>
                </a:extLst>
              </p:cNvPr>
              <p:cNvSpPr>
                <a:spLocks/>
              </p:cNvSpPr>
              <p:nvPr/>
            </p:nvSpPr>
            <p:spPr bwMode="auto">
              <a:xfrm>
                <a:off x="9825038" y="6481763"/>
                <a:ext cx="84138" cy="85725"/>
              </a:xfrm>
              <a:custGeom>
                <a:avLst/>
                <a:gdLst>
                  <a:gd name="T0" fmla="*/ 15 w 53"/>
                  <a:gd name="T1" fmla="*/ 0 h 54"/>
                  <a:gd name="T2" fmla="*/ 53 w 53"/>
                  <a:gd name="T3" fmla="*/ 39 h 54"/>
                  <a:gd name="T4" fmla="*/ 38 w 53"/>
                  <a:gd name="T5" fmla="*/ 54 h 54"/>
                  <a:gd name="T6" fmla="*/ 0 w 53"/>
                  <a:gd name="T7" fmla="*/ 16 h 54"/>
                </a:gdLst>
                <a:ahLst/>
                <a:cxnLst>
                  <a:cxn ang="0">
                    <a:pos x="T0" y="T1"/>
                  </a:cxn>
                  <a:cxn ang="0">
                    <a:pos x="T2" y="T3"/>
                  </a:cxn>
                  <a:cxn ang="0">
                    <a:pos x="T4" y="T5"/>
                  </a:cxn>
                  <a:cxn ang="0">
                    <a:pos x="T6" y="T7"/>
                  </a:cxn>
                </a:cxnLst>
                <a:rect l="0" t="0" r="r" b="b"/>
                <a:pathLst>
                  <a:path w="53" h="54">
                    <a:moveTo>
                      <a:pt x="15" y="0"/>
                    </a:moveTo>
                    <a:lnTo>
                      <a:pt x="53" y="39"/>
                    </a:lnTo>
                    <a:lnTo>
                      <a:pt x="38" y="54"/>
                    </a:lnTo>
                    <a:lnTo>
                      <a:pt x="0" y="16"/>
                    </a:lnTo>
                  </a:path>
                </a:pathLst>
              </a:cu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2" name="Line 32">
                <a:extLst>
                  <a:ext uri="{FF2B5EF4-FFF2-40B4-BE49-F238E27FC236}">
                    <a16:creationId xmlns:a16="http://schemas.microsoft.com/office/drawing/2014/main" id="{972442CA-83E3-4F0B-81BC-8519492B78E2}"/>
                  </a:ext>
                </a:extLst>
              </p:cNvPr>
              <p:cNvSpPr>
                <a:spLocks noChangeShapeType="1"/>
              </p:cNvSpPr>
              <p:nvPr/>
            </p:nvSpPr>
            <p:spPr bwMode="auto">
              <a:xfrm>
                <a:off x="9748838" y="6423025"/>
                <a:ext cx="0" cy="46038"/>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3" name="Line 33">
                <a:extLst>
                  <a:ext uri="{FF2B5EF4-FFF2-40B4-BE49-F238E27FC236}">
                    <a16:creationId xmlns:a16="http://schemas.microsoft.com/office/drawing/2014/main" id="{D97AD020-09C3-479D-8507-E9ADB8F9FD8E}"/>
                  </a:ext>
                </a:extLst>
              </p:cNvPr>
              <p:cNvSpPr>
                <a:spLocks noChangeShapeType="1"/>
              </p:cNvSpPr>
              <p:nvPr/>
            </p:nvSpPr>
            <p:spPr bwMode="auto">
              <a:xfrm>
                <a:off x="9821863" y="6426200"/>
                <a:ext cx="0" cy="42863"/>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4" name="Line 34">
                <a:extLst>
                  <a:ext uri="{FF2B5EF4-FFF2-40B4-BE49-F238E27FC236}">
                    <a16:creationId xmlns:a16="http://schemas.microsoft.com/office/drawing/2014/main" id="{9ED293D9-817B-40CE-81E5-A0ABA9F11CED}"/>
                  </a:ext>
                </a:extLst>
              </p:cNvPr>
              <p:cNvSpPr>
                <a:spLocks noChangeShapeType="1"/>
              </p:cNvSpPr>
              <p:nvPr/>
            </p:nvSpPr>
            <p:spPr bwMode="auto">
              <a:xfrm>
                <a:off x="9766300" y="6413500"/>
                <a:ext cx="0" cy="55563"/>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5" name="Line 35">
                <a:extLst>
                  <a:ext uri="{FF2B5EF4-FFF2-40B4-BE49-F238E27FC236}">
                    <a16:creationId xmlns:a16="http://schemas.microsoft.com/office/drawing/2014/main" id="{103E0128-D949-4128-9253-9357CE5772DA}"/>
                  </a:ext>
                </a:extLst>
              </p:cNvPr>
              <p:cNvSpPr>
                <a:spLocks noChangeShapeType="1"/>
              </p:cNvSpPr>
              <p:nvPr/>
            </p:nvSpPr>
            <p:spPr bwMode="auto">
              <a:xfrm>
                <a:off x="9785350" y="6434138"/>
                <a:ext cx="0" cy="34925"/>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6" name="Line 36">
                <a:extLst>
                  <a:ext uri="{FF2B5EF4-FFF2-40B4-BE49-F238E27FC236}">
                    <a16:creationId xmlns:a16="http://schemas.microsoft.com/office/drawing/2014/main" id="{5D18F2AE-EA24-4461-9AE1-8C82FA406B89}"/>
                  </a:ext>
                </a:extLst>
              </p:cNvPr>
              <p:cNvSpPr>
                <a:spLocks noChangeShapeType="1"/>
              </p:cNvSpPr>
              <p:nvPr/>
            </p:nvSpPr>
            <p:spPr bwMode="auto">
              <a:xfrm>
                <a:off x="9802813" y="6399213"/>
                <a:ext cx="0" cy="6985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7" name="Line 37">
                <a:extLst>
                  <a:ext uri="{FF2B5EF4-FFF2-40B4-BE49-F238E27FC236}">
                    <a16:creationId xmlns:a16="http://schemas.microsoft.com/office/drawing/2014/main" id="{D449FF02-E95A-49B2-81EA-E9A05E77E612}"/>
                  </a:ext>
                </a:extLst>
              </p:cNvPr>
              <p:cNvSpPr>
                <a:spLocks noChangeShapeType="1"/>
              </p:cNvSpPr>
              <p:nvPr/>
            </p:nvSpPr>
            <p:spPr bwMode="auto">
              <a:xfrm flipH="1">
                <a:off x="9745663" y="6480175"/>
                <a:ext cx="79375" cy="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8" name="Line 38">
                <a:extLst>
                  <a:ext uri="{FF2B5EF4-FFF2-40B4-BE49-F238E27FC236}">
                    <a16:creationId xmlns:a16="http://schemas.microsoft.com/office/drawing/2014/main" id="{7337AA89-92D8-4BEF-851D-9BFCD76567D1}"/>
                  </a:ext>
                </a:extLst>
              </p:cNvPr>
              <p:cNvSpPr>
                <a:spLocks noChangeShapeType="1"/>
              </p:cNvSpPr>
              <p:nvPr/>
            </p:nvSpPr>
            <p:spPr bwMode="auto">
              <a:xfrm>
                <a:off x="9850438" y="6480175"/>
                <a:ext cx="0" cy="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759" name="Arrow: Chevron 758">
            <a:extLst>
              <a:ext uri="{FF2B5EF4-FFF2-40B4-BE49-F238E27FC236}">
                <a16:creationId xmlns:a16="http://schemas.microsoft.com/office/drawing/2014/main" id="{13FFFBE0-7B3C-41A2-AB3C-4B95B29508B4}"/>
              </a:ext>
              <a:ext uri="{C183D7F6-B498-43B3-948B-1728B52AA6E4}">
                <adec:decorative xmlns:adec="http://schemas.microsoft.com/office/drawing/2017/decorative" val="1"/>
              </a:ext>
            </a:extLst>
          </p:cNvPr>
          <p:cNvSpPr/>
          <p:nvPr/>
        </p:nvSpPr>
        <p:spPr>
          <a:xfrm>
            <a:off x="8710433" y="1342055"/>
            <a:ext cx="3143638" cy="320040"/>
          </a:xfrm>
          <a:prstGeom prst="chevron">
            <a:avLst>
              <a:gd name="adj" fmla="val 35474"/>
            </a:avLst>
          </a:prstGeom>
          <a:solidFill>
            <a:schemeClr val="accent1">
              <a:lumMod val="60000"/>
              <a:lumOff val="40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Analyze</a:t>
            </a:r>
          </a:p>
        </p:txBody>
      </p:sp>
      <p:grpSp>
        <p:nvGrpSpPr>
          <p:cNvPr id="760" name="Group 759">
            <a:extLst>
              <a:ext uri="{FF2B5EF4-FFF2-40B4-BE49-F238E27FC236}">
                <a16:creationId xmlns:a16="http://schemas.microsoft.com/office/drawing/2014/main" id="{646EA3BD-E5C9-40BF-9A3D-34162C4E882C}"/>
              </a:ext>
            </a:extLst>
          </p:cNvPr>
          <p:cNvGrpSpPr/>
          <p:nvPr/>
        </p:nvGrpSpPr>
        <p:grpSpPr>
          <a:xfrm>
            <a:off x="5253390" y="1227755"/>
            <a:ext cx="548640" cy="548640"/>
            <a:chOff x="4258502" y="2265815"/>
            <a:chExt cx="844109" cy="844111"/>
          </a:xfrm>
        </p:grpSpPr>
        <p:sp>
          <p:nvSpPr>
            <p:cNvPr id="761" name="Oval 760">
              <a:extLst>
                <a:ext uri="{FF2B5EF4-FFF2-40B4-BE49-F238E27FC236}">
                  <a16:creationId xmlns:a16="http://schemas.microsoft.com/office/drawing/2014/main" id="{68CEFE69-2A75-4DD5-A8FA-7476BFF621A8}"/>
                </a:ext>
                <a:ext uri="{C183D7F6-B498-43B3-948B-1728B52AA6E4}">
                  <adec:decorative xmlns:adec="http://schemas.microsoft.com/office/drawing/2017/decorative" val="1"/>
                </a:ext>
              </a:extLst>
            </p:cNvPr>
            <p:cNvSpPr/>
            <p:nvPr/>
          </p:nvSpPr>
          <p:spPr bwMode="auto">
            <a:xfrm>
              <a:off x="4258502" y="2265815"/>
              <a:ext cx="844109" cy="844111"/>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2" name="Database_EFC7" title="Icon of a cylinder">
              <a:extLst>
                <a:ext uri="{FF2B5EF4-FFF2-40B4-BE49-F238E27FC236}">
                  <a16:creationId xmlns:a16="http://schemas.microsoft.com/office/drawing/2014/main" id="{AD7ECB9F-40FB-4613-8BE3-D29BFCC03993}"/>
                </a:ext>
              </a:extLst>
            </p:cNvPr>
            <p:cNvSpPr>
              <a:spLocks noChangeAspect="1" noEditPoints="1"/>
            </p:cNvSpPr>
            <p:nvPr/>
          </p:nvSpPr>
          <p:spPr bwMode="auto">
            <a:xfrm>
              <a:off x="4501709" y="2455397"/>
              <a:ext cx="357695" cy="4649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763" name="Group 762">
            <a:extLst>
              <a:ext uri="{FF2B5EF4-FFF2-40B4-BE49-F238E27FC236}">
                <a16:creationId xmlns:a16="http://schemas.microsoft.com/office/drawing/2014/main" id="{8042E404-AA38-47F2-B12C-BDA5CCFAB4C9}"/>
              </a:ext>
            </a:extLst>
          </p:cNvPr>
          <p:cNvGrpSpPr/>
          <p:nvPr/>
        </p:nvGrpSpPr>
        <p:grpSpPr>
          <a:xfrm>
            <a:off x="7404888" y="1227755"/>
            <a:ext cx="548640" cy="548640"/>
            <a:chOff x="7089384" y="2265815"/>
            <a:chExt cx="844109" cy="844111"/>
          </a:xfrm>
        </p:grpSpPr>
        <p:sp>
          <p:nvSpPr>
            <p:cNvPr id="764" name="Oval 763">
              <a:extLst>
                <a:ext uri="{FF2B5EF4-FFF2-40B4-BE49-F238E27FC236}">
                  <a16:creationId xmlns:a16="http://schemas.microsoft.com/office/drawing/2014/main" id="{C626ECAF-8BDE-43F2-973D-73ED7305138A}"/>
                </a:ext>
                <a:ext uri="{C183D7F6-B498-43B3-948B-1728B52AA6E4}">
                  <adec:decorative xmlns:adec="http://schemas.microsoft.com/office/drawing/2017/decorative" val="1"/>
                </a:ext>
              </a:extLst>
            </p:cNvPr>
            <p:cNvSpPr/>
            <p:nvPr/>
          </p:nvSpPr>
          <p:spPr bwMode="auto">
            <a:xfrm>
              <a:off x="7089384" y="2265815"/>
              <a:ext cx="844109" cy="844111"/>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764">
              <a:extLst>
                <a:ext uri="{FF2B5EF4-FFF2-40B4-BE49-F238E27FC236}">
                  <a16:creationId xmlns:a16="http://schemas.microsoft.com/office/drawing/2014/main" id="{E55F34C4-EC39-442C-AB79-5B4BB4BE4D58}"/>
                </a:ext>
              </a:extLst>
            </p:cNvPr>
            <p:cNvGrpSpPr/>
            <p:nvPr/>
          </p:nvGrpSpPr>
          <p:grpSpPr>
            <a:xfrm>
              <a:off x="7256105" y="2422002"/>
              <a:ext cx="510665" cy="466758"/>
              <a:chOff x="665019" y="3030792"/>
              <a:chExt cx="542084" cy="545024"/>
            </a:xfrm>
          </p:grpSpPr>
          <p:sp>
            <p:nvSpPr>
              <p:cNvPr id="766" name="Freeform: Shape 765">
                <a:extLst>
                  <a:ext uri="{FF2B5EF4-FFF2-40B4-BE49-F238E27FC236}">
                    <a16:creationId xmlns:a16="http://schemas.microsoft.com/office/drawing/2014/main" id="{42884CD5-2602-4498-855C-B74907A9DE61}"/>
                  </a:ext>
                </a:extLst>
              </p:cNvPr>
              <p:cNvSpPr/>
              <p:nvPr/>
            </p:nvSpPr>
            <p:spPr>
              <a:xfrm>
                <a:off x="818994" y="3030792"/>
                <a:ext cx="236514" cy="266991"/>
              </a:xfrm>
              <a:custGeom>
                <a:avLst/>
                <a:gdLst>
                  <a:gd name="connsiteX0" fmla="*/ 277178 w 554355"/>
                  <a:gd name="connsiteY0" fmla="*/ 277178 h 625792"/>
                  <a:gd name="connsiteX1" fmla="*/ 277178 w 554355"/>
                  <a:gd name="connsiteY1" fmla="*/ 624840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7178"/>
                    </a:moveTo>
                    <a:lnTo>
                      <a:pt x="277178" y="624840"/>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67" name="Freeform: Shape 766">
                <a:extLst>
                  <a:ext uri="{FF2B5EF4-FFF2-40B4-BE49-F238E27FC236}">
                    <a16:creationId xmlns:a16="http://schemas.microsoft.com/office/drawing/2014/main" id="{3A01D709-11FD-40E9-BB47-3F9BAA33418A}"/>
                  </a:ext>
                </a:extLst>
              </p:cNvPr>
              <p:cNvSpPr/>
              <p:nvPr/>
            </p:nvSpPr>
            <p:spPr>
              <a:xfrm>
                <a:off x="97058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768" name="Freeform: Shape 767">
                <a:extLst>
                  <a:ext uri="{FF2B5EF4-FFF2-40B4-BE49-F238E27FC236}">
                    <a16:creationId xmlns:a16="http://schemas.microsoft.com/office/drawing/2014/main" id="{C73D80DD-788C-420C-8BE6-25E4D7D1A05E}"/>
                  </a:ext>
                </a:extLst>
              </p:cNvPr>
              <p:cNvSpPr/>
              <p:nvPr/>
            </p:nvSpPr>
            <p:spPr>
              <a:xfrm>
                <a:off x="66501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grpSp>
        <p:nvGrpSpPr>
          <p:cNvPr id="769" name="Group 768">
            <a:extLst>
              <a:ext uri="{FF2B5EF4-FFF2-40B4-BE49-F238E27FC236}">
                <a16:creationId xmlns:a16="http://schemas.microsoft.com/office/drawing/2014/main" id="{A255C604-2CE1-43E9-A405-753CC8FF64D3}"/>
              </a:ext>
            </a:extLst>
          </p:cNvPr>
          <p:cNvGrpSpPr/>
          <p:nvPr/>
        </p:nvGrpSpPr>
        <p:grpSpPr>
          <a:xfrm>
            <a:off x="10007932" y="1227755"/>
            <a:ext cx="548640" cy="548640"/>
            <a:chOff x="9920265" y="2265815"/>
            <a:chExt cx="844109" cy="844111"/>
          </a:xfrm>
        </p:grpSpPr>
        <p:sp>
          <p:nvSpPr>
            <p:cNvPr id="770" name="Oval 769">
              <a:extLst>
                <a:ext uri="{FF2B5EF4-FFF2-40B4-BE49-F238E27FC236}">
                  <a16:creationId xmlns:a16="http://schemas.microsoft.com/office/drawing/2014/main" id="{B8CBE827-8164-4C21-A045-6FCCD9D14337}"/>
                </a:ext>
                <a:ext uri="{C183D7F6-B498-43B3-948B-1728B52AA6E4}">
                  <adec:decorative xmlns:adec="http://schemas.microsoft.com/office/drawing/2017/decorative" val="1"/>
                </a:ext>
              </a:extLst>
            </p:cNvPr>
            <p:cNvSpPr/>
            <p:nvPr/>
          </p:nvSpPr>
          <p:spPr bwMode="auto">
            <a:xfrm>
              <a:off x="9920265" y="2265815"/>
              <a:ext cx="844109" cy="844111"/>
            </a:xfrm>
            <a:prstGeom prst="ellipse">
              <a:avLst/>
            </a:prstGeom>
            <a:solidFill>
              <a:schemeClr val="accent1">
                <a:lumMod val="60000"/>
                <a:lumOff val="40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1" name="graph_9" title="Icon of a line chart with connected circles at varying points">
              <a:extLst>
                <a:ext uri="{FF2B5EF4-FFF2-40B4-BE49-F238E27FC236}">
                  <a16:creationId xmlns:a16="http://schemas.microsoft.com/office/drawing/2014/main" id="{E434A9F0-1D12-499A-AC6C-25624ECE657B}"/>
                </a:ext>
              </a:extLst>
            </p:cNvPr>
            <p:cNvSpPr>
              <a:spLocks noChangeAspect="1" noEditPoints="1"/>
            </p:cNvSpPr>
            <p:nvPr/>
          </p:nvSpPr>
          <p:spPr bwMode="auto">
            <a:xfrm>
              <a:off x="10107480" y="2448202"/>
              <a:ext cx="469677" cy="423811"/>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772" name="Graphic 276">
            <a:extLst>
              <a:ext uri="{FF2B5EF4-FFF2-40B4-BE49-F238E27FC236}">
                <a16:creationId xmlns:a16="http://schemas.microsoft.com/office/drawing/2014/main" id="{2509D345-8BB9-4C51-8062-517917FEE545}"/>
              </a:ext>
            </a:extLst>
          </p:cNvPr>
          <p:cNvGrpSpPr/>
          <p:nvPr/>
        </p:nvGrpSpPr>
        <p:grpSpPr>
          <a:xfrm>
            <a:off x="5270118" y="3238488"/>
            <a:ext cx="510189" cy="716571"/>
            <a:chOff x="5755481" y="2939577"/>
            <a:chExt cx="680085" cy="955195"/>
          </a:xfrm>
          <a:solidFill>
            <a:schemeClr val="bg1"/>
          </a:solidFill>
        </p:grpSpPr>
        <p:sp>
          <p:nvSpPr>
            <p:cNvPr id="773" name="Freeform: Shape 278">
              <a:extLst>
                <a:ext uri="{FF2B5EF4-FFF2-40B4-BE49-F238E27FC236}">
                  <a16:creationId xmlns:a16="http://schemas.microsoft.com/office/drawing/2014/main" id="{9EA90ECC-9081-4519-97B4-B93772336E1F}"/>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4" name="Freeform: Shape 279">
              <a:extLst>
                <a:ext uri="{FF2B5EF4-FFF2-40B4-BE49-F238E27FC236}">
                  <a16:creationId xmlns:a16="http://schemas.microsoft.com/office/drawing/2014/main" id="{A01B7EC7-8BE3-4D40-AC71-3DB3D9CD1D0D}"/>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5" name="Freeform: Shape 280">
              <a:extLst>
                <a:ext uri="{FF2B5EF4-FFF2-40B4-BE49-F238E27FC236}">
                  <a16:creationId xmlns:a16="http://schemas.microsoft.com/office/drawing/2014/main" id="{13FD7DEB-7931-43F5-940A-0714155FCEAD}"/>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6" name="Freeform: Shape 281">
              <a:extLst>
                <a:ext uri="{FF2B5EF4-FFF2-40B4-BE49-F238E27FC236}">
                  <a16:creationId xmlns:a16="http://schemas.microsoft.com/office/drawing/2014/main" id="{CF6E59BE-B125-4A81-8FF3-95E1CCB8243B}"/>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tx2"/>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77" name="Graphic 276">
            <a:extLst>
              <a:ext uri="{FF2B5EF4-FFF2-40B4-BE49-F238E27FC236}">
                <a16:creationId xmlns:a16="http://schemas.microsoft.com/office/drawing/2014/main" id="{DDA72E2E-10AA-4431-A1CA-3F649ADA8DB4}"/>
              </a:ext>
            </a:extLst>
          </p:cNvPr>
          <p:cNvGrpSpPr/>
          <p:nvPr/>
        </p:nvGrpSpPr>
        <p:grpSpPr>
          <a:xfrm>
            <a:off x="5269447" y="4182268"/>
            <a:ext cx="510189" cy="716571"/>
            <a:chOff x="5755481" y="2939577"/>
            <a:chExt cx="680085" cy="955195"/>
          </a:xfrm>
          <a:solidFill>
            <a:schemeClr val="bg1"/>
          </a:solidFill>
        </p:grpSpPr>
        <p:sp>
          <p:nvSpPr>
            <p:cNvPr id="778" name="Freeform: Shape 288">
              <a:extLst>
                <a:ext uri="{FF2B5EF4-FFF2-40B4-BE49-F238E27FC236}">
                  <a16:creationId xmlns:a16="http://schemas.microsoft.com/office/drawing/2014/main" id="{DB0ED929-084F-4004-8956-194026794A8E}"/>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9" name="Freeform: Shape 289">
              <a:extLst>
                <a:ext uri="{FF2B5EF4-FFF2-40B4-BE49-F238E27FC236}">
                  <a16:creationId xmlns:a16="http://schemas.microsoft.com/office/drawing/2014/main" id="{9BF34BBD-66FA-4C18-8157-34C8F6BF03A6}"/>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0" name="Freeform: Shape 290">
              <a:extLst>
                <a:ext uri="{FF2B5EF4-FFF2-40B4-BE49-F238E27FC236}">
                  <a16:creationId xmlns:a16="http://schemas.microsoft.com/office/drawing/2014/main" id="{96059B58-7D17-4EB0-A87E-78C923A9D937}"/>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1" name="Freeform: Shape 291">
              <a:extLst>
                <a:ext uri="{FF2B5EF4-FFF2-40B4-BE49-F238E27FC236}">
                  <a16:creationId xmlns:a16="http://schemas.microsoft.com/office/drawing/2014/main" id="{633D2560-3772-4218-B430-3E994327D8CE}"/>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accent1"/>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82" name="Rectangle 781">
            <a:extLst>
              <a:ext uri="{FF2B5EF4-FFF2-40B4-BE49-F238E27FC236}">
                <a16:creationId xmlns:a16="http://schemas.microsoft.com/office/drawing/2014/main" id="{10F3687F-466D-4C69-A2BB-6BE2CE41C6B5}"/>
              </a:ext>
            </a:extLst>
          </p:cNvPr>
          <p:cNvSpPr/>
          <p:nvPr/>
        </p:nvSpPr>
        <p:spPr bwMode="auto">
          <a:xfrm>
            <a:off x="4993139" y="4754502"/>
            <a:ext cx="1062804" cy="556260"/>
          </a:xfrm>
          <a:prstGeom prst="rect">
            <a:avLst/>
          </a:prstGeom>
          <a:noFill/>
          <a:ln>
            <a:noFill/>
          </a:ln>
        </p:spPr>
        <p:txBody>
          <a:bodyPr vert="horz" wrap="square" lIns="91440" tIns="45720" rIns="91440" bIns="4572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WARM STORE</a:t>
            </a:r>
          </a:p>
        </p:txBody>
      </p:sp>
      <p:cxnSp>
        <p:nvCxnSpPr>
          <p:cNvPr id="784" name="Straight Arrow Connector 783">
            <a:extLst>
              <a:ext uri="{FF2B5EF4-FFF2-40B4-BE49-F238E27FC236}">
                <a16:creationId xmlns:a16="http://schemas.microsoft.com/office/drawing/2014/main" id="{C8FB76BE-FE2F-4F68-8E9A-AA4C68127663}"/>
              </a:ext>
            </a:extLst>
          </p:cNvPr>
          <p:cNvCxnSpPr>
            <a:cxnSpLocks/>
            <a:stCxn id="776" idx="9"/>
            <a:endCxn id="778" idx="3"/>
          </p:cNvCxnSpPr>
          <p:nvPr/>
        </p:nvCxnSpPr>
        <p:spPr>
          <a:xfrm flipH="1">
            <a:off x="5524542" y="3998124"/>
            <a:ext cx="671" cy="141078"/>
          </a:xfrm>
          <a:prstGeom prst="straightConnector1">
            <a:avLst/>
          </a:prstGeom>
          <a:ln w="12700">
            <a:solidFill>
              <a:schemeClr val="accent4"/>
            </a:solidFill>
            <a:prstDash val="solid"/>
            <a:tailEnd type="arrow" w="med" len="sm"/>
          </a:ln>
        </p:spPr>
        <p:style>
          <a:lnRef idx="1">
            <a:schemeClr val="accent1"/>
          </a:lnRef>
          <a:fillRef idx="0">
            <a:schemeClr val="accent1"/>
          </a:fillRef>
          <a:effectRef idx="0">
            <a:schemeClr val="accent1"/>
          </a:effectRef>
          <a:fontRef idx="minor">
            <a:schemeClr val="tx1"/>
          </a:fontRef>
        </p:style>
      </p:cxnSp>
      <p:cxnSp>
        <p:nvCxnSpPr>
          <p:cNvPr id="785" name="Straight Connector 784">
            <a:extLst>
              <a:ext uri="{FF2B5EF4-FFF2-40B4-BE49-F238E27FC236}">
                <a16:creationId xmlns:a16="http://schemas.microsoft.com/office/drawing/2014/main" id="{B63A6DB8-27D3-4A0A-982A-6BF808C5A6B7}"/>
              </a:ext>
            </a:extLst>
          </p:cNvPr>
          <p:cNvCxnSpPr/>
          <p:nvPr/>
        </p:nvCxnSpPr>
        <p:spPr>
          <a:xfrm>
            <a:off x="6313117" y="6438798"/>
            <a:ext cx="340242" cy="0"/>
          </a:xfrm>
          <a:prstGeom prst="line">
            <a:avLst/>
          </a:prstGeom>
          <a:ln w="28575">
            <a:solidFill>
              <a:schemeClr val="accent3"/>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86" name="Straight Connector 785">
            <a:extLst>
              <a:ext uri="{FF2B5EF4-FFF2-40B4-BE49-F238E27FC236}">
                <a16:creationId xmlns:a16="http://schemas.microsoft.com/office/drawing/2014/main" id="{FC2CDE3E-3CDB-48DC-9CEB-AE503E9BC4C0}"/>
              </a:ext>
            </a:extLst>
          </p:cNvPr>
          <p:cNvCxnSpPr/>
          <p:nvPr/>
        </p:nvCxnSpPr>
        <p:spPr>
          <a:xfrm>
            <a:off x="8045658" y="6438798"/>
            <a:ext cx="340242" cy="0"/>
          </a:xfrm>
          <a:prstGeom prst="line">
            <a:avLst/>
          </a:prstGeom>
          <a:ln w="28575">
            <a:solidFill>
              <a:schemeClr val="accent4"/>
            </a:solidFill>
            <a:prstDash val="solid"/>
            <a:tailEnd type="none" w="lg" len="med"/>
          </a:ln>
        </p:spPr>
        <p:style>
          <a:lnRef idx="1">
            <a:schemeClr val="accent1"/>
          </a:lnRef>
          <a:fillRef idx="0">
            <a:schemeClr val="accent1"/>
          </a:fillRef>
          <a:effectRef idx="0">
            <a:schemeClr val="accent1"/>
          </a:effectRef>
          <a:fontRef idx="minor">
            <a:schemeClr val="tx1"/>
          </a:fontRef>
        </p:style>
      </p:cxnSp>
      <p:sp>
        <p:nvSpPr>
          <p:cNvPr id="787" name="Oval 786">
            <a:extLst>
              <a:ext uri="{FF2B5EF4-FFF2-40B4-BE49-F238E27FC236}">
                <a16:creationId xmlns:a16="http://schemas.microsoft.com/office/drawing/2014/main" id="{E054A43E-0BC9-4FC5-B492-99AF1FB145F4}"/>
              </a:ext>
            </a:extLst>
          </p:cNvPr>
          <p:cNvSpPr/>
          <p:nvPr/>
        </p:nvSpPr>
        <p:spPr bwMode="auto">
          <a:xfrm>
            <a:off x="8812465" y="2452479"/>
            <a:ext cx="548640" cy="5486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788" name="Rectangle 787">
            <a:extLst>
              <a:ext uri="{FF2B5EF4-FFF2-40B4-BE49-F238E27FC236}">
                <a16:creationId xmlns:a16="http://schemas.microsoft.com/office/drawing/2014/main" id="{E41387C4-A8FE-4E64-B01D-F72540254A07}"/>
              </a:ext>
            </a:extLst>
          </p:cNvPr>
          <p:cNvSpPr/>
          <p:nvPr/>
        </p:nvSpPr>
        <p:spPr bwMode="auto">
          <a:xfrm>
            <a:off x="8309427" y="2976680"/>
            <a:ext cx="1552705" cy="398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Time Series </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Query API</a:t>
            </a:r>
          </a:p>
        </p:txBody>
      </p:sp>
      <p:sp>
        <p:nvSpPr>
          <p:cNvPr id="794" name="Oval 793">
            <a:extLst>
              <a:ext uri="{FF2B5EF4-FFF2-40B4-BE49-F238E27FC236}">
                <a16:creationId xmlns:a16="http://schemas.microsoft.com/office/drawing/2014/main" id="{105F4BD7-260C-4CA6-AC60-381F7BC6F746}"/>
              </a:ext>
            </a:extLst>
          </p:cNvPr>
          <p:cNvSpPr/>
          <p:nvPr/>
        </p:nvSpPr>
        <p:spPr bwMode="auto">
          <a:xfrm>
            <a:off x="7410420" y="5080749"/>
            <a:ext cx="548640" cy="5486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795" name="Rectangle 794">
            <a:extLst>
              <a:ext uri="{FF2B5EF4-FFF2-40B4-BE49-F238E27FC236}">
                <a16:creationId xmlns:a16="http://schemas.microsoft.com/office/drawing/2014/main" id="{632B3694-4294-478E-9CBB-0D50F86B9F1E}"/>
              </a:ext>
            </a:extLst>
          </p:cNvPr>
          <p:cNvSpPr/>
          <p:nvPr/>
        </p:nvSpPr>
        <p:spPr bwMode="auto">
          <a:xfrm>
            <a:off x="6914939" y="5546517"/>
            <a:ext cx="1552705" cy="398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TSM Update API</a:t>
            </a:r>
          </a:p>
        </p:txBody>
      </p:sp>
      <p:cxnSp>
        <p:nvCxnSpPr>
          <p:cNvPr id="796" name="Connector: Elbow 795">
            <a:extLst>
              <a:ext uri="{FF2B5EF4-FFF2-40B4-BE49-F238E27FC236}">
                <a16:creationId xmlns:a16="http://schemas.microsoft.com/office/drawing/2014/main" id="{B7E44D17-450A-4845-AA91-B61FC1F1F60C}"/>
              </a:ext>
            </a:extLst>
          </p:cNvPr>
          <p:cNvCxnSpPr>
            <a:cxnSpLocks/>
            <a:stCxn id="696" idx="3"/>
            <a:endCxn id="701" idx="2"/>
          </p:cNvCxnSpPr>
          <p:nvPr/>
        </p:nvCxnSpPr>
        <p:spPr>
          <a:xfrm flipV="1">
            <a:off x="8005897" y="4742552"/>
            <a:ext cx="2729744" cy="613583"/>
          </a:xfrm>
          <a:prstGeom prst="bentConnector2">
            <a:avLst/>
          </a:prstGeom>
          <a:ln w="12700">
            <a:solidFill>
              <a:schemeClr val="accent4"/>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97" name="Rectangle 32">
            <a:extLst>
              <a:ext uri="{FF2B5EF4-FFF2-40B4-BE49-F238E27FC236}">
                <a16:creationId xmlns:a16="http://schemas.microsoft.com/office/drawing/2014/main" id="{34F9D886-B3C0-4F0A-9DCB-D0D52D1C6F2B}"/>
              </a:ext>
            </a:extLst>
          </p:cNvPr>
          <p:cNvSpPr>
            <a:spLocks noChangeArrowheads="1"/>
          </p:cNvSpPr>
          <p:nvPr/>
        </p:nvSpPr>
        <p:spPr bwMode="auto">
          <a:xfrm>
            <a:off x="9534192" y="2976680"/>
            <a:ext cx="2429184" cy="778935"/>
          </a:xfrm>
          <a:prstGeom prst="rect">
            <a:avLst/>
          </a:prstGeom>
          <a:no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rPr>
              <a:t>TIME SERIES INSIGHTS EXPLOR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rPr>
              <a:t>POWER BI CONN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rPr>
              <a:t>3rd PARTY APPS</a:t>
            </a:r>
          </a:p>
        </p:txBody>
      </p:sp>
      <p:cxnSp>
        <p:nvCxnSpPr>
          <p:cNvPr id="798" name="Connector: Elbow 797">
            <a:extLst>
              <a:ext uri="{FF2B5EF4-FFF2-40B4-BE49-F238E27FC236}">
                <a16:creationId xmlns:a16="http://schemas.microsoft.com/office/drawing/2014/main" id="{4EADA5A8-5163-436F-9647-BA5E1CDD15DC}"/>
              </a:ext>
            </a:extLst>
          </p:cNvPr>
          <p:cNvCxnSpPr>
            <a:cxnSpLocks/>
            <a:stCxn id="700" idx="3"/>
            <a:endCxn id="788" idx="2"/>
          </p:cNvCxnSpPr>
          <p:nvPr/>
        </p:nvCxnSpPr>
        <p:spPr>
          <a:xfrm flipV="1">
            <a:off x="8178441" y="3375631"/>
            <a:ext cx="907339" cy="1084621"/>
          </a:xfrm>
          <a:prstGeom prst="bentConnector2">
            <a:avLst/>
          </a:prstGeom>
          <a:ln w="12700">
            <a:solidFill>
              <a:schemeClr val="accent4"/>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799" name="Connector: Elbow 798">
            <a:extLst>
              <a:ext uri="{FF2B5EF4-FFF2-40B4-BE49-F238E27FC236}">
                <a16:creationId xmlns:a16="http://schemas.microsoft.com/office/drawing/2014/main" id="{F8D5A7E4-A228-42FC-8DEC-399BFD437944}"/>
              </a:ext>
            </a:extLst>
          </p:cNvPr>
          <p:cNvCxnSpPr>
            <a:cxnSpLocks/>
            <a:stCxn id="797" idx="0"/>
          </p:cNvCxnSpPr>
          <p:nvPr/>
        </p:nvCxnSpPr>
        <p:spPr>
          <a:xfrm rot="16200000" flipV="1">
            <a:off x="9956116" y="2184011"/>
            <a:ext cx="266693" cy="1318645"/>
          </a:xfrm>
          <a:prstGeom prst="bentConnector2">
            <a:avLst/>
          </a:prstGeom>
          <a:ln w="12700">
            <a:solidFill>
              <a:schemeClr val="accent4"/>
            </a:solidFill>
            <a:prstDash val="solid"/>
            <a:miter lim="800000"/>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00" name="Straight Arrow Connector 799">
            <a:extLst>
              <a:ext uri="{FF2B5EF4-FFF2-40B4-BE49-F238E27FC236}">
                <a16:creationId xmlns:a16="http://schemas.microsoft.com/office/drawing/2014/main" id="{044E94B1-0F55-4B49-B821-4E7AFD2772DD}"/>
              </a:ext>
            </a:extLst>
          </p:cNvPr>
          <p:cNvCxnSpPr>
            <a:cxnSpLocks/>
          </p:cNvCxnSpPr>
          <p:nvPr/>
        </p:nvCxnSpPr>
        <p:spPr>
          <a:xfrm flipV="1">
            <a:off x="7684740" y="4855719"/>
            <a:ext cx="0" cy="176913"/>
          </a:xfrm>
          <a:prstGeom prst="straightConnector1">
            <a:avLst/>
          </a:prstGeom>
          <a:ln w="12700">
            <a:solidFill>
              <a:schemeClr val="accent4"/>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802" name="Straight Connector 801">
            <a:extLst>
              <a:ext uri="{FF2B5EF4-FFF2-40B4-BE49-F238E27FC236}">
                <a16:creationId xmlns:a16="http://schemas.microsoft.com/office/drawing/2014/main" id="{E6FDD80D-0206-4AE4-B3D5-4F2937CDA81F}"/>
              </a:ext>
            </a:extLst>
          </p:cNvPr>
          <p:cNvCxnSpPr/>
          <p:nvPr/>
        </p:nvCxnSpPr>
        <p:spPr>
          <a:xfrm>
            <a:off x="10117679" y="6438798"/>
            <a:ext cx="340242" cy="0"/>
          </a:xfrm>
          <a:prstGeom prst="line">
            <a:avLst/>
          </a:prstGeom>
          <a:ln w="28575">
            <a:solidFill>
              <a:srgbClr val="E3591B"/>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803" name="Connector: Elbow 802">
            <a:extLst>
              <a:ext uri="{FF2B5EF4-FFF2-40B4-BE49-F238E27FC236}">
                <a16:creationId xmlns:a16="http://schemas.microsoft.com/office/drawing/2014/main" id="{A3650CF6-33CD-4981-9044-C2ECBCB76BC5}"/>
              </a:ext>
            </a:extLst>
          </p:cNvPr>
          <p:cNvCxnSpPr>
            <a:cxnSpLocks/>
            <a:endCxn id="694" idx="3"/>
          </p:cNvCxnSpPr>
          <p:nvPr/>
        </p:nvCxnSpPr>
        <p:spPr>
          <a:xfrm rot="10800000" flipV="1">
            <a:off x="5864877" y="2709986"/>
            <a:ext cx="3185861" cy="1014409"/>
          </a:xfrm>
          <a:prstGeom prst="bentConnector3">
            <a:avLst>
              <a:gd name="adj1" fmla="val 75773"/>
            </a:avLst>
          </a:prstGeom>
          <a:ln w="12700">
            <a:solidFill>
              <a:schemeClr val="accent4"/>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grpSp>
        <p:nvGrpSpPr>
          <p:cNvPr id="805" name="Group 804">
            <a:extLst>
              <a:ext uri="{FF2B5EF4-FFF2-40B4-BE49-F238E27FC236}">
                <a16:creationId xmlns:a16="http://schemas.microsoft.com/office/drawing/2014/main" id="{0319C6C0-3A80-42A9-95A5-8ABB513FF36F}"/>
              </a:ext>
            </a:extLst>
          </p:cNvPr>
          <p:cNvGrpSpPr/>
          <p:nvPr/>
        </p:nvGrpSpPr>
        <p:grpSpPr>
          <a:xfrm>
            <a:off x="8903545" y="5166378"/>
            <a:ext cx="367874" cy="367874"/>
            <a:chOff x="9265140" y="6026013"/>
            <a:chExt cx="597408" cy="597408"/>
          </a:xfrm>
        </p:grpSpPr>
        <p:sp>
          <p:nvSpPr>
            <p:cNvPr id="806" name="Oval 805">
              <a:extLst>
                <a:ext uri="{FF2B5EF4-FFF2-40B4-BE49-F238E27FC236}">
                  <a16:creationId xmlns:a16="http://schemas.microsoft.com/office/drawing/2014/main" id="{617F3E38-D554-4F5E-BF8F-103D8EF7101C}"/>
                </a:ext>
              </a:extLst>
            </p:cNvPr>
            <p:cNvSpPr/>
            <p:nvPr/>
          </p:nvSpPr>
          <p:spPr bwMode="auto">
            <a:xfrm>
              <a:off x="9265140" y="6026013"/>
              <a:ext cx="597408" cy="597408"/>
            </a:xfrm>
            <a:prstGeom prst="ellipse">
              <a:avLst/>
            </a:prstGeom>
            <a:solidFill>
              <a:schemeClr val="bg1"/>
            </a:solidFill>
            <a:ln w="12700">
              <a:solidFill>
                <a:schemeClr val="accent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07" name="arrow_11" title="Icon of a circle made of two curved arrows">
              <a:extLst>
                <a:ext uri="{FF2B5EF4-FFF2-40B4-BE49-F238E27FC236}">
                  <a16:creationId xmlns:a16="http://schemas.microsoft.com/office/drawing/2014/main" id="{F126ADA2-F2F3-4E8A-9454-920648FE02BE}"/>
                </a:ext>
              </a:extLst>
            </p:cNvPr>
            <p:cNvSpPr>
              <a:spLocks noChangeAspect="1" noEditPoints="1"/>
            </p:cNvSpPr>
            <p:nvPr/>
          </p:nvSpPr>
          <p:spPr bwMode="auto">
            <a:xfrm>
              <a:off x="9406339" y="6173051"/>
              <a:ext cx="306780" cy="320476"/>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2700" cap="sq">
              <a:solidFill>
                <a:schemeClr val="accent4"/>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810" name="Group 809">
            <a:extLst>
              <a:ext uri="{FF2B5EF4-FFF2-40B4-BE49-F238E27FC236}">
                <a16:creationId xmlns:a16="http://schemas.microsoft.com/office/drawing/2014/main" id="{46F1ECE7-19D8-49F8-B5B9-3D4980C99CFA}"/>
              </a:ext>
            </a:extLst>
          </p:cNvPr>
          <p:cNvGrpSpPr/>
          <p:nvPr/>
        </p:nvGrpSpPr>
        <p:grpSpPr>
          <a:xfrm>
            <a:off x="3594648" y="2747945"/>
            <a:ext cx="353076" cy="381008"/>
            <a:chOff x="3218968" y="2962504"/>
            <a:chExt cx="388384" cy="419109"/>
          </a:xfrm>
        </p:grpSpPr>
        <p:pic>
          <p:nvPicPr>
            <p:cNvPr id="811" name="Picture 810">
              <a:extLst>
                <a:ext uri="{FF2B5EF4-FFF2-40B4-BE49-F238E27FC236}">
                  <a16:creationId xmlns:a16="http://schemas.microsoft.com/office/drawing/2014/main" id="{5D27300A-F573-4B4B-BC73-48279F7DBF31}"/>
                </a:ext>
              </a:extLst>
            </p:cNvPr>
            <p:cNvPicPr>
              <a:picLocks noChangeAspect="1"/>
            </p:cNvPicPr>
            <p:nvPr/>
          </p:nvPicPr>
          <p:blipFill>
            <a:blip r:embed="rId5">
              <a:duotone>
                <a:schemeClr val="bg2">
                  <a:shade val="45000"/>
                  <a:satMod val="135000"/>
                </a:schemeClr>
                <a:prstClr val="white"/>
              </a:duotone>
              <a:lum bright="40000" contrast="40000"/>
            </a:blip>
            <a:stretch>
              <a:fillRect/>
            </a:stretch>
          </p:blipFill>
          <p:spPr>
            <a:xfrm>
              <a:off x="3331329" y="2962504"/>
              <a:ext cx="150917" cy="150917"/>
            </a:xfrm>
            <a:prstGeom prst="rect">
              <a:avLst/>
            </a:prstGeom>
          </p:spPr>
        </p:pic>
        <p:pic>
          <p:nvPicPr>
            <p:cNvPr id="812" name="Picture 811">
              <a:extLst>
                <a:ext uri="{FF2B5EF4-FFF2-40B4-BE49-F238E27FC236}">
                  <a16:creationId xmlns:a16="http://schemas.microsoft.com/office/drawing/2014/main" id="{9E3F7A4A-FA80-4FDE-BA62-2C91F18FBC0B}"/>
                </a:ext>
              </a:extLst>
            </p:cNvPr>
            <p:cNvPicPr>
              <a:picLocks noChangeAspect="1"/>
            </p:cNvPicPr>
            <p:nvPr/>
          </p:nvPicPr>
          <p:blipFill>
            <a:blip r:embed="rId5">
              <a:duotone>
                <a:schemeClr val="bg2">
                  <a:shade val="45000"/>
                  <a:satMod val="135000"/>
                </a:schemeClr>
                <a:prstClr val="white"/>
              </a:duotone>
              <a:lum bright="40000" contrast="40000"/>
            </a:blip>
            <a:stretch>
              <a:fillRect/>
            </a:stretch>
          </p:blipFill>
          <p:spPr>
            <a:xfrm>
              <a:off x="3456435" y="3051218"/>
              <a:ext cx="150917" cy="150917"/>
            </a:xfrm>
            <a:prstGeom prst="rect">
              <a:avLst/>
            </a:prstGeom>
          </p:spPr>
        </p:pic>
        <p:pic>
          <p:nvPicPr>
            <p:cNvPr id="813" name="Graphic 812">
              <a:extLst>
                <a:ext uri="{FF2B5EF4-FFF2-40B4-BE49-F238E27FC236}">
                  <a16:creationId xmlns:a16="http://schemas.microsoft.com/office/drawing/2014/main" id="{54F38220-4C9D-472D-B534-6EA55DEFC1C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18968" y="3130350"/>
              <a:ext cx="251263" cy="251263"/>
            </a:xfrm>
            <a:prstGeom prst="rect">
              <a:avLst/>
            </a:prstGeom>
          </p:spPr>
        </p:pic>
      </p:grpSp>
      <p:cxnSp>
        <p:nvCxnSpPr>
          <p:cNvPr id="815" name="Connector: Elbow 814">
            <a:extLst>
              <a:ext uri="{FF2B5EF4-FFF2-40B4-BE49-F238E27FC236}">
                <a16:creationId xmlns:a16="http://schemas.microsoft.com/office/drawing/2014/main" id="{59A38BE7-66D9-4462-86B1-3EA12BBD7241}"/>
              </a:ext>
            </a:extLst>
          </p:cNvPr>
          <p:cNvCxnSpPr>
            <a:cxnSpLocks/>
            <a:stCxn id="698" idx="1"/>
            <a:endCxn id="699" idx="1"/>
          </p:cNvCxnSpPr>
          <p:nvPr/>
        </p:nvCxnSpPr>
        <p:spPr>
          <a:xfrm rot="10800000">
            <a:off x="5170163" y="3724396"/>
            <a:ext cx="12700" cy="735856"/>
          </a:xfrm>
          <a:prstGeom prst="bentConnector3">
            <a:avLst>
              <a:gd name="adj1" fmla="val 1800000"/>
            </a:avLst>
          </a:prstGeom>
          <a:ln w="12700">
            <a:solidFill>
              <a:schemeClr val="accent3"/>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816" name="Rounded Rectangle 21">
            <a:extLst>
              <a:ext uri="{FF2B5EF4-FFF2-40B4-BE49-F238E27FC236}">
                <a16:creationId xmlns:a16="http://schemas.microsoft.com/office/drawing/2014/main" id="{03D39333-ADB9-424D-A271-F63A3D13391E}"/>
              </a:ext>
            </a:extLst>
          </p:cNvPr>
          <p:cNvSpPr/>
          <p:nvPr/>
        </p:nvSpPr>
        <p:spPr bwMode="auto">
          <a:xfrm>
            <a:off x="3059935" y="4607189"/>
            <a:ext cx="1439157" cy="324083"/>
          </a:xfrm>
          <a:prstGeom prst="roundRect">
            <a:avLst>
              <a:gd name="adj" fmla="val 274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tream </a:t>
            </a:r>
            <a:b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processing</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engine</a:t>
            </a:r>
          </a:p>
        </p:txBody>
      </p:sp>
      <p:sp>
        <p:nvSpPr>
          <p:cNvPr id="817" name="Arrow: Pentagon 816">
            <a:extLst>
              <a:ext uri="{FF2B5EF4-FFF2-40B4-BE49-F238E27FC236}">
                <a16:creationId xmlns:a16="http://schemas.microsoft.com/office/drawing/2014/main" id="{6693FDA5-6B78-4599-A656-94BC1D2D6C07}"/>
              </a:ext>
              <a:ext uri="{C183D7F6-B498-43B3-948B-1728B52AA6E4}">
                <adec:decorative xmlns:adec="http://schemas.microsoft.com/office/drawing/2017/decorative" val="1"/>
              </a:ext>
            </a:extLst>
          </p:cNvPr>
          <p:cNvSpPr/>
          <p:nvPr/>
        </p:nvSpPr>
        <p:spPr>
          <a:xfrm>
            <a:off x="411479" y="1342055"/>
            <a:ext cx="4077732" cy="320040"/>
          </a:xfrm>
          <a:prstGeom prst="homePlate">
            <a:avLst>
              <a:gd name="adj" fmla="val 35480"/>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Collect</a:t>
            </a:r>
          </a:p>
        </p:txBody>
      </p:sp>
      <p:sp>
        <p:nvSpPr>
          <p:cNvPr id="818" name="Rectangle 817">
            <a:extLst>
              <a:ext uri="{FF2B5EF4-FFF2-40B4-BE49-F238E27FC236}">
                <a16:creationId xmlns:a16="http://schemas.microsoft.com/office/drawing/2014/main" id="{3B0EC2DC-FC9C-4825-9887-59293056E928}"/>
              </a:ext>
              <a:ext uri="{C183D7F6-B498-43B3-948B-1728B52AA6E4}">
                <adec:decorative xmlns:adec="http://schemas.microsoft.com/office/drawing/2017/decorative" val="1"/>
              </a:ext>
            </a:extLst>
          </p:cNvPr>
          <p:cNvSpPr/>
          <p:nvPr/>
        </p:nvSpPr>
        <p:spPr>
          <a:xfrm>
            <a:off x="411479" y="5955277"/>
            <a:ext cx="3982516" cy="91440"/>
          </a:xfrm>
          <a:prstGeom prst="rect">
            <a:avLst/>
          </a:prstGeom>
          <a:solidFill>
            <a:schemeClr val="accent1">
              <a:lumMod val="75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819" name="Rectangle 818">
            <a:extLst>
              <a:ext uri="{FF2B5EF4-FFF2-40B4-BE49-F238E27FC236}">
                <a16:creationId xmlns:a16="http://schemas.microsoft.com/office/drawing/2014/main" id="{C2E73626-83F5-4AC8-BBD3-D3F1B882F594}"/>
              </a:ext>
              <a:ext uri="{C183D7F6-B498-43B3-948B-1728B52AA6E4}">
                <adec:decorative xmlns:adec="http://schemas.microsoft.com/office/drawing/2017/decorative" val="1"/>
              </a:ext>
            </a:extLst>
          </p:cNvPr>
          <p:cNvSpPr/>
          <p:nvPr/>
        </p:nvSpPr>
        <p:spPr>
          <a:xfrm>
            <a:off x="8735170" y="5955277"/>
            <a:ext cx="3118902" cy="91440"/>
          </a:xfrm>
          <a:prstGeom prst="rect">
            <a:avLst/>
          </a:prstGeom>
          <a:solidFill>
            <a:schemeClr val="accent1">
              <a:lumMod val="60000"/>
              <a:lumOff val="40000"/>
            </a:schemeClr>
          </a:solidFill>
          <a:ln w="19050">
            <a:noFill/>
          </a:ln>
        </p:spPr>
        <p:txBody>
          <a:bodyPr wrap="square" lIns="102870" tIns="51435" rIns="205740" bIns="51435" anchor="ctr">
            <a:noAutofit/>
          </a:bodyPr>
          <a:lstStyle/>
          <a:p>
            <a:pPr marL="0" marR="0" lvl="0" indent="0" algn="l" defTabSz="1028503"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Semibold"/>
              <a:ea typeface="+mn-ea"/>
              <a:cs typeface="+mn-cs"/>
            </a:endParaRPr>
          </a:p>
        </p:txBody>
      </p:sp>
      <p:cxnSp>
        <p:nvCxnSpPr>
          <p:cNvPr id="821" name="Straight Arrow Connector 820">
            <a:extLst>
              <a:ext uri="{FF2B5EF4-FFF2-40B4-BE49-F238E27FC236}">
                <a16:creationId xmlns:a16="http://schemas.microsoft.com/office/drawing/2014/main" id="{99C7D456-3E36-4F41-AF1E-B35EA65EE9FD}"/>
              </a:ext>
            </a:extLst>
          </p:cNvPr>
          <p:cNvCxnSpPr>
            <a:cxnSpLocks/>
          </p:cNvCxnSpPr>
          <p:nvPr/>
        </p:nvCxnSpPr>
        <p:spPr>
          <a:xfrm flipV="1">
            <a:off x="3771343" y="3276744"/>
            <a:ext cx="0" cy="285208"/>
          </a:xfrm>
          <a:prstGeom prst="straightConnector1">
            <a:avLst/>
          </a:prstGeom>
          <a:ln w="12700">
            <a:solidFill>
              <a:schemeClr val="accent3"/>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828" name="Rectangle 827">
            <a:extLst>
              <a:ext uri="{FF2B5EF4-FFF2-40B4-BE49-F238E27FC236}">
                <a16:creationId xmlns:a16="http://schemas.microsoft.com/office/drawing/2014/main" id="{FA810DD1-1FD9-4B98-B539-A14A91B4C926}"/>
              </a:ext>
            </a:extLst>
          </p:cNvPr>
          <p:cNvSpPr/>
          <p:nvPr/>
        </p:nvSpPr>
        <p:spPr bwMode="auto">
          <a:xfrm>
            <a:off x="7493623" y="5180814"/>
            <a:ext cx="382235" cy="3485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panose="020F0302020204030204"/>
                <a:ea typeface="Segoe UI" pitchFamily="34" charset="0"/>
                <a:cs typeface="Segoe UI" pitchFamily="34" charset="0"/>
              </a:rPr>
              <a:t>&lt;/&gt;</a:t>
            </a:r>
          </a:p>
        </p:txBody>
      </p:sp>
      <p:cxnSp>
        <p:nvCxnSpPr>
          <p:cNvPr id="829" name="Straight Arrow Connector 828">
            <a:extLst>
              <a:ext uri="{FF2B5EF4-FFF2-40B4-BE49-F238E27FC236}">
                <a16:creationId xmlns:a16="http://schemas.microsoft.com/office/drawing/2014/main" id="{D1234322-77A6-471D-B059-8D66834B91C3}"/>
              </a:ext>
            </a:extLst>
          </p:cNvPr>
          <p:cNvCxnSpPr>
            <a:cxnSpLocks/>
            <a:stCxn id="689" idx="3"/>
          </p:cNvCxnSpPr>
          <p:nvPr/>
        </p:nvCxnSpPr>
        <p:spPr>
          <a:xfrm>
            <a:off x="5864876" y="4460252"/>
            <a:ext cx="1326499" cy="0"/>
          </a:xfrm>
          <a:prstGeom prst="straightConnector1">
            <a:avLst/>
          </a:prstGeom>
          <a:ln w="12700">
            <a:solidFill>
              <a:schemeClr val="accent4"/>
            </a:solidFill>
            <a:prstDash val="solid"/>
            <a:headEnd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30" name="Straight Arrow Connector 829">
            <a:extLst>
              <a:ext uri="{FF2B5EF4-FFF2-40B4-BE49-F238E27FC236}">
                <a16:creationId xmlns:a16="http://schemas.microsoft.com/office/drawing/2014/main" id="{D9AF9E1A-D584-4B2C-AE21-5A0BA4221C54}"/>
              </a:ext>
            </a:extLst>
          </p:cNvPr>
          <p:cNvCxnSpPr>
            <a:cxnSpLocks/>
          </p:cNvCxnSpPr>
          <p:nvPr/>
        </p:nvCxnSpPr>
        <p:spPr>
          <a:xfrm>
            <a:off x="4421200" y="4111386"/>
            <a:ext cx="532030" cy="0"/>
          </a:xfrm>
          <a:prstGeom prst="straightConnector1">
            <a:avLst/>
          </a:prstGeom>
          <a:ln w="12700">
            <a:solidFill>
              <a:schemeClr val="accent3"/>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grpSp>
        <p:nvGrpSpPr>
          <p:cNvPr id="833" name="Group 832">
            <a:extLst>
              <a:ext uri="{FF2B5EF4-FFF2-40B4-BE49-F238E27FC236}">
                <a16:creationId xmlns:a16="http://schemas.microsoft.com/office/drawing/2014/main" id="{9E0511FF-755A-4B42-947E-E986197B2847}"/>
              </a:ext>
            </a:extLst>
          </p:cNvPr>
          <p:cNvGrpSpPr/>
          <p:nvPr/>
        </p:nvGrpSpPr>
        <p:grpSpPr>
          <a:xfrm>
            <a:off x="2190205" y="1227755"/>
            <a:ext cx="548640" cy="548640"/>
            <a:chOff x="1427625" y="2265815"/>
            <a:chExt cx="844109" cy="844111"/>
          </a:xfrm>
        </p:grpSpPr>
        <p:sp>
          <p:nvSpPr>
            <p:cNvPr id="834" name="Oval 833">
              <a:extLst>
                <a:ext uri="{FF2B5EF4-FFF2-40B4-BE49-F238E27FC236}">
                  <a16:creationId xmlns:a16="http://schemas.microsoft.com/office/drawing/2014/main" id="{1AC2B0F4-95F3-40F2-9278-784CB5A25BDE}"/>
                </a:ext>
                <a:ext uri="{C183D7F6-B498-43B3-948B-1728B52AA6E4}">
                  <adec:decorative xmlns:adec="http://schemas.microsoft.com/office/drawing/2017/decorative" val="1"/>
                </a:ext>
              </a:extLst>
            </p:cNvPr>
            <p:cNvSpPr/>
            <p:nvPr/>
          </p:nvSpPr>
          <p:spPr bwMode="auto">
            <a:xfrm>
              <a:off x="1427625" y="2265815"/>
              <a:ext cx="844109" cy="844111"/>
            </a:xfrm>
            <a:prstGeom prst="ellipse">
              <a:avLst/>
            </a:prstGeom>
            <a:solidFill>
              <a:schemeClr val="accent1">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marL="0" marR="0" lvl="0" indent="0" algn="l" defTabSz="1049031"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35" name="Group 834">
              <a:extLst>
                <a:ext uri="{FF2B5EF4-FFF2-40B4-BE49-F238E27FC236}">
                  <a16:creationId xmlns:a16="http://schemas.microsoft.com/office/drawing/2014/main" id="{EB329BA4-4B46-43EF-A61E-E57A1DF5CBEB}"/>
                </a:ext>
              </a:extLst>
            </p:cNvPr>
            <p:cNvGrpSpPr/>
            <p:nvPr/>
          </p:nvGrpSpPr>
          <p:grpSpPr>
            <a:xfrm>
              <a:off x="1653837" y="2463440"/>
              <a:ext cx="425119" cy="425320"/>
              <a:chOff x="2809993" y="1208899"/>
              <a:chExt cx="365586" cy="365760"/>
            </a:xfrm>
          </p:grpSpPr>
          <p:sp>
            <p:nvSpPr>
              <p:cNvPr id="836" name="BackToWindow_E73F" title="Icon of two arrows pointing towards eachother">
                <a:extLst>
                  <a:ext uri="{FF2B5EF4-FFF2-40B4-BE49-F238E27FC236}">
                    <a16:creationId xmlns:a16="http://schemas.microsoft.com/office/drawing/2014/main" id="{F653BCBF-0D89-4C7F-BB51-E8B388E0E5F7}"/>
                  </a:ext>
                </a:extLst>
              </p:cNvPr>
              <p:cNvSpPr>
                <a:spLocks noChangeAspect="1" noEditPoints="1"/>
              </p:cNvSpPr>
              <p:nvPr/>
            </p:nvSpPr>
            <p:spPr bwMode="auto">
              <a:xfrm>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37" name="BackToWindow_E73F" title="Icon of two arrows pointing towards eachother">
                <a:extLst>
                  <a:ext uri="{FF2B5EF4-FFF2-40B4-BE49-F238E27FC236}">
                    <a16:creationId xmlns:a16="http://schemas.microsoft.com/office/drawing/2014/main" id="{38E7CDFD-3117-45B9-A630-277049BBD44F}"/>
                  </a:ext>
                </a:extLst>
              </p:cNvPr>
              <p:cNvSpPr>
                <a:spLocks noChangeAspect="1" noEditPoints="1"/>
              </p:cNvSpPr>
              <p:nvPr/>
            </p:nvSpPr>
            <p:spPr bwMode="auto">
              <a:xfrm flipV="1">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grpSp>
        <p:nvGrpSpPr>
          <p:cNvPr id="839" name="Graphic 21">
            <a:extLst>
              <a:ext uri="{FF2B5EF4-FFF2-40B4-BE49-F238E27FC236}">
                <a16:creationId xmlns:a16="http://schemas.microsoft.com/office/drawing/2014/main" id="{F5CCC674-DCB2-4012-B292-F89449360235}"/>
              </a:ext>
            </a:extLst>
          </p:cNvPr>
          <p:cNvGrpSpPr/>
          <p:nvPr/>
        </p:nvGrpSpPr>
        <p:grpSpPr>
          <a:xfrm>
            <a:off x="1812867" y="3987981"/>
            <a:ext cx="299102" cy="304037"/>
            <a:chOff x="5614987" y="3432237"/>
            <a:chExt cx="946785" cy="962406"/>
          </a:xfrm>
          <a:solidFill>
            <a:schemeClr val="accent1">
              <a:lumMod val="75000"/>
            </a:schemeClr>
          </a:solidFill>
        </p:grpSpPr>
        <p:sp>
          <p:nvSpPr>
            <p:cNvPr id="840" name="Freeform: Shape 839">
              <a:extLst>
                <a:ext uri="{FF2B5EF4-FFF2-40B4-BE49-F238E27FC236}">
                  <a16:creationId xmlns:a16="http://schemas.microsoft.com/office/drawing/2014/main" id="{D7003B95-1A07-408F-8DED-860FBBC8CB3E}"/>
                </a:ext>
              </a:extLst>
            </p:cNvPr>
            <p:cNvSpPr/>
            <p:nvPr/>
          </p:nvSpPr>
          <p:spPr>
            <a:xfrm>
              <a:off x="6288880" y="3432237"/>
              <a:ext cx="272891" cy="267747"/>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1" name="Freeform: Shape 840">
              <a:extLst>
                <a:ext uri="{FF2B5EF4-FFF2-40B4-BE49-F238E27FC236}">
                  <a16:creationId xmlns:a16="http://schemas.microsoft.com/office/drawing/2014/main" id="{28162816-2541-4E57-9D69-55F1EA1CB363}"/>
                </a:ext>
              </a:extLst>
            </p:cNvPr>
            <p:cNvSpPr/>
            <p:nvPr/>
          </p:nvSpPr>
          <p:spPr>
            <a:xfrm>
              <a:off x="5614987" y="4126991"/>
              <a:ext cx="272891" cy="267652"/>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2" name="Freeform: Shape 841">
              <a:extLst>
                <a:ext uri="{FF2B5EF4-FFF2-40B4-BE49-F238E27FC236}">
                  <a16:creationId xmlns:a16="http://schemas.microsoft.com/office/drawing/2014/main" id="{4BE78AC5-C6F7-4DF2-8D36-481464015CDB}"/>
                </a:ext>
              </a:extLst>
            </p:cNvPr>
            <p:cNvSpPr/>
            <p:nvPr/>
          </p:nvSpPr>
          <p:spPr>
            <a:xfrm>
              <a:off x="5690329" y="3495864"/>
              <a:ext cx="803338" cy="804195"/>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grp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843" name="Connector: Elbow 842">
            <a:extLst>
              <a:ext uri="{FF2B5EF4-FFF2-40B4-BE49-F238E27FC236}">
                <a16:creationId xmlns:a16="http://schemas.microsoft.com/office/drawing/2014/main" id="{1D0239DD-BAE8-4640-98EC-6A422A059BF0}"/>
              </a:ext>
            </a:extLst>
          </p:cNvPr>
          <p:cNvCxnSpPr>
            <a:cxnSpLocks/>
            <a:endCxn id="702" idx="3"/>
          </p:cNvCxnSpPr>
          <p:nvPr/>
        </p:nvCxnSpPr>
        <p:spPr>
          <a:xfrm rot="5400000">
            <a:off x="2061563" y="4008231"/>
            <a:ext cx="1567892" cy="213325"/>
          </a:xfrm>
          <a:prstGeom prst="bentConnector2">
            <a:avLst/>
          </a:prstGeom>
          <a:ln w="12700">
            <a:solidFill>
              <a:schemeClr val="accent3"/>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cxnSp>
        <p:nvCxnSpPr>
          <p:cNvPr id="844" name="Straight Arrow Connector 843">
            <a:extLst>
              <a:ext uri="{FF2B5EF4-FFF2-40B4-BE49-F238E27FC236}">
                <a16:creationId xmlns:a16="http://schemas.microsoft.com/office/drawing/2014/main" id="{EAC3EFC9-2642-4E12-84DE-83D5D36BEF8D}"/>
              </a:ext>
            </a:extLst>
          </p:cNvPr>
          <p:cNvCxnSpPr>
            <a:cxnSpLocks/>
          </p:cNvCxnSpPr>
          <p:nvPr/>
        </p:nvCxnSpPr>
        <p:spPr>
          <a:xfrm>
            <a:off x="2738845" y="4111386"/>
            <a:ext cx="459325" cy="0"/>
          </a:xfrm>
          <a:prstGeom prst="straightConnector1">
            <a:avLst/>
          </a:prstGeom>
          <a:ln w="12700">
            <a:solidFill>
              <a:schemeClr val="accent3"/>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845" name="Straight Arrow Connector 844">
            <a:extLst>
              <a:ext uri="{FF2B5EF4-FFF2-40B4-BE49-F238E27FC236}">
                <a16:creationId xmlns:a16="http://schemas.microsoft.com/office/drawing/2014/main" id="{F6986656-C8D8-48AF-9139-852463F805BF}"/>
              </a:ext>
            </a:extLst>
          </p:cNvPr>
          <p:cNvCxnSpPr>
            <a:cxnSpLocks/>
          </p:cNvCxnSpPr>
          <p:nvPr/>
        </p:nvCxnSpPr>
        <p:spPr>
          <a:xfrm flipH="1">
            <a:off x="2738845" y="3335772"/>
            <a:ext cx="223270" cy="0"/>
          </a:xfrm>
          <a:prstGeom prst="straightConnector1">
            <a:avLst/>
          </a:prstGeom>
          <a:ln w="12700">
            <a:solidFill>
              <a:schemeClr val="accent3"/>
            </a:solidFill>
            <a:prstDash val="solid"/>
            <a:miter lim="800000"/>
            <a:tailEnd type="none" w="med" len="sm"/>
          </a:ln>
        </p:spPr>
        <p:style>
          <a:lnRef idx="1">
            <a:schemeClr val="accent1"/>
          </a:lnRef>
          <a:fillRef idx="0">
            <a:schemeClr val="accent1"/>
          </a:fillRef>
          <a:effectRef idx="0">
            <a:schemeClr val="accent1"/>
          </a:effectRef>
          <a:fontRef idx="minor">
            <a:schemeClr val="tx1"/>
          </a:fontRef>
        </p:style>
      </p:cxnSp>
      <p:sp>
        <p:nvSpPr>
          <p:cNvPr id="1022" name="network" title="Icon of a device or computer network">
            <a:extLst>
              <a:ext uri="{FF2B5EF4-FFF2-40B4-BE49-F238E27FC236}">
                <a16:creationId xmlns:a16="http://schemas.microsoft.com/office/drawing/2014/main" id="{B78E9AC5-9CA5-4148-A691-B5C2D030EE87}"/>
              </a:ext>
            </a:extLst>
          </p:cNvPr>
          <p:cNvSpPr>
            <a:spLocks noChangeAspect="1" noEditPoints="1"/>
          </p:cNvSpPr>
          <p:nvPr/>
        </p:nvSpPr>
        <p:spPr bwMode="auto">
          <a:xfrm>
            <a:off x="544196" y="2067280"/>
            <a:ext cx="267144" cy="278158"/>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3" name="Oval 1022">
            <a:extLst>
              <a:ext uri="{FF2B5EF4-FFF2-40B4-BE49-F238E27FC236}">
                <a16:creationId xmlns:a16="http://schemas.microsoft.com/office/drawing/2014/main" id="{FF4E7A4F-8F0D-43C0-B787-3F78900E87D1}"/>
              </a:ext>
            </a:extLst>
          </p:cNvPr>
          <p:cNvSpPr/>
          <p:nvPr/>
        </p:nvSpPr>
        <p:spPr bwMode="auto">
          <a:xfrm>
            <a:off x="412973" y="2676814"/>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1024" name="Truck" title="Icon of a truck with a storage trailer">
            <a:extLst>
              <a:ext uri="{FF2B5EF4-FFF2-40B4-BE49-F238E27FC236}">
                <a16:creationId xmlns:a16="http://schemas.microsoft.com/office/drawing/2014/main" id="{969CCDDF-4CAD-4DA3-8FAF-6BB6430E078D}"/>
              </a:ext>
            </a:extLst>
          </p:cNvPr>
          <p:cNvSpPr>
            <a:spLocks noChangeAspect="1" noEditPoints="1"/>
          </p:cNvSpPr>
          <p:nvPr/>
        </p:nvSpPr>
        <p:spPr bwMode="auto">
          <a:xfrm>
            <a:off x="497126" y="2861663"/>
            <a:ext cx="380335" cy="17407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25" name="Oval 1024">
            <a:extLst>
              <a:ext uri="{FF2B5EF4-FFF2-40B4-BE49-F238E27FC236}">
                <a16:creationId xmlns:a16="http://schemas.microsoft.com/office/drawing/2014/main" id="{E45FD62B-6D39-4942-A819-FFD1116262A0}"/>
              </a:ext>
            </a:extLst>
          </p:cNvPr>
          <p:cNvSpPr/>
          <p:nvPr/>
        </p:nvSpPr>
        <p:spPr bwMode="auto">
          <a:xfrm>
            <a:off x="412973" y="3455281"/>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1026" name="building_7" title="Icon of a building with a curved section protruding from it">
            <a:extLst>
              <a:ext uri="{FF2B5EF4-FFF2-40B4-BE49-F238E27FC236}">
                <a16:creationId xmlns:a16="http://schemas.microsoft.com/office/drawing/2014/main" id="{6A3C3BC0-9AC9-4C88-86B5-21950F381C5C}"/>
              </a:ext>
            </a:extLst>
          </p:cNvPr>
          <p:cNvSpPr>
            <a:spLocks noChangeAspect="1" noEditPoints="1"/>
          </p:cNvSpPr>
          <p:nvPr/>
        </p:nvSpPr>
        <p:spPr bwMode="auto">
          <a:xfrm>
            <a:off x="555949" y="3575761"/>
            <a:ext cx="262689" cy="29744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27" name="Connector: Elbow 1026">
            <a:extLst>
              <a:ext uri="{FF2B5EF4-FFF2-40B4-BE49-F238E27FC236}">
                <a16:creationId xmlns:a16="http://schemas.microsoft.com/office/drawing/2014/main" id="{CEA9BEDD-51E4-4E56-99BD-C5D0D45B9FCB}"/>
              </a:ext>
            </a:extLst>
          </p:cNvPr>
          <p:cNvCxnSpPr>
            <a:cxnSpLocks/>
            <a:stCxn id="1029" idx="3"/>
          </p:cNvCxnSpPr>
          <p:nvPr/>
        </p:nvCxnSpPr>
        <p:spPr>
          <a:xfrm>
            <a:off x="2736119" y="4199420"/>
            <a:ext cx="4613336" cy="1156715"/>
          </a:xfrm>
          <a:prstGeom prst="bentConnector3">
            <a:avLst>
              <a:gd name="adj1" fmla="val 3031"/>
            </a:avLst>
          </a:prstGeom>
          <a:ln w="12700">
            <a:solidFill>
              <a:schemeClr val="accent4"/>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1028" name="Straight Arrow Connector 1027">
            <a:extLst>
              <a:ext uri="{FF2B5EF4-FFF2-40B4-BE49-F238E27FC236}">
                <a16:creationId xmlns:a16="http://schemas.microsoft.com/office/drawing/2014/main" id="{7A4E7C5A-7337-4AEB-952B-94F2C7FF7D25}"/>
              </a:ext>
            </a:extLst>
          </p:cNvPr>
          <p:cNvCxnSpPr>
            <a:cxnSpLocks/>
          </p:cNvCxnSpPr>
          <p:nvPr/>
        </p:nvCxnSpPr>
        <p:spPr>
          <a:xfrm>
            <a:off x="2736119" y="4991348"/>
            <a:ext cx="142685" cy="0"/>
          </a:xfrm>
          <a:prstGeom prst="straightConnector1">
            <a:avLst/>
          </a:prstGeom>
          <a:ln w="12700">
            <a:solidFill>
              <a:schemeClr val="accent4"/>
            </a:solidFill>
            <a:prstDash val="solid"/>
            <a:miter lim="800000"/>
            <a:tailEnd type="none" w="med" len="sm"/>
          </a:ln>
        </p:spPr>
        <p:style>
          <a:lnRef idx="1">
            <a:schemeClr val="accent1"/>
          </a:lnRef>
          <a:fillRef idx="0">
            <a:schemeClr val="accent1"/>
          </a:fillRef>
          <a:effectRef idx="0">
            <a:schemeClr val="accent1"/>
          </a:effectRef>
          <a:fontRef idx="minor">
            <a:schemeClr val="tx1"/>
          </a:fontRef>
        </p:style>
      </p:cxnSp>
      <p:sp>
        <p:nvSpPr>
          <p:cNvPr id="1029" name="Rectangle 1028">
            <a:extLst>
              <a:ext uri="{FF2B5EF4-FFF2-40B4-BE49-F238E27FC236}">
                <a16:creationId xmlns:a16="http://schemas.microsoft.com/office/drawing/2014/main" id="{B53CCD92-45AF-40A4-ADFC-696F320AC387}"/>
              </a:ext>
            </a:extLst>
          </p:cNvPr>
          <p:cNvSpPr/>
          <p:nvPr/>
        </p:nvSpPr>
        <p:spPr bwMode="auto">
          <a:xfrm>
            <a:off x="2574950" y="4118835"/>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1030" name="Oval 1029">
            <a:extLst>
              <a:ext uri="{FF2B5EF4-FFF2-40B4-BE49-F238E27FC236}">
                <a16:creationId xmlns:a16="http://schemas.microsoft.com/office/drawing/2014/main" id="{2C117973-F495-4384-A3C4-E87D5B75C5F4}"/>
              </a:ext>
            </a:extLst>
          </p:cNvPr>
          <p:cNvSpPr/>
          <p:nvPr/>
        </p:nvSpPr>
        <p:spPr bwMode="auto">
          <a:xfrm>
            <a:off x="412973" y="4233748"/>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1031" name="building_11" title="Icon of a school house">
            <a:extLst>
              <a:ext uri="{FF2B5EF4-FFF2-40B4-BE49-F238E27FC236}">
                <a16:creationId xmlns:a16="http://schemas.microsoft.com/office/drawing/2014/main" id="{40C68361-AE6E-437D-825E-A03F3878EE6D}"/>
              </a:ext>
            </a:extLst>
          </p:cNvPr>
          <p:cNvSpPr>
            <a:spLocks noChangeAspect="1" noEditPoints="1"/>
          </p:cNvSpPr>
          <p:nvPr/>
        </p:nvSpPr>
        <p:spPr bwMode="auto">
          <a:xfrm>
            <a:off x="491865" y="4378542"/>
            <a:ext cx="371807" cy="200145"/>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2" name="Oval 1031">
            <a:extLst>
              <a:ext uri="{FF2B5EF4-FFF2-40B4-BE49-F238E27FC236}">
                <a16:creationId xmlns:a16="http://schemas.microsoft.com/office/drawing/2014/main" id="{FF133045-C369-48D5-ACD7-2CA2C5C228D3}"/>
              </a:ext>
            </a:extLst>
          </p:cNvPr>
          <p:cNvSpPr/>
          <p:nvPr/>
        </p:nvSpPr>
        <p:spPr bwMode="auto">
          <a:xfrm>
            <a:off x="412973" y="5012215"/>
            <a:ext cx="548640" cy="548640"/>
          </a:xfrm>
          <a:prstGeom prst="ellipse">
            <a:avLst/>
          </a:prstGeom>
          <a:solidFill>
            <a:schemeClr val="accent1">
              <a:lumMod val="7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1033" name="factory_3" title="Icon of a factory">
            <a:extLst>
              <a:ext uri="{FF2B5EF4-FFF2-40B4-BE49-F238E27FC236}">
                <a16:creationId xmlns:a16="http://schemas.microsoft.com/office/drawing/2014/main" id="{4653842B-1012-4E13-9CAC-3B3B4FE92D0F}"/>
              </a:ext>
            </a:extLst>
          </p:cNvPr>
          <p:cNvSpPr>
            <a:spLocks noChangeAspect="1" noEditPoints="1"/>
          </p:cNvSpPr>
          <p:nvPr/>
        </p:nvSpPr>
        <p:spPr bwMode="auto">
          <a:xfrm>
            <a:off x="523698" y="5164920"/>
            <a:ext cx="327190" cy="2026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grpSp>
        <p:nvGrpSpPr>
          <p:cNvPr id="152" name="Group 151">
            <a:extLst>
              <a:ext uri="{FF2B5EF4-FFF2-40B4-BE49-F238E27FC236}">
                <a16:creationId xmlns:a16="http://schemas.microsoft.com/office/drawing/2014/main" id="{7C3B62C8-79C4-4B4C-8B7A-48A7D076655E}"/>
              </a:ext>
            </a:extLst>
          </p:cNvPr>
          <p:cNvGrpSpPr/>
          <p:nvPr/>
        </p:nvGrpSpPr>
        <p:grpSpPr>
          <a:xfrm>
            <a:off x="3497023" y="2671875"/>
            <a:ext cx="548640" cy="548640"/>
            <a:chOff x="3497023" y="2671875"/>
            <a:chExt cx="548640" cy="548640"/>
          </a:xfrm>
        </p:grpSpPr>
        <p:sp>
          <p:nvSpPr>
            <p:cNvPr id="153" name="Oval 152">
              <a:extLst>
                <a:ext uri="{FF2B5EF4-FFF2-40B4-BE49-F238E27FC236}">
                  <a16:creationId xmlns:a16="http://schemas.microsoft.com/office/drawing/2014/main" id="{EAF7A2E9-95DE-2B4E-B3EE-4CB377FE2328}"/>
                </a:ext>
              </a:extLst>
            </p:cNvPr>
            <p:cNvSpPr/>
            <p:nvPr/>
          </p:nvSpPr>
          <p:spPr bwMode="auto">
            <a:xfrm>
              <a:off x="3497023" y="2671875"/>
              <a:ext cx="548640" cy="548640"/>
            </a:xfrm>
            <a:prstGeom prst="ellips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pic>
          <p:nvPicPr>
            <p:cNvPr id="154" name="Graphic 153">
              <a:extLst>
                <a:ext uri="{FF2B5EF4-FFF2-40B4-BE49-F238E27FC236}">
                  <a16:creationId xmlns:a16="http://schemas.microsoft.com/office/drawing/2014/main" id="{53862EED-8EB5-2541-BB61-5EA73EBA10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94648" y="2900533"/>
              <a:ext cx="228421" cy="228421"/>
            </a:xfrm>
            <a:prstGeom prst="rect">
              <a:avLst/>
            </a:prstGeom>
          </p:spPr>
        </p:pic>
        <p:pic>
          <p:nvPicPr>
            <p:cNvPr id="155" name="Picture 154">
              <a:extLst>
                <a:ext uri="{FF2B5EF4-FFF2-40B4-BE49-F238E27FC236}">
                  <a16:creationId xmlns:a16="http://schemas.microsoft.com/office/drawing/2014/main" id="{5ACC2E33-3063-A148-BFB4-4D5B8300FECC}"/>
                </a:ext>
              </a:extLst>
            </p:cNvPr>
            <p:cNvPicPr>
              <a:picLocks noChangeAspect="1"/>
            </p:cNvPicPr>
            <p:nvPr/>
          </p:nvPicPr>
          <p:blipFill>
            <a:blip r:embed="rId10"/>
            <a:stretch>
              <a:fillRect/>
            </a:stretch>
          </p:blipFill>
          <p:spPr>
            <a:xfrm>
              <a:off x="3712269" y="2736833"/>
              <a:ext cx="137197" cy="137197"/>
            </a:xfrm>
            <a:prstGeom prst="rect">
              <a:avLst/>
            </a:prstGeom>
          </p:spPr>
        </p:pic>
        <p:pic>
          <p:nvPicPr>
            <p:cNvPr id="156" name="Picture 155">
              <a:extLst>
                <a:ext uri="{FF2B5EF4-FFF2-40B4-BE49-F238E27FC236}">
                  <a16:creationId xmlns:a16="http://schemas.microsoft.com/office/drawing/2014/main" id="{0E29A317-0F55-4F4B-B631-43BFA6FF59E3}"/>
                </a:ext>
              </a:extLst>
            </p:cNvPr>
            <p:cNvPicPr>
              <a:picLocks noChangeAspect="1"/>
            </p:cNvPicPr>
            <p:nvPr/>
          </p:nvPicPr>
          <p:blipFill>
            <a:blip r:embed="rId10"/>
            <a:stretch>
              <a:fillRect/>
            </a:stretch>
          </p:blipFill>
          <p:spPr>
            <a:xfrm>
              <a:off x="3826958" y="2817845"/>
              <a:ext cx="137197" cy="137197"/>
            </a:xfrm>
            <a:prstGeom prst="rect">
              <a:avLst/>
            </a:prstGeom>
          </p:spPr>
        </p:pic>
      </p:grpSp>
      <p:sp>
        <p:nvSpPr>
          <p:cNvPr id="789" name="Rectangle 788">
            <a:extLst>
              <a:ext uri="{FF2B5EF4-FFF2-40B4-BE49-F238E27FC236}">
                <a16:creationId xmlns:a16="http://schemas.microsoft.com/office/drawing/2014/main" id="{ECB82CE7-61CE-4851-B503-5A95707874B3}"/>
              </a:ext>
            </a:extLst>
          </p:cNvPr>
          <p:cNvSpPr/>
          <p:nvPr/>
        </p:nvSpPr>
        <p:spPr bwMode="auto">
          <a:xfrm>
            <a:off x="8889184" y="2560420"/>
            <a:ext cx="382235" cy="3485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panose="020F0302020204030204"/>
                <a:ea typeface="Segoe UI" pitchFamily="34" charset="0"/>
                <a:cs typeface="Segoe UI" pitchFamily="34" charset="0"/>
              </a:rPr>
              <a:t>&lt;/&gt;</a:t>
            </a:r>
          </a:p>
        </p:txBody>
      </p:sp>
      <p:sp>
        <p:nvSpPr>
          <p:cNvPr id="3" name="Rectangle 2">
            <a:extLst>
              <a:ext uri="{FF2B5EF4-FFF2-40B4-BE49-F238E27FC236}">
                <a16:creationId xmlns:a16="http://schemas.microsoft.com/office/drawing/2014/main" id="{EDB6DECB-96E2-4AB2-9A8C-18507C7DB050}"/>
              </a:ext>
            </a:extLst>
          </p:cNvPr>
          <p:cNvSpPr/>
          <p:nvPr/>
        </p:nvSpPr>
        <p:spPr bwMode="auto">
          <a:xfrm>
            <a:off x="3038448" y="2294016"/>
            <a:ext cx="1453888" cy="375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Real Time Processing engine</a:t>
            </a:r>
          </a:p>
        </p:txBody>
      </p:sp>
      <p:sp>
        <p:nvSpPr>
          <p:cNvPr id="6" name="Rectangle 5">
            <a:extLst>
              <a:ext uri="{FF2B5EF4-FFF2-40B4-BE49-F238E27FC236}">
                <a16:creationId xmlns:a16="http://schemas.microsoft.com/office/drawing/2014/main" id="{86AEBCCB-A2B0-44D9-9B65-A683053D27E2}"/>
              </a:ext>
            </a:extLst>
          </p:cNvPr>
          <p:cNvSpPr/>
          <p:nvPr/>
        </p:nvSpPr>
        <p:spPr bwMode="auto">
          <a:xfrm>
            <a:off x="4993139" y="2707321"/>
            <a:ext cx="1062804" cy="741510"/>
          </a:xfrm>
          <a:prstGeom prst="rect">
            <a:avLst/>
          </a:prstGeom>
          <a:no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t>COLD STORE</a:t>
            </a:r>
            <a:br>
              <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800" b="0" i="0" u="none" strike="noStrike" kern="1200" cap="none" spc="0" normalizeH="0" baseline="0" noProof="0" dirty="0">
                <a:ln>
                  <a:noFill/>
                </a:ln>
                <a:solidFill>
                  <a:srgbClr val="4472C4"/>
                </a:solidFill>
                <a:effectLst/>
                <a:uLnTx/>
                <a:uFillTx/>
                <a:latin typeface="Calibri Light" panose="020F0302020204030204"/>
                <a:ea typeface="+mn-ea"/>
                <a:cs typeface="+mn-cs"/>
              </a:rPr>
              <a:t>ADLS Gen 2/ Azure Blob</a:t>
            </a:r>
            <a:endParaRPr kumimoji="0" lang="en-US" sz="1000" b="0" i="0" u="none" strike="noStrike" kern="1200" cap="none" spc="0" normalizeH="0" baseline="0" noProof="0" dirty="0">
              <a:ln>
                <a:noFill/>
              </a:ln>
              <a:solidFill>
                <a:srgbClr val="4472C4"/>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437391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1EFD39B-AB7A-40BF-B7A4-CAD5B9C30087}"/>
              </a:ext>
            </a:extLst>
          </p:cNvPr>
          <p:cNvSpPr>
            <a:spLocks noGrp="1"/>
          </p:cNvSpPr>
          <p:nvPr>
            <p:ph type="title"/>
          </p:nvPr>
        </p:nvSpPr>
        <p:spPr>
          <a:xfrm>
            <a:off x="839788" y="457200"/>
            <a:ext cx="3932237" cy="707886"/>
          </a:xfrm>
        </p:spPr>
        <p:txBody>
          <a:bodyPr vert="horz" lIns="91440" tIns="45720" rIns="91440" bIns="45720" rtlCol="0" anchor="b">
            <a:noAutofit/>
          </a:bodyPr>
          <a:lstStyle/>
          <a:p>
            <a:r>
              <a:rPr lang="en-US" sz="2400" kern="1200">
                <a:solidFill>
                  <a:schemeClr val="bg1"/>
                </a:solidFill>
                <a:latin typeface="+mj-lt"/>
                <a:ea typeface="+mj-ea"/>
                <a:cs typeface="+mj-cs"/>
              </a:rPr>
              <a:t>Data exploration and anomaly detection</a:t>
            </a:r>
          </a:p>
        </p:txBody>
      </p:sp>
      <p:sp>
        <p:nvSpPr>
          <p:cNvPr id="11" name="TextBox 10">
            <a:extLst>
              <a:ext uri="{FF2B5EF4-FFF2-40B4-BE49-F238E27FC236}">
                <a16:creationId xmlns:a16="http://schemas.microsoft.com/office/drawing/2014/main" id="{6DFCB074-3AD5-47D2-8A36-15E825435309}"/>
              </a:ext>
            </a:extLst>
          </p:cNvPr>
          <p:cNvSpPr txBox="1"/>
          <p:nvPr/>
        </p:nvSpPr>
        <p:spPr>
          <a:xfrm>
            <a:off x="745957" y="351079"/>
            <a:ext cx="10792900" cy="9448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140" b="0" i="0" u="none" strike="noStrike" kern="1200" cap="none" spc="0" normalizeH="0" baseline="0" noProof="0">
                <a:ln>
                  <a:noFill/>
                </a:ln>
                <a:solidFill>
                  <a:srgbClr val="0070C0"/>
                </a:solidFill>
                <a:effectLst/>
                <a:uLnTx/>
                <a:uFillTx/>
                <a:latin typeface="Segoe UI Light (Headings)"/>
                <a:ea typeface="+mn-ea"/>
                <a:cs typeface="+mn-cs"/>
              </a:rPr>
              <a:t>Uncovering the W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Light (Headings)"/>
                <a:ea typeface="+mn-ea"/>
                <a:cs typeface="+mn-cs"/>
              </a:rPr>
              <a:t>Anomaly detection and diagnosis</a:t>
            </a:r>
          </a:p>
        </p:txBody>
      </p:sp>
      <p:pic>
        <p:nvPicPr>
          <p:cNvPr id="6" name="Content Placeholder 3">
            <a:extLst>
              <a:ext uri="{FF2B5EF4-FFF2-40B4-BE49-F238E27FC236}">
                <a16:creationId xmlns:a16="http://schemas.microsoft.com/office/drawing/2014/main" id="{C1A072D8-05C9-41F0-A666-CE4E3B7265AA}"/>
              </a:ext>
            </a:extLst>
          </p:cNvPr>
          <p:cNvPicPr>
            <a:picLocks noGrp="1" noChangeAspect="1"/>
          </p:cNvPicPr>
          <p:nvPr/>
        </p:nvPicPr>
        <p:blipFill>
          <a:blip r:embed="rId3">
            <a:extLst>
              <a:ext uri="{28A0092B-C50C-407E-A947-70E740481C1C}">
                <a14:useLocalDpi xmlns:a14="http://schemas.microsoft.com/office/drawing/2010/main" val="0"/>
              </a:ext>
            </a:extLst>
          </a:blip>
          <a:stretch>
            <a:fillRect/>
          </a:stretch>
        </p:blipFill>
        <p:spPr>
          <a:xfrm>
            <a:off x="3845191" y="1918707"/>
            <a:ext cx="9029627" cy="3020586"/>
          </a:xfrm>
          <a:prstGeom prst="rect">
            <a:avLst/>
          </a:prstGeom>
        </p:spPr>
      </p:pic>
      <p:sp>
        <p:nvSpPr>
          <p:cNvPr id="8" name="Text Placeholder 3">
            <a:extLst>
              <a:ext uri="{FF2B5EF4-FFF2-40B4-BE49-F238E27FC236}">
                <a16:creationId xmlns:a16="http://schemas.microsoft.com/office/drawing/2014/main" id="{CBC1FE56-4908-4B1C-9887-D0A1D71446E5}"/>
              </a:ext>
            </a:extLst>
          </p:cNvPr>
          <p:cNvSpPr>
            <a:spLocks noGrp="1"/>
          </p:cNvSpPr>
          <p:nvPr>
            <p:ph type="body" sz="half" idx="2"/>
          </p:nvPr>
        </p:nvSpPr>
        <p:spPr>
          <a:xfrm>
            <a:off x="839788" y="2257708"/>
            <a:ext cx="3932237" cy="2342584"/>
          </a:xfrm>
        </p:spPr>
        <p:txBody>
          <a:bodyPr>
            <a:normAutofit lnSpcReduction="10000"/>
          </a:bodyPr>
          <a:lstStyle/>
          <a:p>
            <a:r>
              <a:rPr lang="en-US"/>
              <a:t>Examples:</a:t>
            </a:r>
          </a:p>
          <a:p>
            <a:pPr marL="285750" indent="-285750">
              <a:buFont typeface="Arial" panose="020B0604020202020204" pitchFamily="34" charset="0"/>
              <a:buChar char="•"/>
            </a:pPr>
            <a:r>
              <a:rPr lang="en-US"/>
              <a:t>Understanding why equipment requires extra maintenance.</a:t>
            </a:r>
          </a:p>
          <a:p>
            <a:pPr marL="285750" indent="-285750">
              <a:buFont typeface="Arial" panose="020B0604020202020204" pitchFamily="34" charset="0"/>
              <a:buChar char="•"/>
            </a:pPr>
            <a:r>
              <a:rPr lang="en-US"/>
              <a:t>Searching why inventory was damaged. </a:t>
            </a:r>
          </a:p>
          <a:p>
            <a:pPr marL="285750" indent="-285750">
              <a:buFont typeface="Arial" panose="020B0604020202020204" pitchFamily="34" charset="0"/>
              <a:buChar char="•"/>
            </a:pPr>
            <a:r>
              <a:rPr lang="en-US"/>
              <a:t>Researching why production declined on an assembly line.</a:t>
            </a:r>
          </a:p>
          <a:p>
            <a:pPr marL="285750" indent="-285750">
              <a:buFont typeface="Arial" panose="020B0604020202020204" pitchFamily="34" charset="0"/>
              <a:buChar char="•"/>
            </a:pPr>
            <a:r>
              <a:rPr lang="en-US"/>
              <a:t>Chasing down a defect in the supply chain process.</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4848931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3154507"/>
            <a:ext cx="10658320" cy="548985"/>
          </a:xfrm>
        </p:spPr>
        <p:txBody>
          <a:bodyPr/>
          <a:lstStyle/>
          <a:p>
            <a:r>
              <a:rPr lang="en-US" sz="4400" dirty="0">
                <a:gradFill>
                  <a:gsLst>
                    <a:gs pos="0">
                      <a:schemeClr val="accent5"/>
                    </a:gs>
                    <a:gs pos="100000">
                      <a:schemeClr val="accent4"/>
                    </a:gs>
                  </a:gsLst>
                  <a:lin ang="2700000" scaled="1"/>
                </a:gradFill>
              </a:rPr>
              <a:t>Demo: Time Series Insights Walkthrough</a:t>
            </a:r>
          </a:p>
        </p:txBody>
      </p:sp>
    </p:spTree>
    <p:extLst>
      <p:ext uri="{BB962C8B-B14F-4D97-AF65-F5344CB8AC3E}">
        <p14:creationId xmlns:p14="http://schemas.microsoft.com/office/powerpoint/2010/main" val="21164529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8.33333E-7 0 L 8.33333E-7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3154507"/>
            <a:ext cx="7454643" cy="548985"/>
          </a:xfrm>
        </p:spPr>
        <p:txBody>
          <a:bodyPr/>
          <a:lstStyle/>
          <a:p>
            <a:r>
              <a:rPr lang="en-US" sz="4400" dirty="0">
                <a:gradFill>
                  <a:gsLst>
                    <a:gs pos="0">
                      <a:schemeClr val="accent5"/>
                    </a:gs>
                    <a:gs pos="100000">
                      <a:schemeClr val="accent4"/>
                    </a:gs>
                  </a:gsLst>
                  <a:lin ang="2700000" scaled="1"/>
                </a:gradFill>
              </a:rPr>
              <a:t>Resources</a:t>
            </a:r>
          </a:p>
        </p:txBody>
      </p:sp>
    </p:spTree>
    <p:extLst>
      <p:ext uri="{BB962C8B-B14F-4D97-AF65-F5344CB8AC3E}">
        <p14:creationId xmlns:p14="http://schemas.microsoft.com/office/powerpoint/2010/main" val="1081848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4.44444E-6 L 0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86E78290-4809-4F09-8FA5-B41E5DD509AD}"/>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3068A2C7-E7F4-45F3-9E26-4E18B4F7051B}"/>
              </a:ext>
            </a:extLst>
          </p:cNvPr>
          <p:cNvSpPr txBox="1">
            <a:spLocks noGrp="1"/>
          </p:cNvSpPr>
          <p:nvPr>
            <p:ph type="title"/>
          </p:nvPr>
        </p:nvSpPr>
        <p:spPr>
          <a:xfrm>
            <a:off x="613238" y="162178"/>
            <a:ext cx="11018520" cy="553998"/>
          </a:xfrm>
        </p:spPr>
        <p:txBody>
          <a:bodyPr anchor="ctr">
            <a:norm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tx1"/>
                </a:solidFill>
              </a:rPr>
              <a:t>IoT Solution Architecture</a:t>
            </a:r>
          </a:p>
        </p:txBody>
      </p:sp>
      <p:sp>
        <p:nvSpPr>
          <p:cNvPr id="135" name="Rectangle 134">
            <a:extLst>
              <a:ext uri="{FF2B5EF4-FFF2-40B4-BE49-F238E27FC236}">
                <a16:creationId xmlns:a16="http://schemas.microsoft.com/office/drawing/2014/main" id="{E0C3AE10-3D51-4313-B975-854380173D56}"/>
              </a:ext>
            </a:extLst>
          </p:cNvPr>
          <p:cNvSpPr/>
          <p:nvPr/>
        </p:nvSpPr>
        <p:spPr bwMode="auto">
          <a:xfrm>
            <a:off x="748738" y="1373367"/>
            <a:ext cx="3029626"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endParaRPr>
          </a:p>
        </p:txBody>
      </p:sp>
      <p:sp>
        <p:nvSpPr>
          <p:cNvPr id="136" name="Rectangle 135">
            <a:extLst>
              <a:ext uri="{FF2B5EF4-FFF2-40B4-BE49-F238E27FC236}">
                <a16:creationId xmlns:a16="http://schemas.microsoft.com/office/drawing/2014/main" id="{BCFF9854-DEC6-455D-AC14-572C10785217}"/>
              </a:ext>
            </a:extLst>
          </p:cNvPr>
          <p:cNvSpPr/>
          <p:nvPr/>
        </p:nvSpPr>
        <p:spPr bwMode="auto">
          <a:xfrm>
            <a:off x="3954164" y="1373366"/>
            <a:ext cx="4362780"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endParaRPr>
          </a:p>
        </p:txBody>
      </p:sp>
      <p:sp>
        <p:nvSpPr>
          <p:cNvPr id="137" name="Rectangle 136">
            <a:extLst>
              <a:ext uri="{FF2B5EF4-FFF2-40B4-BE49-F238E27FC236}">
                <a16:creationId xmlns:a16="http://schemas.microsoft.com/office/drawing/2014/main" id="{ECAB46E6-F32B-4A12-B5A3-56B6CD2C7BC2}"/>
              </a:ext>
            </a:extLst>
          </p:cNvPr>
          <p:cNvSpPr/>
          <p:nvPr/>
        </p:nvSpPr>
        <p:spPr bwMode="auto">
          <a:xfrm>
            <a:off x="8504464" y="1373366"/>
            <a:ext cx="3029626"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endParaRPr>
          </a:p>
        </p:txBody>
      </p:sp>
      <p:sp>
        <p:nvSpPr>
          <p:cNvPr id="138" name="Oval 137">
            <a:extLst>
              <a:ext uri="{FF2B5EF4-FFF2-40B4-BE49-F238E27FC236}">
                <a16:creationId xmlns:a16="http://schemas.microsoft.com/office/drawing/2014/main" id="{B9EC1AD9-411C-4B8C-A9AE-B615CF5713FE}"/>
              </a:ext>
            </a:extLst>
          </p:cNvPr>
          <p:cNvSpPr/>
          <p:nvPr/>
        </p:nvSpPr>
        <p:spPr bwMode="auto">
          <a:xfrm>
            <a:off x="3253896" y="3373173"/>
            <a:ext cx="1366084"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Cloud Gateway (IoT Hub &amp; </a:t>
            </a: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Device Provisioning Service</a:t>
            </a:r>
            <a:r>
              <a:rPr kumimoji="0" lang="en-US" sz="1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a:t>
            </a:r>
          </a:p>
        </p:txBody>
      </p:sp>
      <p:sp>
        <p:nvSpPr>
          <p:cNvPr id="139" name="Oval 138">
            <a:extLst>
              <a:ext uri="{FF2B5EF4-FFF2-40B4-BE49-F238E27FC236}">
                <a16:creationId xmlns:a16="http://schemas.microsoft.com/office/drawing/2014/main" id="{10ECFD9B-7064-44D1-B2AF-2BE12692FB06}"/>
              </a:ext>
            </a:extLst>
          </p:cNvPr>
          <p:cNvSpPr/>
          <p:nvPr/>
        </p:nvSpPr>
        <p:spPr bwMode="auto">
          <a:xfrm>
            <a:off x="6577986" y="3373172"/>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Stream Processing</a:t>
            </a:r>
          </a:p>
        </p:txBody>
      </p:sp>
      <p:sp>
        <p:nvSpPr>
          <p:cNvPr id="140" name="Oval 139">
            <a:extLst>
              <a:ext uri="{FF2B5EF4-FFF2-40B4-BE49-F238E27FC236}">
                <a16:creationId xmlns:a16="http://schemas.microsoft.com/office/drawing/2014/main" id="{29E2A4FF-451A-4F59-B402-1E586D48E02C}"/>
              </a:ext>
            </a:extLst>
          </p:cNvPr>
          <p:cNvSpPr/>
          <p:nvPr/>
        </p:nvSpPr>
        <p:spPr bwMode="auto">
          <a:xfrm>
            <a:off x="6577987" y="1928642"/>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UI &amp; reporting Tools</a:t>
            </a:r>
          </a:p>
        </p:txBody>
      </p:sp>
      <p:sp>
        <p:nvSpPr>
          <p:cNvPr id="141" name="Oval 140">
            <a:extLst>
              <a:ext uri="{FF2B5EF4-FFF2-40B4-BE49-F238E27FC236}">
                <a16:creationId xmlns:a16="http://schemas.microsoft.com/office/drawing/2014/main" id="{FC74A09C-FB4C-4113-A406-7FF928DDA654}"/>
              </a:ext>
            </a:extLst>
          </p:cNvPr>
          <p:cNvSpPr/>
          <p:nvPr/>
        </p:nvSpPr>
        <p:spPr bwMode="auto">
          <a:xfrm>
            <a:off x="9993090" y="3373171"/>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Business Integration</a:t>
            </a:r>
          </a:p>
        </p:txBody>
      </p:sp>
      <p:sp>
        <p:nvSpPr>
          <p:cNvPr id="142" name="Cylinder 141">
            <a:extLst>
              <a:ext uri="{FF2B5EF4-FFF2-40B4-BE49-F238E27FC236}">
                <a16:creationId xmlns:a16="http://schemas.microsoft.com/office/drawing/2014/main" id="{BE7722B3-885A-4D41-B4D8-D613A981F380}"/>
              </a:ext>
            </a:extLst>
          </p:cNvPr>
          <p:cNvSpPr/>
          <p:nvPr/>
        </p:nvSpPr>
        <p:spPr bwMode="auto">
          <a:xfrm>
            <a:off x="6327149" y="4745873"/>
            <a:ext cx="779703" cy="978550"/>
          </a:xfrm>
          <a:prstGeom prst="can">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Storage</a:t>
            </a:r>
          </a:p>
        </p:txBody>
      </p:sp>
      <p:cxnSp>
        <p:nvCxnSpPr>
          <p:cNvPr id="143" name="Connector: Elbow 142">
            <a:extLst>
              <a:ext uri="{FF2B5EF4-FFF2-40B4-BE49-F238E27FC236}">
                <a16:creationId xmlns:a16="http://schemas.microsoft.com/office/drawing/2014/main" id="{DF2D3681-8CDF-40F6-AF9A-0479812B857A}"/>
              </a:ext>
            </a:extLst>
          </p:cNvPr>
          <p:cNvCxnSpPr>
            <a:cxnSpLocks/>
            <a:stCxn id="138" idx="6"/>
            <a:endCxn id="139" idx="2"/>
          </p:cNvCxnSpPr>
          <p:nvPr/>
        </p:nvCxnSpPr>
        <p:spPr>
          <a:xfrm flipV="1">
            <a:off x="4619980" y="3984079"/>
            <a:ext cx="1958006" cy="1"/>
          </a:xfrm>
          <a:prstGeom prst="bentConnector3">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44" name="Connector: Elbow 143">
            <a:extLst>
              <a:ext uri="{FF2B5EF4-FFF2-40B4-BE49-F238E27FC236}">
                <a16:creationId xmlns:a16="http://schemas.microsoft.com/office/drawing/2014/main" id="{63927075-A386-4CE8-B5BC-BED62D416890}"/>
              </a:ext>
            </a:extLst>
          </p:cNvPr>
          <p:cNvCxnSpPr>
            <a:cxnSpLocks/>
            <a:endCxn id="142" idx="2"/>
          </p:cNvCxnSpPr>
          <p:nvPr/>
        </p:nvCxnSpPr>
        <p:spPr>
          <a:xfrm>
            <a:off x="4573857" y="4222594"/>
            <a:ext cx="1753292" cy="1012554"/>
          </a:xfrm>
          <a:prstGeom prst="bentConnector3">
            <a:avLst>
              <a:gd name="adj1" fmla="val 50000"/>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45" name="Connector: Elbow 144">
            <a:extLst>
              <a:ext uri="{FF2B5EF4-FFF2-40B4-BE49-F238E27FC236}">
                <a16:creationId xmlns:a16="http://schemas.microsoft.com/office/drawing/2014/main" id="{27092EE8-798E-41C4-8667-6C1A10A50133}"/>
              </a:ext>
            </a:extLst>
          </p:cNvPr>
          <p:cNvCxnSpPr>
            <a:stCxn id="140" idx="4"/>
            <a:endCxn id="139" idx="0"/>
          </p:cNvCxnSpPr>
          <p:nvPr/>
        </p:nvCxnSpPr>
        <p:spPr>
          <a:xfrm rot="5400000">
            <a:off x="7077533" y="3261814"/>
            <a:ext cx="222718" cy="1"/>
          </a:xfrm>
          <a:prstGeom prst="bentConnector3">
            <a:avLst/>
          </a:prstGeom>
          <a:noFill/>
          <a:ln w="6350" cap="flat" cmpd="sng" algn="ctr">
            <a:solidFill>
              <a:sysClr val="windowText" lastClr="000000"/>
            </a:solidFill>
            <a:prstDash val="solid"/>
            <a:miter lim="800000"/>
            <a:headEnd type="triangle"/>
            <a:tailEnd type="triangle"/>
          </a:ln>
          <a:effectLst/>
        </p:spPr>
      </p:cxnSp>
      <p:cxnSp>
        <p:nvCxnSpPr>
          <p:cNvPr id="146" name="Straight Arrow Connector 145">
            <a:extLst>
              <a:ext uri="{FF2B5EF4-FFF2-40B4-BE49-F238E27FC236}">
                <a16:creationId xmlns:a16="http://schemas.microsoft.com/office/drawing/2014/main" id="{3312919B-A5D5-4C33-BD04-43F814E76CDD}"/>
              </a:ext>
            </a:extLst>
          </p:cNvPr>
          <p:cNvCxnSpPr>
            <a:cxnSpLocks/>
            <a:endCxn id="142" idx="1"/>
          </p:cNvCxnSpPr>
          <p:nvPr/>
        </p:nvCxnSpPr>
        <p:spPr>
          <a:xfrm flipH="1">
            <a:off x="6716999" y="4519541"/>
            <a:ext cx="153906" cy="226332"/>
          </a:xfrm>
          <a:prstGeom prst="straightConnector1">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47" name="Straight Arrow Connector 146">
            <a:extLst>
              <a:ext uri="{FF2B5EF4-FFF2-40B4-BE49-F238E27FC236}">
                <a16:creationId xmlns:a16="http://schemas.microsoft.com/office/drawing/2014/main" id="{A1D69802-69D7-422A-8C66-F1FED57DACF4}"/>
              </a:ext>
            </a:extLst>
          </p:cNvPr>
          <p:cNvCxnSpPr>
            <a:stCxn id="139" idx="6"/>
            <a:endCxn id="141" idx="2"/>
          </p:cNvCxnSpPr>
          <p:nvPr/>
        </p:nvCxnSpPr>
        <p:spPr>
          <a:xfrm flipV="1">
            <a:off x="7799798" y="3984078"/>
            <a:ext cx="2193292" cy="1"/>
          </a:xfrm>
          <a:prstGeom prst="straightConnector1">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48" name="Connector: Elbow 147">
            <a:extLst>
              <a:ext uri="{FF2B5EF4-FFF2-40B4-BE49-F238E27FC236}">
                <a16:creationId xmlns:a16="http://schemas.microsoft.com/office/drawing/2014/main" id="{E12B9AE9-4113-4BB2-A845-CDAA870F1468}"/>
              </a:ext>
            </a:extLst>
          </p:cNvPr>
          <p:cNvCxnSpPr>
            <a:cxnSpLocks/>
            <a:stCxn id="141" idx="0"/>
            <a:endCxn id="140" idx="6"/>
          </p:cNvCxnSpPr>
          <p:nvPr/>
        </p:nvCxnSpPr>
        <p:spPr>
          <a:xfrm rot="16200000" flipV="1">
            <a:off x="8785086" y="1554260"/>
            <a:ext cx="833623" cy="2804198"/>
          </a:xfrm>
          <a:prstGeom prst="bentConnector2">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49" name="Connector: Elbow 148">
            <a:extLst>
              <a:ext uri="{FF2B5EF4-FFF2-40B4-BE49-F238E27FC236}">
                <a16:creationId xmlns:a16="http://schemas.microsoft.com/office/drawing/2014/main" id="{94F6561E-95D0-4896-8D5B-2B584EA95ABD}"/>
              </a:ext>
            </a:extLst>
          </p:cNvPr>
          <p:cNvCxnSpPr>
            <a:cxnSpLocks/>
            <a:stCxn id="142" idx="3"/>
            <a:endCxn id="141" idx="4"/>
          </p:cNvCxnSpPr>
          <p:nvPr/>
        </p:nvCxnSpPr>
        <p:spPr>
          <a:xfrm rot="5400000" flipH="1" flipV="1">
            <a:off x="8095777" y="3216205"/>
            <a:ext cx="1129440" cy="3886996"/>
          </a:xfrm>
          <a:prstGeom prst="bentConnector3">
            <a:avLst>
              <a:gd name="adj1" fmla="val -5448"/>
            </a:avLst>
          </a:prstGeom>
          <a:noFill/>
          <a:ln w="19050" cap="flat" cmpd="sng" algn="ctr">
            <a:solidFill>
              <a:schemeClr val="accent3">
                <a:lumMod val="60000"/>
                <a:lumOff val="40000"/>
              </a:schemeClr>
            </a:solidFill>
            <a:prstDash val="solid"/>
            <a:miter lim="800000"/>
            <a:headEnd type="none" w="lg" len="med"/>
            <a:tailEnd type="triangle"/>
          </a:ln>
          <a:effectLst/>
        </p:spPr>
      </p:cxnSp>
      <p:sp>
        <p:nvSpPr>
          <p:cNvPr id="153" name="TextBox 152">
            <a:extLst>
              <a:ext uri="{FF2B5EF4-FFF2-40B4-BE49-F238E27FC236}">
                <a16:creationId xmlns:a16="http://schemas.microsoft.com/office/drawing/2014/main" id="{C1B276B6-D8BC-4B34-B7DD-52EF93432BB5}"/>
              </a:ext>
            </a:extLst>
          </p:cNvPr>
          <p:cNvSpPr txBox="1"/>
          <p:nvPr/>
        </p:nvSpPr>
        <p:spPr>
          <a:xfrm>
            <a:off x="5537401" y="5067393"/>
            <a:ext cx="585097" cy="153888"/>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Store data</a:t>
            </a:r>
          </a:p>
        </p:txBody>
      </p:sp>
      <p:sp>
        <p:nvSpPr>
          <p:cNvPr id="154" name="TextBox 153">
            <a:extLst>
              <a:ext uri="{FF2B5EF4-FFF2-40B4-BE49-F238E27FC236}">
                <a16:creationId xmlns:a16="http://schemas.microsoft.com/office/drawing/2014/main" id="{69920BC8-ADFF-4AC0-9A41-DAAC6CAFEB6A}"/>
              </a:ext>
            </a:extLst>
          </p:cNvPr>
          <p:cNvSpPr txBox="1"/>
          <p:nvPr/>
        </p:nvSpPr>
        <p:spPr>
          <a:xfrm>
            <a:off x="8641090" y="5594586"/>
            <a:ext cx="1768113" cy="153888"/>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Integrate with Business process</a:t>
            </a:r>
          </a:p>
        </p:txBody>
      </p:sp>
      <p:sp>
        <p:nvSpPr>
          <p:cNvPr id="155" name="TextBox 154">
            <a:extLst>
              <a:ext uri="{FF2B5EF4-FFF2-40B4-BE49-F238E27FC236}">
                <a16:creationId xmlns:a16="http://schemas.microsoft.com/office/drawing/2014/main" id="{971C44F7-0EFC-4B34-865B-0528BA79B0A3}"/>
              </a:ext>
            </a:extLst>
          </p:cNvPr>
          <p:cNvSpPr txBox="1"/>
          <p:nvPr/>
        </p:nvSpPr>
        <p:spPr>
          <a:xfrm>
            <a:off x="4701671" y="3590797"/>
            <a:ext cx="1511632" cy="307777"/>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Stream processing and</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rules evaluations over data</a:t>
            </a:r>
          </a:p>
        </p:txBody>
      </p:sp>
      <p:sp>
        <p:nvSpPr>
          <p:cNvPr id="156" name="TextBox 155">
            <a:extLst>
              <a:ext uri="{FF2B5EF4-FFF2-40B4-BE49-F238E27FC236}">
                <a16:creationId xmlns:a16="http://schemas.microsoft.com/office/drawing/2014/main" id="{A8AB43D5-FEBC-48D3-AB78-C7402E5B1D0D}"/>
              </a:ext>
            </a:extLst>
          </p:cNvPr>
          <p:cNvSpPr txBox="1"/>
          <p:nvPr/>
        </p:nvSpPr>
        <p:spPr>
          <a:xfrm>
            <a:off x="8700793" y="2568176"/>
            <a:ext cx="1570944" cy="153888"/>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Visualize data and learnings</a:t>
            </a:r>
          </a:p>
        </p:txBody>
      </p:sp>
      <p:cxnSp>
        <p:nvCxnSpPr>
          <p:cNvPr id="157" name="Connector: Elbow 156">
            <a:extLst>
              <a:ext uri="{FF2B5EF4-FFF2-40B4-BE49-F238E27FC236}">
                <a16:creationId xmlns:a16="http://schemas.microsoft.com/office/drawing/2014/main" id="{83879404-6F0D-4E81-A3E1-8A2379E42693}"/>
              </a:ext>
            </a:extLst>
          </p:cNvPr>
          <p:cNvCxnSpPr>
            <a:cxnSpLocks/>
            <a:stCxn id="140" idx="2"/>
            <a:endCxn id="138" idx="7"/>
          </p:cNvCxnSpPr>
          <p:nvPr/>
        </p:nvCxnSpPr>
        <p:spPr>
          <a:xfrm rot="10800000" flipV="1">
            <a:off x="4419923" y="2539549"/>
            <a:ext cx="2158065" cy="1012554"/>
          </a:xfrm>
          <a:prstGeom prst="bentConnector2">
            <a:avLst/>
          </a:prstGeom>
          <a:noFill/>
          <a:ln w="19050" cap="flat" cmpd="sng" algn="ctr">
            <a:solidFill>
              <a:schemeClr val="accent3">
                <a:lumMod val="60000"/>
                <a:lumOff val="40000"/>
              </a:schemeClr>
            </a:solidFill>
            <a:prstDash val="solid"/>
            <a:miter lim="800000"/>
            <a:headEnd type="none" w="lg" len="med"/>
            <a:tailEnd type="triangle"/>
          </a:ln>
          <a:effectLst/>
        </p:spPr>
      </p:cxnSp>
      <p:sp>
        <p:nvSpPr>
          <p:cNvPr id="158" name="TextBox 157">
            <a:extLst>
              <a:ext uri="{FF2B5EF4-FFF2-40B4-BE49-F238E27FC236}">
                <a16:creationId xmlns:a16="http://schemas.microsoft.com/office/drawing/2014/main" id="{15EAF560-435D-45FB-A141-A03FD99BCF5D}"/>
              </a:ext>
            </a:extLst>
          </p:cNvPr>
          <p:cNvSpPr txBox="1"/>
          <p:nvPr/>
        </p:nvSpPr>
        <p:spPr>
          <a:xfrm>
            <a:off x="4736314" y="2342905"/>
            <a:ext cx="1242328" cy="153888"/>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Configure and control</a:t>
            </a:r>
          </a:p>
        </p:txBody>
      </p:sp>
      <p:cxnSp>
        <p:nvCxnSpPr>
          <p:cNvPr id="159" name="Connector: Elbow 158">
            <a:extLst>
              <a:ext uri="{FF2B5EF4-FFF2-40B4-BE49-F238E27FC236}">
                <a16:creationId xmlns:a16="http://schemas.microsoft.com/office/drawing/2014/main" id="{8B6AFF43-E541-4F9B-B0A9-7BDF367286C9}"/>
              </a:ext>
            </a:extLst>
          </p:cNvPr>
          <p:cNvCxnSpPr>
            <a:cxnSpLocks/>
            <a:stCxn id="160" idx="6"/>
          </p:cNvCxnSpPr>
          <p:nvPr/>
        </p:nvCxnSpPr>
        <p:spPr>
          <a:xfrm flipV="1">
            <a:off x="2806920" y="4594983"/>
            <a:ext cx="765166" cy="847490"/>
          </a:xfrm>
          <a:prstGeom prst="bentConnector2">
            <a:avLst/>
          </a:prstGeom>
          <a:noFill/>
          <a:ln w="19050" cap="flat" cmpd="sng" algn="ctr">
            <a:solidFill>
              <a:schemeClr val="accent3">
                <a:lumMod val="60000"/>
                <a:lumOff val="40000"/>
              </a:schemeClr>
            </a:solidFill>
            <a:prstDash val="solid"/>
            <a:miter lim="800000"/>
            <a:headEnd type="triangle"/>
            <a:tailEnd type="triangle"/>
          </a:ln>
          <a:effectLst/>
        </p:spPr>
      </p:cxnSp>
      <p:sp>
        <p:nvSpPr>
          <p:cNvPr id="160" name="Oval 159">
            <a:extLst>
              <a:ext uri="{FF2B5EF4-FFF2-40B4-BE49-F238E27FC236}">
                <a16:creationId xmlns:a16="http://schemas.microsoft.com/office/drawing/2014/main" id="{FF3BF54C-B025-42D6-B7DA-C7F8D5C88149}"/>
              </a:ext>
            </a:extLst>
          </p:cNvPr>
          <p:cNvSpPr/>
          <p:nvPr/>
        </p:nvSpPr>
        <p:spPr bwMode="auto">
          <a:xfrm>
            <a:off x="1748818" y="4913422"/>
            <a:ext cx="1058102" cy="1058102"/>
          </a:xfrm>
          <a:prstGeom prst="ellipse">
            <a:avLst/>
          </a:prstGeom>
          <a:solidFill>
            <a:srgbClr val="0078D4"/>
          </a:solidFill>
          <a:ln w="12700" cap="flat" cmpd="sng" algn="ctr">
            <a:solidFill>
              <a:sysClr val="window" lastClr="FFFFFF"/>
            </a:solid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IoT Devices</a:t>
            </a:r>
          </a:p>
        </p:txBody>
      </p:sp>
      <p:sp>
        <p:nvSpPr>
          <p:cNvPr id="161" name="TextBox 160">
            <a:extLst>
              <a:ext uri="{FF2B5EF4-FFF2-40B4-BE49-F238E27FC236}">
                <a16:creationId xmlns:a16="http://schemas.microsoft.com/office/drawing/2014/main" id="{1A3C109B-2929-47F4-A780-94EE16D5664A}"/>
              </a:ext>
            </a:extLst>
          </p:cNvPr>
          <p:cNvSpPr txBox="1"/>
          <p:nvPr/>
        </p:nvSpPr>
        <p:spPr>
          <a:xfrm>
            <a:off x="818723" y="5068119"/>
            <a:ext cx="921988" cy="769241"/>
          </a:xfrm>
          <a:prstGeom prst="rect">
            <a:avLst/>
          </a:prstGeom>
          <a:noFill/>
        </p:spPr>
        <p:txBody>
          <a:bodyPr wrap="squar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IP Capable devices</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send data from devices to Cloud</a:t>
            </a:r>
          </a:p>
        </p:txBody>
      </p:sp>
      <p:sp>
        <p:nvSpPr>
          <p:cNvPr id="162" name="Cylinder 161">
            <a:extLst>
              <a:ext uri="{FF2B5EF4-FFF2-40B4-BE49-F238E27FC236}">
                <a16:creationId xmlns:a16="http://schemas.microsoft.com/office/drawing/2014/main" id="{AEF45AB7-F572-4C14-912F-E664985132B8}"/>
              </a:ext>
            </a:extLst>
          </p:cNvPr>
          <p:cNvSpPr/>
          <p:nvPr/>
        </p:nvSpPr>
        <p:spPr bwMode="auto">
          <a:xfrm>
            <a:off x="6327149" y="4745873"/>
            <a:ext cx="779703" cy="978550"/>
          </a:xfrm>
          <a:prstGeom prst="can">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Warm</a:t>
            </a:r>
          </a:p>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Path store</a:t>
            </a:r>
          </a:p>
        </p:txBody>
      </p:sp>
      <p:sp>
        <p:nvSpPr>
          <p:cNvPr id="163" name="Cylinder 162">
            <a:extLst>
              <a:ext uri="{FF2B5EF4-FFF2-40B4-BE49-F238E27FC236}">
                <a16:creationId xmlns:a16="http://schemas.microsoft.com/office/drawing/2014/main" id="{720AEB84-8D6C-401B-8932-6254FDCEDDDC}"/>
              </a:ext>
            </a:extLst>
          </p:cNvPr>
          <p:cNvSpPr/>
          <p:nvPr/>
        </p:nvSpPr>
        <p:spPr bwMode="auto">
          <a:xfrm>
            <a:off x="7321376" y="4745872"/>
            <a:ext cx="779703" cy="978550"/>
          </a:xfrm>
          <a:prstGeom prst="can">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Cold</a:t>
            </a:r>
          </a:p>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Path store</a:t>
            </a:r>
          </a:p>
        </p:txBody>
      </p:sp>
      <p:sp>
        <p:nvSpPr>
          <p:cNvPr id="164" name="Oval 163">
            <a:extLst>
              <a:ext uri="{FF2B5EF4-FFF2-40B4-BE49-F238E27FC236}">
                <a16:creationId xmlns:a16="http://schemas.microsoft.com/office/drawing/2014/main" id="{D9579969-42AF-42BB-B1A1-1DEB31744609}"/>
              </a:ext>
            </a:extLst>
          </p:cNvPr>
          <p:cNvSpPr/>
          <p:nvPr/>
        </p:nvSpPr>
        <p:spPr bwMode="auto">
          <a:xfrm>
            <a:off x="4614722" y="4361337"/>
            <a:ext cx="1463438" cy="687851"/>
          </a:xfrm>
          <a:prstGeom prst="ellipse">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Data Transformation</a:t>
            </a:r>
          </a:p>
        </p:txBody>
      </p:sp>
      <p:sp>
        <p:nvSpPr>
          <p:cNvPr id="165" name="Oval 164">
            <a:extLst>
              <a:ext uri="{FF2B5EF4-FFF2-40B4-BE49-F238E27FC236}">
                <a16:creationId xmlns:a16="http://schemas.microsoft.com/office/drawing/2014/main" id="{28E1089B-ED5A-46F5-9E45-992CABEF1D0B}"/>
              </a:ext>
            </a:extLst>
          </p:cNvPr>
          <p:cNvSpPr/>
          <p:nvPr/>
        </p:nvSpPr>
        <p:spPr bwMode="auto">
          <a:xfrm>
            <a:off x="8700133" y="4265013"/>
            <a:ext cx="1221813" cy="1221813"/>
          </a:xfrm>
          <a:prstGeom prst="ellipse">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Machine Learning</a:t>
            </a:r>
          </a:p>
        </p:txBody>
      </p:sp>
      <p:cxnSp>
        <p:nvCxnSpPr>
          <p:cNvPr id="166" name="Straight Arrow Connector 165">
            <a:extLst>
              <a:ext uri="{FF2B5EF4-FFF2-40B4-BE49-F238E27FC236}">
                <a16:creationId xmlns:a16="http://schemas.microsoft.com/office/drawing/2014/main" id="{AD334FCF-C151-4E35-A183-C583E0BE809A}"/>
              </a:ext>
            </a:extLst>
          </p:cNvPr>
          <p:cNvCxnSpPr>
            <a:cxnSpLocks/>
          </p:cNvCxnSpPr>
          <p:nvPr/>
        </p:nvCxnSpPr>
        <p:spPr>
          <a:xfrm>
            <a:off x="7499562" y="4532004"/>
            <a:ext cx="211665" cy="213869"/>
          </a:xfrm>
          <a:prstGeom prst="straightConnector1">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67" name="Straight Arrow Connector 166">
            <a:extLst>
              <a:ext uri="{FF2B5EF4-FFF2-40B4-BE49-F238E27FC236}">
                <a16:creationId xmlns:a16="http://schemas.microsoft.com/office/drawing/2014/main" id="{A2112EB5-4DE4-42C8-8ADB-17B728DF6688}"/>
              </a:ext>
            </a:extLst>
          </p:cNvPr>
          <p:cNvCxnSpPr>
            <a:cxnSpLocks/>
          </p:cNvCxnSpPr>
          <p:nvPr/>
        </p:nvCxnSpPr>
        <p:spPr>
          <a:xfrm flipH="1">
            <a:off x="8101078" y="4875919"/>
            <a:ext cx="599054" cy="359228"/>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grpSp>
        <p:nvGrpSpPr>
          <p:cNvPr id="168" name="Group 167">
            <a:extLst>
              <a:ext uri="{FF2B5EF4-FFF2-40B4-BE49-F238E27FC236}">
                <a16:creationId xmlns:a16="http://schemas.microsoft.com/office/drawing/2014/main" id="{956A417B-D6FF-4BA9-9F2A-6037D8FF847C}"/>
              </a:ext>
            </a:extLst>
          </p:cNvPr>
          <p:cNvGrpSpPr/>
          <p:nvPr/>
        </p:nvGrpSpPr>
        <p:grpSpPr>
          <a:xfrm>
            <a:off x="5900355" y="6288154"/>
            <a:ext cx="429769" cy="429769"/>
            <a:chOff x="5086392" y="1448771"/>
            <a:chExt cx="1261176" cy="1261176"/>
          </a:xfrm>
        </p:grpSpPr>
        <p:sp>
          <p:nvSpPr>
            <p:cNvPr id="169" name="Oval 168">
              <a:extLst>
                <a:ext uri="{FF2B5EF4-FFF2-40B4-BE49-F238E27FC236}">
                  <a16:creationId xmlns:a16="http://schemas.microsoft.com/office/drawing/2014/main" id="{A7C6A3C7-CE05-4035-91E1-3E541F002D95}"/>
                </a:ext>
              </a:extLst>
            </p:cNvPr>
            <p:cNvSpPr/>
            <p:nvPr/>
          </p:nvSpPr>
          <p:spPr bwMode="auto">
            <a:xfrm>
              <a:off x="5086392" y="1448771"/>
              <a:ext cx="1261176" cy="1261176"/>
            </a:xfrm>
            <a:prstGeom prst="ellipse">
              <a:avLst/>
            </a:prstGeom>
            <a:no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799"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sym typeface="Segoe UI Semibold"/>
              </a:endParaRPr>
            </a:p>
          </p:txBody>
        </p:sp>
        <p:sp>
          <p:nvSpPr>
            <p:cNvPr id="170" name="Freeform: Shape 169">
              <a:extLst>
                <a:ext uri="{FF2B5EF4-FFF2-40B4-BE49-F238E27FC236}">
                  <a16:creationId xmlns:a16="http://schemas.microsoft.com/office/drawing/2014/main" id="{41E089EC-ABFC-4764-BE80-2E80393CD401}"/>
                </a:ext>
              </a:extLst>
            </p:cNvPr>
            <p:cNvSpPr>
              <a:spLocks/>
            </p:cNvSpPr>
            <p:nvPr/>
          </p:nvSpPr>
          <p:spPr bwMode="auto">
            <a:xfrm>
              <a:off x="5452870" y="1674731"/>
              <a:ext cx="528220" cy="858045"/>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65532 w 528287"/>
                <a:gd name="connsiteY33" fmla="*/ 281902 h 858155"/>
                <a:gd name="connsiteX34" fmla="*/ 117970 w 528287"/>
                <a:gd name="connsiteY34" fmla="*/ 409570 h 858155"/>
                <a:gd name="connsiteX35" fmla="*/ 183636 w 528287"/>
                <a:gd name="connsiteY35" fmla="*/ 538652 h 858155"/>
                <a:gd name="connsiteX36" fmla="*/ 197809 w 528287"/>
                <a:gd name="connsiteY36" fmla="*/ 621566 h 858155"/>
                <a:gd name="connsiteX37" fmla="*/ 142064 w 528287"/>
                <a:gd name="connsiteY37" fmla="*/ 621566 h 858155"/>
                <a:gd name="connsiteX38" fmla="*/ 134977 w 528287"/>
                <a:gd name="connsiteY38" fmla="*/ 614028 h 858155"/>
                <a:gd name="connsiteX39" fmla="*/ 93405 w 528287"/>
                <a:gd name="connsiteY39" fmla="*/ 493426 h 858155"/>
                <a:gd name="connsiteX40" fmla="*/ 28684 w 528287"/>
                <a:gd name="connsiteY40" fmla="*/ 376122 h 858155"/>
                <a:gd name="connsiteX41" fmla="*/ 6008 w 528287"/>
                <a:gd name="connsiteY41" fmla="*/ 196632 h 858155"/>
                <a:gd name="connsiteX42" fmla="*/ 131671 w 528287"/>
                <a:gd name="connsiteY42" fmla="*/ 32218 h 858155"/>
                <a:gd name="connsiteX43" fmla="*/ 266900 w 528287"/>
                <a:gd name="connsiteY43"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17970 w 528287"/>
                <a:gd name="connsiteY33" fmla="*/ 409570 h 858155"/>
                <a:gd name="connsiteX34" fmla="*/ 183636 w 528287"/>
                <a:gd name="connsiteY34" fmla="*/ 538652 h 858155"/>
                <a:gd name="connsiteX35" fmla="*/ 197809 w 528287"/>
                <a:gd name="connsiteY35" fmla="*/ 621566 h 858155"/>
                <a:gd name="connsiteX36" fmla="*/ 142064 w 528287"/>
                <a:gd name="connsiteY36" fmla="*/ 621566 h 858155"/>
                <a:gd name="connsiteX37" fmla="*/ 134977 w 528287"/>
                <a:gd name="connsiteY37" fmla="*/ 614028 h 858155"/>
                <a:gd name="connsiteX38" fmla="*/ 93405 w 528287"/>
                <a:gd name="connsiteY38" fmla="*/ 493426 h 858155"/>
                <a:gd name="connsiteX39" fmla="*/ 28684 w 528287"/>
                <a:gd name="connsiteY39" fmla="*/ 376122 h 858155"/>
                <a:gd name="connsiteX40" fmla="*/ 6008 w 528287"/>
                <a:gd name="connsiteY40" fmla="*/ 196632 h 858155"/>
                <a:gd name="connsiteX41" fmla="*/ 131671 w 528287"/>
                <a:gd name="connsiteY41" fmla="*/ 32218 h 858155"/>
                <a:gd name="connsiteX42" fmla="*/ 266900 w 528287"/>
                <a:gd name="connsiteY42"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117970 w 528287"/>
                <a:gd name="connsiteY32" fmla="*/ 409570 h 858155"/>
                <a:gd name="connsiteX33" fmla="*/ 183636 w 528287"/>
                <a:gd name="connsiteY33" fmla="*/ 538652 h 858155"/>
                <a:gd name="connsiteX34" fmla="*/ 197809 w 528287"/>
                <a:gd name="connsiteY34" fmla="*/ 621566 h 858155"/>
                <a:gd name="connsiteX35" fmla="*/ 142064 w 528287"/>
                <a:gd name="connsiteY35" fmla="*/ 621566 h 858155"/>
                <a:gd name="connsiteX36" fmla="*/ 134977 w 528287"/>
                <a:gd name="connsiteY36" fmla="*/ 614028 h 858155"/>
                <a:gd name="connsiteX37" fmla="*/ 93405 w 528287"/>
                <a:gd name="connsiteY37" fmla="*/ 493426 h 858155"/>
                <a:gd name="connsiteX38" fmla="*/ 28684 w 528287"/>
                <a:gd name="connsiteY38" fmla="*/ 376122 h 858155"/>
                <a:gd name="connsiteX39" fmla="*/ 6008 w 528287"/>
                <a:gd name="connsiteY39" fmla="*/ 196632 h 858155"/>
                <a:gd name="connsiteX40" fmla="*/ 131671 w 528287"/>
                <a:gd name="connsiteY40" fmla="*/ 32218 h 858155"/>
                <a:gd name="connsiteX41" fmla="*/ 266900 w 528287"/>
                <a:gd name="connsiteY41"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117970 w 528287"/>
                <a:gd name="connsiteY31" fmla="*/ 409570 h 858155"/>
                <a:gd name="connsiteX32" fmla="*/ 183636 w 528287"/>
                <a:gd name="connsiteY32" fmla="*/ 538652 h 858155"/>
                <a:gd name="connsiteX33" fmla="*/ 197809 w 528287"/>
                <a:gd name="connsiteY33" fmla="*/ 621566 h 858155"/>
                <a:gd name="connsiteX34" fmla="*/ 142064 w 528287"/>
                <a:gd name="connsiteY34" fmla="*/ 621566 h 858155"/>
                <a:gd name="connsiteX35" fmla="*/ 134977 w 528287"/>
                <a:gd name="connsiteY35" fmla="*/ 614028 h 858155"/>
                <a:gd name="connsiteX36" fmla="*/ 93405 w 528287"/>
                <a:gd name="connsiteY36" fmla="*/ 493426 h 858155"/>
                <a:gd name="connsiteX37" fmla="*/ 28684 w 528287"/>
                <a:gd name="connsiteY37" fmla="*/ 376122 h 858155"/>
                <a:gd name="connsiteX38" fmla="*/ 6008 w 528287"/>
                <a:gd name="connsiteY38" fmla="*/ 196632 h 858155"/>
                <a:gd name="connsiteX39" fmla="*/ 131671 w 528287"/>
                <a:gd name="connsiteY39" fmla="*/ 32218 h 858155"/>
                <a:gd name="connsiteX40" fmla="*/ 266900 w 528287"/>
                <a:gd name="connsiteY40"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17970 w 528287"/>
                <a:gd name="connsiteY30" fmla="*/ 409570 h 858155"/>
                <a:gd name="connsiteX31" fmla="*/ 183636 w 528287"/>
                <a:gd name="connsiteY31" fmla="*/ 538652 h 858155"/>
                <a:gd name="connsiteX32" fmla="*/ 197809 w 528287"/>
                <a:gd name="connsiteY32" fmla="*/ 621566 h 858155"/>
                <a:gd name="connsiteX33" fmla="*/ 142064 w 528287"/>
                <a:gd name="connsiteY33" fmla="*/ 621566 h 858155"/>
                <a:gd name="connsiteX34" fmla="*/ 134977 w 528287"/>
                <a:gd name="connsiteY34" fmla="*/ 614028 h 858155"/>
                <a:gd name="connsiteX35" fmla="*/ 93405 w 528287"/>
                <a:gd name="connsiteY35" fmla="*/ 493426 h 858155"/>
                <a:gd name="connsiteX36" fmla="*/ 28684 w 528287"/>
                <a:gd name="connsiteY36" fmla="*/ 376122 h 858155"/>
                <a:gd name="connsiteX37" fmla="*/ 6008 w 528287"/>
                <a:gd name="connsiteY37" fmla="*/ 196632 h 858155"/>
                <a:gd name="connsiteX38" fmla="*/ 131671 w 528287"/>
                <a:gd name="connsiteY38" fmla="*/ 32218 h 858155"/>
                <a:gd name="connsiteX39" fmla="*/ 266900 w 528287"/>
                <a:gd name="connsiteY39"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83636 w 528287"/>
                <a:gd name="connsiteY30" fmla="*/ 538652 h 858155"/>
                <a:gd name="connsiteX31" fmla="*/ 197809 w 528287"/>
                <a:gd name="connsiteY31" fmla="*/ 621566 h 858155"/>
                <a:gd name="connsiteX32" fmla="*/ 142064 w 528287"/>
                <a:gd name="connsiteY32" fmla="*/ 621566 h 858155"/>
                <a:gd name="connsiteX33" fmla="*/ 134977 w 528287"/>
                <a:gd name="connsiteY33" fmla="*/ 614028 h 858155"/>
                <a:gd name="connsiteX34" fmla="*/ 93405 w 528287"/>
                <a:gd name="connsiteY34" fmla="*/ 493426 h 858155"/>
                <a:gd name="connsiteX35" fmla="*/ 28684 w 528287"/>
                <a:gd name="connsiteY35" fmla="*/ 376122 h 858155"/>
                <a:gd name="connsiteX36" fmla="*/ 6008 w 528287"/>
                <a:gd name="connsiteY36" fmla="*/ 196632 h 858155"/>
                <a:gd name="connsiteX37" fmla="*/ 131671 w 528287"/>
                <a:gd name="connsiteY37" fmla="*/ 32218 h 858155"/>
                <a:gd name="connsiteX38" fmla="*/ 266900 w 528287"/>
                <a:gd name="connsiteY38"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97809 w 528287"/>
                <a:gd name="connsiteY30" fmla="*/ 621566 h 858155"/>
                <a:gd name="connsiteX31" fmla="*/ 142064 w 528287"/>
                <a:gd name="connsiteY31" fmla="*/ 621566 h 858155"/>
                <a:gd name="connsiteX32" fmla="*/ 134977 w 528287"/>
                <a:gd name="connsiteY32" fmla="*/ 614028 h 858155"/>
                <a:gd name="connsiteX33" fmla="*/ 93405 w 528287"/>
                <a:gd name="connsiteY33" fmla="*/ 493426 h 858155"/>
                <a:gd name="connsiteX34" fmla="*/ 28684 w 528287"/>
                <a:gd name="connsiteY34" fmla="*/ 376122 h 858155"/>
                <a:gd name="connsiteX35" fmla="*/ 6008 w 528287"/>
                <a:gd name="connsiteY35" fmla="*/ 196632 h 858155"/>
                <a:gd name="connsiteX36" fmla="*/ 131671 w 528287"/>
                <a:gd name="connsiteY36" fmla="*/ 32218 h 858155"/>
                <a:gd name="connsiteX37" fmla="*/ 266900 w 528287"/>
                <a:gd name="connsiteY37"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197809 w 528287"/>
                <a:gd name="connsiteY29" fmla="*/ 621566 h 858155"/>
                <a:gd name="connsiteX30" fmla="*/ 142064 w 528287"/>
                <a:gd name="connsiteY30" fmla="*/ 621566 h 858155"/>
                <a:gd name="connsiteX31" fmla="*/ 134977 w 528287"/>
                <a:gd name="connsiteY31" fmla="*/ 614028 h 858155"/>
                <a:gd name="connsiteX32" fmla="*/ 93405 w 528287"/>
                <a:gd name="connsiteY32" fmla="*/ 493426 h 858155"/>
                <a:gd name="connsiteX33" fmla="*/ 28684 w 528287"/>
                <a:gd name="connsiteY33" fmla="*/ 376122 h 858155"/>
                <a:gd name="connsiteX34" fmla="*/ 6008 w 528287"/>
                <a:gd name="connsiteY34" fmla="*/ 196632 h 858155"/>
                <a:gd name="connsiteX35" fmla="*/ 131671 w 528287"/>
                <a:gd name="connsiteY35" fmla="*/ 32218 h 858155"/>
                <a:gd name="connsiteX36" fmla="*/ 266900 w 528287"/>
                <a:gd name="connsiteY36"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28287" h="858155">
                  <a:moveTo>
                    <a:pt x="180897" y="808532"/>
                  </a:moveTo>
                  <a:lnTo>
                    <a:pt x="351275" y="808532"/>
                  </a:ln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lnTo>
                    <a:pt x="347585" y="731401"/>
                  </a:lnTo>
                  <a:cubicBezTo>
                    <a:pt x="365532" y="731401"/>
                    <a:pt x="375450" y="740280"/>
                    <a:pt x="375450" y="755235"/>
                  </a:cubicBezTo>
                  <a:cubicBezTo>
                    <a:pt x="374978" y="770189"/>
                    <a:pt x="365532" y="778134"/>
                    <a:pt x="347585" y="778134"/>
                  </a:cubicBezTo>
                  <a:cubicBezTo>
                    <a:pt x="320193" y="778601"/>
                    <a:pt x="292328" y="778601"/>
                    <a:pt x="264935" y="778601"/>
                  </a:cubicBezTo>
                  <a:lnTo>
                    <a:pt x="181813" y="778134"/>
                  </a:lnTo>
                  <a:cubicBezTo>
                    <a:pt x="165283" y="778134"/>
                    <a:pt x="154420" y="768787"/>
                    <a:pt x="154893" y="754300"/>
                  </a:cubicBezTo>
                  <a:cubicBezTo>
                    <a:pt x="155365" y="740280"/>
                    <a:pt x="165283" y="731401"/>
                    <a:pt x="182285" y="731401"/>
                  </a:cubicBezTo>
                  <a:close/>
                  <a:moveTo>
                    <a:pt x="174924" y="655422"/>
                  </a:moveTo>
                  <a:lnTo>
                    <a:pt x="354947" y="655422"/>
                  </a:lnTo>
                  <a:cubicBezTo>
                    <a:pt x="369633" y="655422"/>
                    <a:pt x="379581" y="664350"/>
                    <a:pt x="379581" y="677976"/>
                  </a:cubicBezTo>
                  <a:cubicBezTo>
                    <a:pt x="380055" y="691133"/>
                    <a:pt x="370107" y="701000"/>
                    <a:pt x="355421" y="701000"/>
                  </a:cubicBezTo>
                  <a:cubicBezTo>
                    <a:pt x="325575" y="701470"/>
                    <a:pt x="295255" y="701000"/>
                    <a:pt x="264935" y="701000"/>
                  </a:cubicBezTo>
                  <a:lnTo>
                    <a:pt x="175397" y="701000"/>
                  </a:ln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lnTo>
                    <a:pt x="331503" y="621095"/>
                  </a:lnTo>
                  <a:lnTo>
                    <a:pt x="197809" y="621566"/>
                  </a:ln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noFill/>
            <a:ln w="12700">
              <a:solidFill>
                <a:schemeClr val="tx1"/>
              </a:solidFill>
              <a:round/>
              <a:headEnd/>
              <a:tailEnd/>
            </a:ln>
          </p:spPr>
          <p:txBody>
            <a:bodyPr vert="horz" wrap="square" lIns="93211" tIns="46605" rIns="93211" bIns="46605" numCol="1" anchor="t" anchorCtr="0" compatLnSpc="1">
              <a:prstTxWarp prst="textNoShape">
                <a:avLst/>
              </a:prstTxWarp>
              <a:noAutofit/>
            </a:bodyPr>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3999" b="0" i="0" u="none" strike="noStrike" kern="120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grpSp>
      <p:grpSp>
        <p:nvGrpSpPr>
          <p:cNvPr id="171" name="Group 170">
            <a:extLst>
              <a:ext uri="{FF2B5EF4-FFF2-40B4-BE49-F238E27FC236}">
                <a16:creationId xmlns:a16="http://schemas.microsoft.com/office/drawing/2014/main" id="{CB5545D4-D525-4AB9-8681-1769CCAE67C9}"/>
              </a:ext>
            </a:extLst>
          </p:cNvPr>
          <p:cNvGrpSpPr/>
          <p:nvPr/>
        </p:nvGrpSpPr>
        <p:grpSpPr>
          <a:xfrm>
            <a:off x="9778597" y="6286606"/>
            <a:ext cx="429769" cy="429769"/>
            <a:chOff x="9273302" y="2046197"/>
            <a:chExt cx="1426282" cy="1426282"/>
          </a:xfrm>
        </p:grpSpPr>
        <p:sp>
          <p:nvSpPr>
            <p:cNvPr id="172" name="Oval 171">
              <a:extLst>
                <a:ext uri="{FF2B5EF4-FFF2-40B4-BE49-F238E27FC236}">
                  <a16:creationId xmlns:a16="http://schemas.microsoft.com/office/drawing/2014/main" id="{53E0B294-4DA9-475D-8B5B-323958B18770}"/>
                </a:ext>
              </a:extLst>
            </p:cNvPr>
            <p:cNvSpPr>
              <a:spLocks noChangeAspect="1"/>
            </p:cNvSpPr>
            <p:nvPr/>
          </p:nvSpPr>
          <p:spPr bwMode="auto">
            <a:xfrm>
              <a:off x="9273302" y="2046197"/>
              <a:ext cx="1426282" cy="1426282"/>
            </a:xfrm>
            <a:prstGeom prst="ellipse">
              <a:avLst/>
            </a:prstGeom>
            <a:noFill/>
            <a:ln w="22225"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69193" rtl="0" eaLnBrk="1" fontAlgn="base" latinLnBrk="0" hangingPunct="1">
                <a:lnSpc>
                  <a:spcPct val="100000"/>
                </a:lnSpc>
                <a:spcBef>
                  <a:spcPct val="0"/>
                </a:spcBef>
                <a:spcAft>
                  <a:spcPct val="0"/>
                </a:spcAft>
                <a:buClrTx/>
                <a:buSzTx/>
                <a:buFontTx/>
                <a:buNone/>
                <a:tabLst/>
                <a:defRPr/>
              </a:pPr>
              <a:endParaRPr kumimoji="0" lang="en-US" sz="2399" b="0" i="0" u="none" strike="noStrike" kern="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sp>
          <p:nvSpPr>
            <p:cNvPr id="173" name="Freeform: Shape 172">
              <a:extLst>
                <a:ext uri="{FF2B5EF4-FFF2-40B4-BE49-F238E27FC236}">
                  <a16:creationId xmlns:a16="http://schemas.microsoft.com/office/drawing/2014/main" id="{6372C9D9-1D8D-4E8A-90FD-D8A5E60C305F}"/>
                </a:ext>
              </a:extLst>
            </p:cNvPr>
            <p:cNvSpPr>
              <a:spLocks noChangeAspect="1"/>
            </p:cNvSpPr>
            <p:nvPr/>
          </p:nvSpPr>
          <p:spPr bwMode="black">
            <a:xfrm>
              <a:off x="9745867" y="2316705"/>
              <a:ext cx="527667" cy="885265"/>
            </a:xfrm>
            <a:custGeom>
              <a:avLst/>
              <a:gdLst>
                <a:gd name="connsiteX0" fmla="*/ 285484 w 1193354"/>
                <a:gd name="connsiteY0" fmla="*/ 451468 h 2002084"/>
                <a:gd name="connsiteX1" fmla="*/ 284883 w 1193354"/>
                <a:gd name="connsiteY1" fmla="*/ 491345 h 2002084"/>
                <a:gd name="connsiteX2" fmla="*/ 284785 w 1193354"/>
                <a:gd name="connsiteY2" fmla="*/ 491279 h 2002084"/>
                <a:gd name="connsiteX3" fmla="*/ 284979 w 1193354"/>
                <a:gd name="connsiteY3" fmla="*/ 475228 h 2002084"/>
                <a:gd name="connsiteX4" fmla="*/ 286242 w 1193354"/>
                <a:gd name="connsiteY4" fmla="*/ 415853 h 2002084"/>
                <a:gd name="connsiteX5" fmla="*/ 286102 w 1193354"/>
                <a:gd name="connsiteY5" fmla="*/ 422418 h 2002084"/>
                <a:gd name="connsiteX6" fmla="*/ 285843 w 1193354"/>
                <a:gd name="connsiteY6" fmla="*/ 430162 h 2002084"/>
                <a:gd name="connsiteX7" fmla="*/ 285612 w 1193354"/>
                <a:gd name="connsiteY7" fmla="*/ 445461 h 2002084"/>
                <a:gd name="connsiteX8" fmla="*/ 285484 w 1193354"/>
                <a:gd name="connsiteY8" fmla="*/ 451468 h 2002084"/>
                <a:gd name="connsiteX9" fmla="*/ 285841 w 1193354"/>
                <a:gd name="connsiteY9" fmla="*/ 427810 h 2002084"/>
                <a:gd name="connsiteX10" fmla="*/ 286701 w 1193354"/>
                <a:gd name="connsiteY10" fmla="*/ 402165 h 2002084"/>
                <a:gd name="connsiteX11" fmla="*/ 286242 w 1193354"/>
                <a:gd name="connsiteY11" fmla="*/ 415853 h 2002084"/>
                <a:gd name="connsiteX12" fmla="*/ 286436 w 1193354"/>
                <a:gd name="connsiteY12" fmla="*/ 406761 h 2002084"/>
                <a:gd name="connsiteX13" fmla="*/ 496328 w 1193354"/>
                <a:gd name="connsiteY13" fmla="*/ 360361 h 2002084"/>
                <a:gd name="connsiteX14" fmla="*/ 496354 w 1193354"/>
                <a:gd name="connsiteY14" fmla="*/ 360534 h 2002084"/>
                <a:gd name="connsiteX15" fmla="*/ 494883 w 1193354"/>
                <a:gd name="connsiteY15" fmla="*/ 463364 h 2002084"/>
                <a:gd name="connsiteX16" fmla="*/ 494300 w 1193354"/>
                <a:gd name="connsiteY16" fmla="*/ 506394 h 2002084"/>
                <a:gd name="connsiteX17" fmla="*/ 494267 w 1193354"/>
                <a:gd name="connsiteY17" fmla="*/ 506416 h 2002084"/>
                <a:gd name="connsiteX18" fmla="*/ 494882 w 1193354"/>
                <a:gd name="connsiteY18" fmla="*/ 461012 h 2002084"/>
                <a:gd name="connsiteX19" fmla="*/ 495899 w 1193354"/>
                <a:gd name="connsiteY19" fmla="*/ 397961 h 2002084"/>
                <a:gd name="connsiteX20" fmla="*/ 289252 w 1193354"/>
                <a:gd name="connsiteY20" fmla="*/ 358061 h 2002084"/>
                <a:gd name="connsiteX21" fmla="*/ 289249 w 1193354"/>
                <a:gd name="connsiteY21" fmla="*/ 358087 h 2002084"/>
                <a:gd name="connsiteX22" fmla="*/ 288429 w 1193354"/>
                <a:gd name="connsiteY22" fmla="*/ 372279 h 2002084"/>
                <a:gd name="connsiteX23" fmla="*/ 287181 w 1193354"/>
                <a:gd name="connsiteY23" fmla="*/ 390263 h 2002084"/>
                <a:gd name="connsiteX24" fmla="*/ 286893 w 1193354"/>
                <a:gd name="connsiteY24" fmla="*/ 398838 h 2002084"/>
                <a:gd name="connsiteX25" fmla="*/ 286701 w 1193354"/>
                <a:gd name="connsiteY25" fmla="*/ 402165 h 2002084"/>
                <a:gd name="connsiteX26" fmla="*/ 287179 w 1193354"/>
                <a:gd name="connsiteY26" fmla="*/ 387912 h 2002084"/>
                <a:gd name="connsiteX27" fmla="*/ 289248 w 1193354"/>
                <a:gd name="connsiteY27" fmla="*/ 358087 h 2002084"/>
                <a:gd name="connsiteX28" fmla="*/ 296920 w 1193354"/>
                <a:gd name="connsiteY28" fmla="*/ 310739 h 2002084"/>
                <a:gd name="connsiteX29" fmla="*/ 289252 w 1193354"/>
                <a:gd name="connsiteY29" fmla="*/ 358061 h 2002084"/>
                <a:gd name="connsiteX30" fmla="*/ 294307 w 1193354"/>
                <a:gd name="connsiteY30" fmla="*/ 317179 h 2002084"/>
                <a:gd name="connsiteX31" fmla="*/ 301470 w 1193354"/>
                <a:gd name="connsiteY31" fmla="*/ 299529 h 2002084"/>
                <a:gd name="connsiteX32" fmla="*/ 298558 w 1193354"/>
                <a:gd name="connsiteY32" fmla="*/ 306704 h 2002084"/>
                <a:gd name="connsiteX33" fmla="*/ 297737 w 1193354"/>
                <a:gd name="connsiteY33" fmla="*/ 308062 h 2002084"/>
                <a:gd name="connsiteX34" fmla="*/ 297558 w 1193354"/>
                <a:gd name="connsiteY34" fmla="*/ 309167 h 2002084"/>
                <a:gd name="connsiteX35" fmla="*/ 296920 w 1193354"/>
                <a:gd name="connsiteY35" fmla="*/ 310739 h 2002084"/>
                <a:gd name="connsiteX36" fmla="*/ 297735 w 1193354"/>
                <a:gd name="connsiteY36" fmla="*/ 305710 h 2002084"/>
                <a:gd name="connsiteX37" fmla="*/ 483118 w 1193354"/>
                <a:gd name="connsiteY37" fmla="*/ 298753 h 2002084"/>
                <a:gd name="connsiteX38" fmla="*/ 489189 w 1193354"/>
                <a:gd name="connsiteY38" fmla="*/ 310293 h 2002084"/>
                <a:gd name="connsiteX39" fmla="*/ 496353 w 1193354"/>
                <a:gd name="connsiteY39" fmla="*/ 358182 h 2002084"/>
                <a:gd name="connsiteX40" fmla="*/ 496328 w 1193354"/>
                <a:gd name="connsiteY40" fmla="*/ 360361 h 2002084"/>
                <a:gd name="connsiteX41" fmla="*/ 496327 w 1193354"/>
                <a:gd name="connsiteY41" fmla="*/ 360355 h 2002084"/>
                <a:gd name="connsiteX42" fmla="*/ 496352 w 1193354"/>
                <a:gd name="connsiteY42" fmla="*/ 358182 h 2002084"/>
                <a:gd name="connsiteX43" fmla="*/ 495286 w 1193354"/>
                <a:gd name="connsiteY43" fmla="*/ 353397 h 2002084"/>
                <a:gd name="connsiteX44" fmla="*/ 489190 w 1193354"/>
                <a:gd name="connsiteY44" fmla="*/ 312645 h 2002084"/>
                <a:gd name="connsiteX45" fmla="*/ 484026 w 1193354"/>
                <a:gd name="connsiteY45" fmla="*/ 302828 h 2002084"/>
                <a:gd name="connsiteX46" fmla="*/ 312270 w 1193354"/>
                <a:gd name="connsiteY46" fmla="*/ 281652 h 2002084"/>
                <a:gd name="connsiteX47" fmla="*/ 301470 w 1193354"/>
                <a:gd name="connsiteY47" fmla="*/ 299529 h 2002084"/>
                <a:gd name="connsiteX48" fmla="*/ 307000 w 1193354"/>
                <a:gd name="connsiteY48" fmla="*/ 285901 h 2002084"/>
                <a:gd name="connsiteX49" fmla="*/ 473685 w 1193354"/>
                <a:gd name="connsiteY49" fmla="*/ 280824 h 2002084"/>
                <a:gd name="connsiteX50" fmla="*/ 481372 w 1193354"/>
                <a:gd name="connsiteY50" fmla="*/ 290914 h 2002084"/>
                <a:gd name="connsiteX51" fmla="*/ 483118 w 1193354"/>
                <a:gd name="connsiteY51" fmla="*/ 298753 h 2002084"/>
                <a:gd name="connsiteX52" fmla="*/ 467383 w 1193354"/>
                <a:gd name="connsiteY52" fmla="*/ 272552 h 2002084"/>
                <a:gd name="connsiteX53" fmla="*/ 470477 w 1193354"/>
                <a:gd name="connsiteY53" fmla="*/ 274726 h 2002084"/>
                <a:gd name="connsiteX54" fmla="*/ 473685 w 1193354"/>
                <a:gd name="connsiteY54" fmla="*/ 280824 h 2002084"/>
                <a:gd name="connsiteX55" fmla="*/ 438680 w 1193354"/>
                <a:gd name="connsiteY55" fmla="*/ 252385 h 2002084"/>
                <a:gd name="connsiteX56" fmla="*/ 463812 w 1193354"/>
                <a:gd name="connsiteY56" fmla="*/ 267865 h 2002084"/>
                <a:gd name="connsiteX57" fmla="*/ 467383 w 1193354"/>
                <a:gd name="connsiteY57" fmla="*/ 272552 h 2002084"/>
                <a:gd name="connsiteX58" fmla="*/ 392214 w 1193354"/>
                <a:gd name="connsiteY58" fmla="*/ 246486 h 2002084"/>
                <a:gd name="connsiteX59" fmla="*/ 470478 w 1193354"/>
                <a:gd name="connsiteY59" fmla="*/ 277078 h 2002084"/>
                <a:gd name="connsiteX60" fmla="*/ 484026 w 1193354"/>
                <a:gd name="connsiteY60" fmla="*/ 302828 h 2002084"/>
                <a:gd name="connsiteX61" fmla="*/ 495286 w 1193354"/>
                <a:gd name="connsiteY61" fmla="*/ 353397 h 2002084"/>
                <a:gd name="connsiteX62" fmla="*/ 496327 w 1193354"/>
                <a:gd name="connsiteY62" fmla="*/ 360355 h 2002084"/>
                <a:gd name="connsiteX63" fmla="*/ 495898 w 1193354"/>
                <a:gd name="connsiteY63" fmla="*/ 397961 h 2002084"/>
                <a:gd name="connsiteX64" fmla="*/ 494881 w 1193354"/>
                <a:gd name="connsiteY64" fmla="*/ 461012 h 2002084"/>
                <a:gd name="connsiteX65" fmla="*/ 494266 w 1193354"/>
                <a:gd name="connsiteY65" fmla="*/ 506417 h 2002084"/>
                <a:gd name="connsiteX66" fmla="*/ 494267 w 1193354"/>
                <a:gd name="connsiteY66" fmla="*/ 506416 h 2002084"/>
                <a:gd name="connsiteX67" fmla="*/ 493818 w 1193354"/>
                <a:gd name="connsiteY67" fmla="*/ 539623 h 2002084"/>
                <a:gd name="connsiteX68" fmla="*/ 493224 w 1193354"/>
                <a:gd name="connsiteY68" fmla="*/ 626081 h 2002084"/>
                <a:gd name="connsiteX69" fmla="*/ 493231 w 1193354"/>
                <a:gd name="connsiteY69" fmla="*/ 627553 h 2002084"/>
                <a:gd name="connsiteX70" fmla="*/ 493225 w 1193354"/>
                <a:gd name="connsiteY70" fmla="*/ 628433 h 2002084"/>
                <a:gd name="connsiteX71" fmla="*/ 505879 w 1193354"/>
                <a:gd name="connsiteY71" fmla="*/ 898482 h 2002084"/>
                <a:gd name="connsiteX72" fmla="*/ 622620 w 1193354"/>
                <a:gd name="connsiteY72" fmla="*/ 786882 h 2002084"/>
                <a:gd name="connsiteX73" fmla="*/ 739361 w 1193354"/>
                <a:gd name="connsiteY73" fmla="*/ 898482 h 2002084"/>
                <a:gd name="connsiteX74" fmla="*/ 739361 w 1193354"/>
                <a:gd name="connsiteY74" fmla="*/ 954282 h 2002084"/>
                <a:gd name="connsiteX75" fmla="*/ 849616 w 1193354"/>
                <a:gd name="connsiteY75" fmla="*/ 842682 h 2002084"/>
                <a:gd name="connsiteX76" fmla="*/ 966358 w 1193354"/>
                <a:gd name="connsiteY76" fmla="*/ 954282 h 2002084"/>
                <a:gd name="connsiteX77" fmla="*/ 966358 w 1193354"/>
                <a:gd name="connsiteY77" fmla="*/ 1010082 h 2002084"/>
                <a:gd name="connsiteX78" fmla="*/ 1083099 w 1193354"/>
                <a:gd name="connsiteY78" fmla="*/ 898482 h 2002084"/>
                <a:gd name="connsiteX79" fmla="*/ 1193354 w 1193354"/>
                <a:gd name="connsiteY79" fmla="*/ 1010082 h 2002084"/>
                <a:gd name="connsiteX80" fmla="*/ 1193354 w 1193354"/>
                <a:gd name="connsiteY80" fmla="*/ 1245682 h 2002084"/>
                <a:gd name="connsiteX81" fmla="*/ 1193354 w 1193354"/>
                <a:gd name="connsiteY81" fmla="*/ 1431683 h 2002084"/>
                <a:gd name="connsiteX82" fmla="*/ 1193354 w 1193354"/>
                <a:gd name="connsiteY82" fmla="*/ 1493683 h 2002084"/>
                <a:gd name="connsiteX83" fmla="*/ 596677 w 1193354"/>
                <a:gd name="connsiteY83" fmla="*/ 2002084 h 2002084"/>
                <a:gd name="connsiteX84" fmla="*/ 0 w 1193354"/>
                <a:gd name="connsiteY84" fmla="*/ 1431683 h 2002084"/>
                <a:gd name="connsiteX85" fmla="*/ 0 w 1193354"/>
                <a:gd name="connsiteY85" fmla="*/ 1109282 h 2002084"/>
                <a:gd name="connsiteX86" fmla="*/ 0 w 1193354"/>
                <a:gd name="connsiteY86" fmla="*/ 997682 h 2002084"/>
                <a:gd name="connsiteX87" fmla="*/ 116742 w 1193354"/>
                <a:gd name="connsiteY87" fmla="*/ 997682 h 2002084"/>
                <a:gd name="connsiteX88" fmla="*/ 226997 w 1193354"/>
                <a:gd name="connsiteY88" fmla="*/ 1109282 h 2002084"/>
                <a:gd name="connsiteX89" fmla="*/ 226997 w 1193354"/>
                <a:gd name="connsiteY89" fmla="*/ 1375883 h 2002084"/>
                <a:gd name="connsiteX90" fmla="*/ 278882 w 1193354"/>
                <a:gd name="connsiteY90" fmla="*/ 1320083 h 2002084"/>
                <a:gd name="connsiteX91" fmla="*/ 278882 w 1193354"/>
                <a:gd name="connsiteY91" fmla="*/ 1010082 h 2002084"/>
                <a:gd name="connsiteX92" fmla="*/ 278882 w 1193354"/>
                <a:gd name="connsiteY92" fmla="*/ 738056 h 2002084"/>
                <a:gd name="connsiteX93" fmla="*/ 282697 w 1193354"/>
                <a:gd name="connsiteY93" fmla="*/ 639405 h 2002084"/>
                <a:gd name="connsiteX94" fmla="*/ 283227 w 1193354"/>
                <a:gd name="connsiteY94" fmla="*/ 604037 h 2002084"/>
                <a:gd name="connsiteX95" fmla="*/ 284019 w 1193354"/>
                <a:gd name="connsiteY95" fmla="*/ 554865 h 2002084"/>
                <a:gd name="connsiteX96" fmla="*/ 284242 w 1193354"/>
                <a:gd name="connsiteY96" fmla="*/ 536372 h 2002084"/>
                <a:gd name="connsiteX97" fmla="*/ 284338 w 1193354"/>
                <a:gd name="connsiteY97" fmla="*/ 529962 h 2002084"/>
                <a:gd name="connsiteX98" fmla="*/ 285612 w 1193354"/>
                <a:gd name="connsiteY98" fmla="*/ 445461 h 2002084"/>
                <a:gd name="connsiteX99" fmla="*/ 286102 w 1193354"/>
                <a:gd name="connsiteY99" fmla="*/ 422418 h 2002084"/>
                <a:gd name="connsiteX100" fmla="*/ 286893 w 1193354"/>
                <a:gd name="connsiteY100" fmla="*/ 398838 h 2002084"/>
                <a:gd name="connsiteX101" fmla="*/ 288429 w 1193354"/>
                <a:gd name="connsiteY101" fmla="*/ 372279 h 2002084"/>
                <a:gd name="connsiteX102" fmla="*/ 289250 w 1193354"/>
                <a:gd name="connsiteY102" fmla="*/ 360439 h 2002084"/>
                <a:gd name="connsiteX103" fmla="*/ 297558 w 1193354"/>
                <a:gd name="connsiteY103" fmla="*/ 309167 h 2002084"/>
                <a:gd name="connsiteX104" fmla="*/ 298558 w 1193354"/>
                <a:gd name="connsiteY104" fmla="*/ 306704 h 2002084"/>
                <a:gd name="connsiteX105" fmla="*/ 315044 w 1193354"/>
                <a:gd name="connsiteY105" fmla="*/ 279415 h 2002084"/>
                <a:gd name="connsiteX106" fmla="*/ 338643 w 1193354"/>
                <a:gd name="connsiteY106" fmla="*/ 260387 h 2002084"/>
                <a:gd name="connsiteX107" fmla="*/ 351480 w 1193354"/>
                <a:gd name="connsiteY107" fmla="*/ 252389 h 2002084"/>
                <a:gd name="connsiteX108" fmla="*/ 392214 w 1193354"/>
                <a:gd name="connsiteY108" fmla="*/ 246486 h 2002084"/>
                <a:gd name="connsiteX109" fmla="*/ 392212 w 1193354"/>
                <a:gd name="connsiteY109" fmla="*/ 244134 h 2002084"/>
                <a:gd name="connsiteX110" fmla="*/ 351479 w 1193354"/>
                <a:gd name="connsiteY110" fmla="*/ 250037 h 2002084"/>
                <a:gd name="connsiteX111" fmla="*/ 338643 w 1193354"/>
                <a:gd name="connsiteY111" fmla="*/ 260387 h 2002084"/>
                <a:gd name="connsiteX112" fmla="*/ 319234 w 1193354"/>
                <a:gd name="connsiteY112" fmla="*/ 272480 h 2002084"/>
                <a:gd name="connsiteX113" fmla="*/ 315044 w 1193354"/>
                <a:gd name="connsiteY113" fmla="*/ 279415 h 2002084"/>
                <a:gd name="connsiteX114" fmla="*/ 312270 w 1193354"/>
                <a:gd name="connsiteY114" fmla="*/ 281652 h 2002084"/>
                <a:gd name="connsiteX115" fmla="*/ 319232 w 1193354"/>
                <a:gd name="connsiteY115" fmla="*/ 270128 h 2002084"/>
                <a:gd name="connsiteX116" fmla="*/ 392212 w 1193354"/>
                <a:gd name="connsiteY116" fmla="*/ 244134 h 2002084"/>
                <a:gd name="connsiteX117" fmla="*/ 392212 w 1193354"/>
                <a:gd name="connsiteY117" fmla="*/ 244134 h 2002084"/>
                <a:gd name="connsiteX118" fmla="*/ 392213 w 1193354"/>
                <a:gd name="connsiteY118" fmla="*/ 244134 h 2002084"/>
                <a:gd name="connsiteX119" fmla="*/ 438667 w 1193354"/>
                <a:gd name="connsiteY119" fmla="*/ 252376 h 2002084"/>
                <a:gd name="connsiteX120" fmla="*/ 438680 w 1193354"/>
                <a:gd name="connsiteY120" fmla="*/ 252385 h 2002084"/>
                <a:gd name="connsiteX121" fmla="*/ 438666 w 1193354"/>
                <a:gd name="connsiteY121" fmla="*/ 252376 h 2002084"/>
                <a:gd name="connsiteX122" fmla="*/ 400753 w 1193354"/>
                <a:gd name="connsiteY122" fmla="*/ 0 h 2002084"/>
                <a:gd name="connsiteX123" fmla="*/ 730683 w 1193354"/>
                <a:gd name="connsiteY123" fmla="*/ 329930 h 2002084"/>
                <a:gd name="connsiteX124" fmla="*/ 529177 w 1193354"/>
                <a:gd name="connsiteY124" fmla="*/ 633933 h 2002084"/>
                <a:gd name="connsiteX125" fmla="*/ 493310 w 1193354"/>
                <a:gd name="connsiteY125" fmla="*/ 645066 h 2002084"/>
                <a:gd name="connsiteX126" fmla="*/ 493231 w 1193354"/>
                <a:gd name="connsiteY126" fmla="*/ 627553 h 2002084"/>
                <a:gd name="connsiteX127" fmla="*/ 493819 w 1193354"/>
                <a:gd name="connsiteY127" fmla="*/ 541975 h 2002084"/>
                <a:gd name="connsiteX128" fmla="*/ 494300 w 1193354"/>
                <a:gd name="connsiteY128" fmla="*/ 506394 h 2002084"/>
                <a:gd name="connsiteX129" fmla="*/ 543825 w 1193354"/>
                <a:gd name="connsiteY129" fmla="*/ 473003 h 2002084"/>
                <a:gd name="connsiteX130" fmla="*/ 603088 w 1193354"/>
                <a:gd name="connsiteY130" fmla="*/ 329930 h 2002084"/>
                <a:gd name="connsiteX131" fmla="*/ 400752 w 1193354"/>
                <a:gd name="connsiteY131" fmla="*/ 127594 h 2002084"/>
                <a:gd name="connsiteX132" fmla="*/ 198416 w 1193354"/>
                <a:gd name="connsiteY132" fmla="*/ 329930 h 2002084"/>
                <a:gd name="connsiteX133" fmla="*/ 257679 w 1193354"/>
                <a:gd name="connsiteY133" fmla="*/ 473003 h 2002084"/>
                <a:gd name="connsiteX134" fmla="*/ 284785 w 1193354"/>
                <a:gd name="connsiteY134" fmla="*/ 491279 h 2002084"/>
                <a:gd name="connsiteX135" fmla="*/ 284242 w 1193354"/>
                <a:gd name="connsiteY135" fmla="*/ 536372 h 2002084"/>
                <a:gd name="connsiteX136" fmla="*/ 283227 w 1193354"/>
                <a:gd name="connsiteY136" fmla="*/ 604037 h 2002084"/>
                <a:gd name="connsiteX137" fmla="*/ 282696 w 1193354"/>
                <a:gd name="connsiteY137" fmla="*/ 637053 h 2002084"/>
                <a:gd name="connsiteX138" fmla="*/ 282693 w 1193354"/>
                <a:gd name="connsiteY138" fmla="*/ 637150 h 2002084"/>
                <a:gd name="connsiteX139" fmla="*/ 272330 w 1193354"/>
                <a:gd name="connsiteY139" fmla="*/ 633933 h 2002084"/>
                <a:gd name="connsiteX140" fmla="*/ 70823 w 1193354"/>
                <a:gd name="connsiteY140" fmla="*/ 329930 h 2002084"/>
                <a:gd name="connsiteX141" fmla="*/ 400753 w 1193354"/>
                <a:gd name="connsiteY141" fmla="*/ 0 h 2002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193354" h="2002084">
                  <a:moveTo>
                    <a:pt x="285484" y="451468"/>
                  </a:moveTo>
                  <a:lnTo>
                    <a:pt x="284883" y="491345"/>
                  </a:lnTo>
                  <a:lnTo>
                    <a:pt x="284785" y="491279"/>
                  </a:lnTo>
                  <a:lnTo>
                    <a:pt x="284979" y="475228"/>
                  </a:lnTo>
                  <a:close/>
                  <a:moveTo>
                    <a:pt x="286242" y="415853"/>
                  </a:moveTo>
                  <a:lnTo>
                    <a:pt x="286102" y="422418"/>
                  </a:lnTo>
                  <a:lnTo>
                    <a:pt x="285843" y="430162"/>
                  </a:lnTo>
                  <a:lnTo>
                    <a:pt x="285612" y="445461"/>
                  </a:lnTo>
                  <a:lnTo>
                    <a:pt x="285484" y="451468"/>
                  </a:lnTo>
                  <a:lnTo>
                    <a:pt x="285841" y="427810"/>
                  </a:lnTo>
                  <a:close/>
                  <a:moveTo>
                    <a:pt x="286701" y="402165"/>
                  </a:moveTo>
                  <a:lnTo>
                    <a:pt x="286242" y="415853"/>
                  </a:lnTo>
                  <a:lnTo>
                    <a:pt x="286436" y="406761"/>
                  </a:lnTo>
                  <a:close/>
                  <a:moveTo>
                    <a:pt x="496328" y="360361"/>
                  </a:moveTo>
                  <a:lnTo>
                    <a:pt x="496354" y="360534"/>
                  </a:lnTo>
                  <a:cubicBezTo>
                    <a:pt x="496354" y="377582"/>
                    <a:pt x="495634" y="415286"/>
                    <a:pt x="494883" y="463364"/>
                  </a:cubicBezTo>
                  <a:lnTo>
                    <a:pt x="494300" y="506394"/>
                  </a:lnTo>
                  <a:lnTo>
                    <a:pt x="494267" y="506416"/>
                  </a:lnTo>
                  <a:lnTo>
                    <a:pt x="494882" y="461012"/>
                  </a:lnTo>
                  <a:cubicBezTo>
                    <a:pt x="495258" y="436974"/>
                    <a:pt x="495625" y="415528"/>
                    <a:pt x="495899" y="397961"/>
                  </a:cubicBezTo>
                  <a:close/>
                  <a:moveTo>
                    <a:pt x="289252" y="358061"/>
                  </a:moveTo>
                  <a:lnTo>
                    <a:pt x="289249" y="358087"/>
                  </a:lnTo>
                  <a:lnTo>
                    <a:pt x="288429" y="372279"/>
                  </a:lnTo>
                  <a:lnTo>
                    <a:pt x="287181" y="390263"/>
                  </a:lnTo>
                  <a:lnTo>
                    <a:pt x="286893" y="398838"/>
                  </a:lnTo>
                  <a:lnTo>
                    <a:pt x="286701" y="402165"/>
                  </a:lnTo>
                  <a:lnTo>
                    <a:pt x="287179" y="387912"/>
                  </a:lnTo>
                  <a:cubicBezTo>
                    <a:pt x="287733" y="376149"/>
                    <a:pt x="288409" y="366066"/>
                    <a:pt x="289248" y="358087"/>
                  </a:cubicBezTo>
                  <a:close/>
                  <a:moveTo>
                    <a:pt x="296920" y="310739"/>
                  </a:moveTo>
                  <a:lnTo>
                    <a:pt x="289252" y="358061"/>
                  </a:lnTo>
                  <a:lnTo>
                    <a:pt x="294307" y="317179"/>
                  </a:lnTo>
                  <a:close/>
                  <a:moveTo>
                    <a:pt x="301470" y="299529"/>
                  </a:moveTo>
                  <a:lnTo>
                    <a:pt x="298558" y="306704"/>
                  </a:lnTo>
                  <a:lnTo>
                    <a:pt x="297737" y="308062"/>
                  </a:lnTo>
                  <a:lnTo>
                    <a:pt x="297558" y="309167"/>
                  </a:lnTo>
                  <a:lnTo>
                    <a:pt x="296920" y="310739"/>
                  </a:lnTo>
                  <a:lnTo>
                    <a:pt x="297735" y="305710"/>
                  </a:lnTo>
                  <a:close/>
                  <a:moveTo>
                    <a:pt x="483118" y="298753"/>
                  </a:moveTo>
                  <a:lnTo>
                    <a:pt x="489189" y="310293"/>
                  </a:lnTo>
                  <a:cubicBezTo>
                    <a:pt x="493416" y="324252"/>
                    <a:pt x="495718" y="340264"/>
                    <a:pt x="496353" y="358182"/>
                  </a:cubicBezTo>
                  <a:lnTo>
                    <a:pt x="496328" y="360361"/>
                  </a:lnTo>
                  <a:lnTo>
                    <a:pt x="496327" y="360355"/>
                  </a:lnTo>
                  <a:lnTo>
                    <a:pt x="496352" y="358182"/>
                  </a:lnTo>
                  <a:lnTo>
                    <a:pt x="495286" y="353397"/>
                  </a:lnTo>
                  <a:lnTo>
                    <a:pt x="489190" y="312645"/>
                  </a:lnTo>
                  <a:lnTo>
                    <a:pt x="484026" y="302828"/>
                  </a:lnTo>
                  <a:close/>
                  <a:moveTo>
                    <a:pt x="312270" y="281652"/>
                  </a:moveTo>
                  <a:lnTo>
                    <a:pt x="301470" y="299529"/>
                  </a:lnTo>
                  <a:lnTo>
                    <a:pt x="307000" y="285901"/>
                  </a:lnTo>
                  <a:close/>
                  <a:moveTo>
                    <a:pt x="473685" y="280824"/>
                  </a:moveTo>
                  <a:lnTo>
                    <a:pt x="481372" y="290914"/>
                  </a:lnTo>
                  <a:lnTo>
                    <a:pt x="483118" y="298753"/>
                  </a:lnTo>
                  <a:close/>
                  <a:moveTo>
                    <a:pt x="467383" y="272552"/>
                  </a:moveTo>
                  <a:lnTo>
                    <a:pt x="470477" y="274726"/>
                  </a:lnTo>
                  <a:lnTo>
                    <a:pt x="473685" y="280824"/>
                  </a:lnTo>
                  <a:close/>
                  <a:moveTo>
                    <a:pt x="438680" y="252385"/>
                  </a:moveTo>
                  <a:lnTo>
                    <a:pt x="463812" y="267865"/>
                  </a:lnTo>
                  <a:lnTo>
                    <a:pt x="467383" y="272552"/>
                  </a:lnTo>
                  <a:close/>
                  <a:moveTo>
                    <a:pt x="392214" y="246486"/>
                  </a:moveTo>
                  <a:cubicBezTo>
                    <a:pt x="428409" y="247079"/>
                    <a:pt x="453809" y="257674"/>
                    <a:pt x="470478" y="277078"/>
                  </a:cubicBezTo>
                  <a:lnTo>
                    <a:pt x="484026" y="302828"/>
                  </a:lnTo>
                  <a:lnTo>
                    <a:pt x="495286" y="353397"/>
                  </a:lnTo>
                  <a:lnTo>
                    <a:pt x="496327" y="360355"/>
                  </a:lnTo>
                  <a:lnTo>
                    <a:pt x="495898" y="397961"/>
                  </a:lnTo>
                  <a:cubicBezTo>
                    <a:pt x="495624" y="415528"/>
                    <a:pt x="495257" y="436973"/>
                    <a:pt x="494881" y="461012"/>
                  </a:cubicBezTo>
                  <a:lnTo>
                    <a:pt x="494266" y="506417"/>
                  </a:lnTo>
                  <a:lnTo>
                    <a:pt x="494267" y="506416"/>
                  </a:lnTo>
                  <a:lnTo>
                    <a:pt x="493818" y="539623"/>
                  </a:lnTo>
                  <a:cubicBezTo>
                    <a:pt x="493513" y="567563"/>
                    <a:pt x="493286" y="596811"/>
                    <a:pt x="493224" y="626081"/>
                  </a:cubicBezTo>
                  <a:lnTo>
                    <a:pt x="493231" y="627553"/>
                  </a:lnTo>
                  <a:lnTo>
                    <a:pt x="493225" y="628433"/>
                  </a:lnTo>
                  <a:cubicBezTo>
                    <a:pt x="492975" y="745514"/>
                    <a:pt x="495357" y="862953"/>
                    <a:pt x="505879" y="898482"/>
                  </a:cubicBezTo>
                  <a:cubicBezTo>
                    <a:pt x="526923" y="969540"/>
                    <a:pt x="557764" y="786882"/>
                    <a:pt x="622620" y="786882"/>
                  </a:cubicBezTo>
                  <a:cubicBezTo>
                    <a:pt x="687476" y="786882"/>
                    <a:pt x="739361" y="836482"/>
                    <a:pt x="739361" y="898482"/>
                  </a:cubicBezTo>
                  <a:lnTo>
                    <a:pt x="739361" y="954282"/>
                  </a:lnTo>
                  <a:cubicBezTo>
                    <a:pt x="739361" y="892282"/>
                    <a:pt x="791246" y="842682"/>
                    <a:pt x="849616" y="842682"/>
                  </a:cubicBezTo>
                  <a:cubicBezTo>
                    <a:pt x="914473" y="842682"/>
                    <a:pt x="966358" y="892282"/>
                    <a:pt x="966358" y="954282"/>
                  </a:cubicBezTo>
                  <a:lnTo>
                    <a:pt x="966358" y="1010082"/>
                  </a:lnTo>
                  <a:cubicBezTo>
                    <a:pt x="966358" y="948082"/>
                    <a:pt x="1018243" y="898482"/>
                    <a:pt x="1083099" y="898482"/>
                  </a:cubicBezTo>
                  <a:cubicBezTo>
                    <a:pt x="1147955" y="898482"/>
                    <a:pt x="1193354" y="948082"/>
                    <a:pt x="1193354" y="1010082"/>
                  </a:cubicBezTo>
                  <a:lnTo>
                    <a:pt x="1193354" y="1245682"/>
                  </a:lnTo>
                  <a:lnTo>
                    <a:pt x="1193354" y="1431683"/>
                  </a:lnTo>
                  <a:lnTo>
                    <a:pt x="1193354" y="1493683"/>
                  </a:lnTo>
                  <a:cubicBezTo>
                    <a:pt x="1160926" y="1778884"/>
                    <a:pt x="907987" y="2002084"/>
                    <a:pt x="596677" y="2002084"/>
                  </a:cubicBezTo>
                  <a:cubicBezTo>
                    <a:pt x="265911" y="2002084"/>
                    <a:pt x="0" y="1747884"/>
                    <a:pt x="0" y="1431683"/>
                  </a:cubicBezTo>
                  <a:lnTo>
                    <a:pt x="0" y="1109282"/>
                  </a:lnTo>
                  <a:lnTo>
                    <a:pt x="0" y="997682"/>
                  </a:lnTo>
                  <a:lnTo>
                    <a:pt x="116742" y="997682"/>
                  </a:lnTo>
                  <a:cubicBezTo>
                    <a:pt x="181598" y="997682"/>
                    <a:pt x="226997" y="1047282"/>
                    <a:pt x="226997" y="1109282"/>
                  </a:cubicBezTo>
                  <a:lnTo>
                    <a:pt x="226997" y="1375883"/>
                  </a:lnTo>
                  <a:cubicBezTo>
                    <a:pt x="265911" y="1375883"/>
                    <a:pt x="278882" y="1344883"/>
                    <a:pt x="278882" y="1320083"/>
                  </a:cubicBezTo>
                  <a:lnTo>
                    <a:pt x="278882" y="1010082"/>
                  </a:lnTo>
                  <a:lnTo>
                    <a:pt x="278882" y="738056"/>
                  </a:lnTo>
                  <a:cubicBezTo>
                    <a:pt x="280743" y="709242"/>
                    <a:pt x="281901" y="675222"/>
                    <a:pt x="282697" y="639405"/>
                  </a:cubicBezTo>
                  <a:lnTo>
                    <a:pt x="283227" y="604037"/>
                  </a:lnTo>
                  <a:lnTo>
                    <a:pt x="284019" y="554865"/>
                  </a:lnTo>
                  <a:lnTo>
                    <a:pt x="284242" y="536372"/>
                  </a:lnTo>
                  <a:lnTo>
                    <a:pt x="284338" y="529962"/>
                  </a:lnTo>
                  <a:lnTo>
                    <a:pt x="285612" y="445461"/>
                  </a:lnTo>
                  <a:lnTo>
                    <a:pt x="286102" y="422418"/>
                  </a:lnTo>
                  <a:lnTo>
                    <a:pt x="286893" y="398838"/>
                  </a:lnTo>
                  <a:lnTo>
                    <a:pt x="288429" y="372279"/>
                  </a:lnTo>
                  <a:lnTo>
                    <a:pt x="289250" y="360439"/>
                  </a:lnTo>
                  <a:lnTo>
                    <a:pt x="297558" y="309167"/>
                  </a:lnTo>
                  <a:lnTo>
                    <a:pt x="298558" y="306704"/>
                  </a:lnTo>
                  <a:lnTo>
                    <a:pt x="315044" y="279415"/>
                  </a:lnTo>
                  <a:lnTo>
                    <a:pt x="338643" y="260387"/>
                  </a:lnTo>
                  <a:lnTo>
                    <a:pt x="351480" y="252389"/>
                  </a:lnTo>
                  <a:cubicBezTo>
                    <a:pt x="363769" y="248129"/>
                    <a:pt x="377473" y="246233"/>
                    <a:pt x="392214" y="246486"/>
                  </a:cubicBezTo>
                  <a:close/>
                  <a:moveTo>
                    <a:pt x="392212" y="244134"/>
                  </a:moveTo>
                  <a:lnTo>
                    <a:pt x="351479" y="250037"/>
                  </a:lnTo>
                  <a:lnTo>
                    <a:pt x="338643" y="260387"/>
                  </a:lnTo>
                  <a:lnTo>
                    <a:pt x="319234" y="272480"/>
                  </a:lnTo>
                  <a:lnTo>
                    <a:pt x="315044" y="279415"/>
                  </a:lnTo>
                  <a:lnTo>
                    <a:pt x="312270" y="281652"/>
                  </a:lnTo>
                  <a:lnTo>
                    <a:pt x="319232" y="270128"/>
                  </a:lnTo>
                  <a:cubicBezTo>
                    <a:pt x="337398" y="251715"/>
                    <a:pt x="362730" y="243629"/>
                    <a:pt x="392212" y="244134"/>
                  </a:cubicBezTo>
                  <a:close/>
                  <a:moveTo>
                    <a:pt x="392212" y="244134"/>
                  </a:moveTo>
                  <a:lnTo>
                    <a:pt x="392213" y="244134"/>
                  </a:lnTo>
                  <a:cubicBezTo>
                    <a:pt x="410311" y="244430"/>
                    <a:pt x="425709" y="247227"/>
                    <a:pt x="438667" y="252376"/>
                  </a:cubicBezTo>
                  <a:lnTo>
                    <a:pt x="438680" y="252385"/>
                  </a:lnTo>
                  <a:lnTo>
                    <a:pt x="438666" y="252376"/>
                  </a:lnTo>
                  <a:close/>
                  <a:moveTo>
                    <a:pt x="400753" y="0"/>
                  </a:moveTo>
                  <a:cubicBezTo>
                    <a:pt x="582968" y="0"/>
                    <a:pt x="730683" y="147715"/>
                    <a:pt x="730683" y="329930"/>
                  </a:cubicBezTo>
                  <a:cubicBezTo>
                    <a:pt x="730683" y="466592"/>
                    <a:pt x="647593" y="583847"/>
                    <a:pt x="529177" y="633933"/>
                  </a:cubicBezTo>
                  <a:lnTo>
                    <a:pt x="493310" y="645066"/>
                  </a:lnTo>
                  <a:lnTo>
                    <a:pt x="493231" y="627553"/>
                  </a:lnTo>
                  <a:lnTo>
                    <a:pt x="493819" y="541975"/>
                  </a:lnTo>
                  <a:lnTo>
                    <a:pt x="494300" y="506394"/>
                  </a:lnTo>
                  <a:lnTo>
                    <a:pt x="543825" y="473003"/>
                  </a:lnTo>
                  <a:cubicBezTo>
                    <a:pt x="580441" y="436388"/>
                    <a:pt x="603088" y="385804"/>
                    <a:pt x="603088" y="329930"/>
                  </a:cubicBezTo>
                  <a:cubicBezTo>
                    <a:pt x="603088" y="218183"/>
                    <a:pt x="512499" y="127594"/>
                    <a:pt x="400752" y="127594"/>
                  </a:cubicBezTo>
                  <a:cubicBezTo>
                    <a:pt x="289005" y="127594"/>
                    <a:pt x="198416" y="218183"/>
                    <a:pt x="198416" y="329930"/>
                  </a:cubicBezTo>
                  <a:cubicBezTo>
                    <a:pt x="198416" y="385804"/>
                    <a:pt x="221064" y="436388"/>
                    <a:pt x="257679" y="473003"/>
                  </a:cubicBezTo>
                  <a:lnTo>
                    <a:pt x="284785" y="491279"/>
                  </a:lnTo>
                  <a:lnTo>
                    <a:pt x="284242" y="536372"/>
                  </a:lnTo>
                  <a:lnTo>
                    <a:pt x="283227" y="604037"/>
                  </a:lnTo>
                  <a:lnTo>
                    <a:pt x="282696" y="637053"/>
                  </a:lnTo>
                  <a:lnTo>
                    <a:pt x="282693" y="637150"/>
                  </a:lnTo>
                  <a:lnTo>
                    <a:pt x="272330" y="633933"/>
                  </a:lnTo>
                  <a:cubicBezTo>
                    <a:pt x="153913" y="583847"/>
                    <a:pt x="70823" y="466592"/>
                    <a:pt x="70823" y="329930"/>
                  </a:cubicBezTo>
                  <a:cubicBezTo>
                    <a:pt x="70823" y="147715"/>
                    <a:pt x="218538" y="0"/>
                    <a:pt x="400753" y="0"/>
                  </a:cubicBezTo>
                  <a:close/>
                </a:path>
              </a:pathLst>
            </a:custGeom>
            <a:noFill/>
            <a:ln w="12700">
              <a:solidFill>
                <a:schemeClr val="tx1"/>
              </a:solidFill>
            </a:ln>
          </p:spPr>
          <p:txBody>
            <a:bodyPr vert="horz" wrap="square" lIns="93211" tIns="46605" rIns="93211" bIns="46605" numCol="1" anchor="t" anchorCtr="0" compatLnSpc="1">
              <a:prstTxWarp prst="textNoShape">
                <a:avLst/>
              </a:prstTxWarp>
              <a:noAutofit/>
            </a:bodyPr>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3999" b="0" i="0" u="none" strike="noStrike" kern="120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grpSp>
      <p:sp>
        <p:nvSpPr>
          <p:cNvPr id="174" name="Rectangle: Rounded Corners 173">
            <a:extLst>
              <a:ext uri="{FF2B5EF4-FFF2-40B4-BE49-F238E27FC236}">
                <a16:creationId xmlns:a16="http://schemas.microsoft.com/office/drawing/2014/main" id="{CFAD6029-BB8E-436B-B317-492B06B75812}"/>
              </a:ext>
            </a:extLst>
          </p:cNvPr>
          <p:cNvSpPr/>
          <p:nvPr/>
        </p:nvSpPr>
        <p:spPr>
          <a:xfrm>
            <a:off x="2043653" y="2842939"/>
            <a:ext cx="1047894" cy="778522"/>
          </a:xfrm>
          <a:prstGeom prst="roundRect">
            <a:avLst/>
          </a:prstGeom>
          <a:solidFill>
            <a:srgbClr val="7030A0"/>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Field Gateways</a:t>
            </a:r>
          </a:p>
        </p:txBody>
      </p:sp>
      <p:sp>
        <p:nvSpPr>
          <p:cNvPr id="175" name="Rectangle: Rounded Corners 174">
            <a:extLst>
              <a:ext uri="{FF2B5EF4-FFF2-40B4-BE49-F238E27FC236}">
                <a16:creationId xmlns:a16="http://schemas.microsoft.com/office/drawing/2014/main" id="{A162CEA1-1ABE-4CAD-9EEE-392592CB1B93}"/>
              </a:ext>
            </a:extLst>
          </p:cNvPr>
          <p:cNvSpPr/>
          <p:nvPr/>
        </p:nvSpPr>
        <p:spPr>
          <a:xfrm>
            <a:off x="851334" y="2842939"/>
            <a:ext cx="912731" cy="353518"/>
          </a:xfrm>
          <a:prstGeom prst="roundRect">
            <a:avLst/>
          </a:prstGeom>
          <a:solidFill>
            <a:srgbClr val="7030A0"/>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Constrained Devices</a:t>
            </a:r>
          </a:p>
        </p:txBody>
      </p:sp>
      <p:sp>
        <p:nvSpPr>
          <p:cNvPr id="176" name="Rectangle: Rounded Corners 175">
            <a:extLst>
              <a:ext uri="{FF2B5EF4-FFF2-40B4-BE49-F238E27FC236}">
                <a16:creationId xmlns:a16="http://schemas.microsoft.com/office/drawing/2014/main" id="{14998521-474F-4EA3-A226-B2BA75C8BDE9}"/>
              </a:ext>
            </a:extLst>
          </p:cNvPr>
          <p:cNvSpPr/>
          <p:nvPr/>
        </p:nvSpPr>
        <p:spPr>
          <a:xfrm>
            <a:off x="851334" y="3267944"/>
            <a:ext cx="920252" cy="353518"/>
          </a:xfrm>
          <a:prstGeom prst="roundRect">
            <a:avLst/>
          </a:prstGeom>
          <a:solidFill>
            <a:srgbClr val="7030A0"/>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Constrained Devices</a:t>
            </a:r>
          </a:p>
        </p:txBody>
      </p:sp>
      <p:cxnSp>
        <p:nvCxnSpPr>
          <p:cNvPr id="177" name="Straight Arrow Connector 176">
            <a:extLst>
              <a:ext uri="{FF2B5EF4-FFF2-40B4-BE49-F238E27FC236}">
                <a16:creationId xmlns:a16="http://schemas.microsoft.com/office/drawing/2014/main" id="{EC87BA0E-C393-4820-B581-23C570E99BC7}"/>
              </a:ext>
            </a:extLst>
          </p:cNvPr>
          <p:cNvCxnSpPr>
            <a:cxnSpLocks/>
          </p:cNvCxnSpPr>
          <p:nvPr/>
        </p:nvCxnSpPr>
        <p:spPr>
          <a:xfrm>
            <a:off x="3091547" y="3267945"/>
            <a:ext cx="386556" cy="23357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cxnSp>
        <p:nvCxnSpPr>
          <p:cNvPr id="178" name="Straight Arrow Connector 177">
            <a:extLst>
              <a:ext uri="{FF2B5EF4-FFF2-40B4-BE49-F238E27FC236}">
                <a16:creationId xmlns:a16="http://schemas.microsoft.com/office/drawing/2014/main" id="{779F9217-311E-48FC-92DD-62337BDEEA8E}"/>
              </a:ext>
            </a:extLst>
          </p:cNvPr>
          <p:cNvCxnSpPr>
            <a:cxnSpLocks/>
          </p:cNvCxnSpPr>
          <p:nvPr/>
        </p:nvCxnSpPr>
        <p:spPr>
          <a:xfrm>
            <a:off x="1777897" y="3034131"/>
            <a:ext cx="255874" cy="770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sp>
        <p:nvSpPr>
          <p:cNvPr id="179" name="Rectangle: Rounded Corners 178">
            <a:extLst>
              <a:ext uri="{FF2B5EF4-FFF2-40B4-BE49-F238E27FC236}">
                <a16:creationId xmlns:a16="http://schemas.microsoft.com/office/drawing/2014/main" id="{1DF2C455-7DD1-4E1C-B69E-AEB55DDB92FF}"/>
              </a:ext>
            </a:extLst>
          </p:cNvPr>
          <p:cNvSpPr/>
          <p:nvPr/>
        </p:nvSpPr>
        <p:spPr>
          <a:xfrm>
            <a:off x="2032083" y="3923063"/>
            <a:ext cx="1059465" cy="778522"/>
          </a:xfrm>
          <a:prstGeom prst="roundRect">
            <a:avLst/>
          </a:prstGeom>
          <a:solidFill>
            <a:srgbClr val="C55A11"/>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Intelligent</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Edge</a:t>
            </a:r>
          </a:p>
        </p:txBody>
      </p:sp>
      <p:sp>
        <p:nvSpPr>
          <p:cNvPr id="180" name="Oval 179">
            <a:extLst>
              <a:ext uri="{FF2B5EF4-FFF2-40B4-BE49-F238E27FC236}">
                <a16:creationId xmlns:a16="http://schemas.microsoft.com/office/drawing/2014/main" id="{F5251FA6-DBF6-4E32-AE86-EC39AB73B28E}"/>
              </a:ext>
            </a:extLst>
          </p:cNvPr>
          <p:cNvSpPr/>
          <p:nvPr/>
        </p:nvSpPr>
        <p:spPr bwMode="auto">
          <a:xfrm>
            <a:off x="1341114" y="1701779"/>
            <a:ext cx="912731" cy="911322"/>
          </a:xfrm>
          <a:prstGeom prst="ellipse">
            <a:avLst/>
          </a:prstGeom>
          <a:solidFill>
            <a:srgbClr val="00B050"/>
          </a:solidFill>
          <a:ln w="12700" cap="flat" cmpd="sng" algn="ctr">
            <a:solidFill>
              <a:sysClr val="window" lastClr="FFFFFF"/>
            </a:solid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IoT Devices</a:t>
            </a:r>
          </a:p>
        </p:txBody>
      </p:sp>
      <p:sp>
        <p:nvSpPr>
          <p:cNvPr id="181" name="Rectangle 180">
            <a:extLst>
              <a:ext uri="{FF2B5EF4-FFF2-40B4-BE49-F238E27FC236}">
                <a16:creationId xmlns:a16="http://schemas.microsoft.com/office/drawing/2014/main" id="{EDF6DFB8-0465-4EF1-BED5-98BF5AB1F272}"/>
              </a:ext>
            </a:extLst>
          </p:cNvPr>
          <p:cNvSpPr/>
          <p:nvPr/>
        </p:nvSpPr>
        <p:spPr>
          <a:xfrm>
            <a:off x="2358600" y="1880661"/>
            <a:ext cx="919556" cy="409460"/>
          </a:xfrm>
          <a:prstGeom prst="rect">
            <a:avLst/>
          </a:prstGeom>
          <a:no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Semibold"/>
              </a:rPr>
              <a:t>Custom</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Semibold"/>
              </a:rPr>
              <a:t> Protocols</a:t>
            </a:r>
          </a:p>
        </p:txBody>
      </p:sp>
      <p:sp>
        <p:nvSpPr>
          <p:cNvPr id="182" name="Rectangle: Rounded Corners 181">
            <a:extLst>
              <a:ext uri="{FF2B5EF4-FFF2-40B4-BE49-F238E27FC236}">
                <a16:creationId xmlns:a16="http://schemas.microsoft.com/office/drawing/2014/main" id="{D3E6D136-2189-4506-B09C-7DD299FEA796}"/>
              </a:ext>
            </a:extLst>
          </p:cNvPr>
          <p:cNvSpPr/>
          <p:nvPr/>
        </p:nvSpPr>
        <p:spPr>
          <a:xfrm>
            <a:off x="3322846" y="1815363"/>
            <a:ext cx="1047894" cy="625768"/>
          </a:xfrm>
          <a:prstGeom prst="roundRect">
            <a:avLst/>
          </a:prstGeom>
          <a:solidFill>
            <a:srgbClr val="00B050"/>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Semibold"/>
              </a:rPr>
              <a:t>Custom</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Semibold"/>
              </a:rPr>
              <a:t>Cloud Gateways</a:t>
            </a:r>
          </a:p>
        </p:txBody>
      </p:sp>
      <p:cxnSp>
        <p:nvCxnSpPr>
          <p:cNvPr id="183" name="Straight Arrow Connector 182">
            <a:extLst>
              <a:ext uri="{FF2B5EF4-FFF2-40B4-BE49-F238E27FC236}">
                <a16:creationId xmlns:a16="http://schemas.microsoft.com/office/drawing/2014/main" id="{3DE76813-95AB-4DF4-A57D-37DEC215A923}"/>
              </a:ext>
            </a:extLst>
          </p:cNvPr>
          <p:cNvCxnSpPr>
            <a:cxnSpLocks/>
          </p:cNvCxnSpPr>
          <p:nvPr/>
        </p:nvCxnSpPr>
        <p:spPr>
          <a:xfrm flipV="1">
            <a:off x="2278664" y="2085392"/>
            <a:ext cx="999493" cy="719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cxnSp>
        <p:nvCxnSpPr>
          <p:cNvPr id="184" name="Straight Arrow Connector 183">
            <a:extLst>
              <a:ext uri="{FF2B5EF4-FFF2-40B4-BE49-F238E27FC236}">
                <a16:creationId xmlns:a16="http://schemas.microsoft.com/office/drawing/2014/main" id="{BEFBE9DD-4556-4C2E-81D4-35C65858B8C5}"/>
              </a:ext>
            </a:extLst>
          </p:cNvPr>
          <p:cNvCxnSpPr>
            <a:cxnSpLocks/>
          </p:cNvCxnSpPr>
          <p:nvPr/>
        </p:nvCxnSpPr>
        <p:spPr>
          <a:xfrm>
            <a:off x="3864802" y="2568176"/>
            <a:ext cx="0" cy="804997"/>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cxnSp>
        <p:nvCxnSpPr>
          <p:cNvPr id="185" name="Straight Arrow Connector 184">
            <a:extLst>
              <a:ext uri="{FF2B5EF4-FFF2-40B4-BE49-F238E27FC236}">
                <a16:creationId xmlns:a16="http://schemas.microsoft.com/office/drawing/2014/main" id="{5600C90A-76A7-4508-8768-81B6F5EE9254}"/>
              </a:ext>
            </a:extLst>
          </p:cNvPr>
          <p:cNvCxnSpPr>
            <a:cxnSpLocks/>
          </p:cNvCxnSpPr>
          <p:nvPr/>
        </p:nvCxnSpPr>
        <p:spPr>
          <a:xfrm>
            <a:off x="1777897" y="3452768"/>
            <a:ext cx="255874" cy="770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cxnSp>
        <p:nvCxnSpPr>
          <p:cNvPr id="186" name="Straight Arrow Connector 185">
            <a:extLst>
              <a:ext uri="{FF2B5EF4-FFF2-40B4-BE49-F238E27FC236}">
                <a16:creationId xmlns:a16="http://schemas.microsoft.com/office/drawing/2014/main" id="{C8A65B6A-CD3A-44B4-81B5-ED6A718403B2}"/>
              </a:ext>
            </a:extLst>
          </p:cNvPr>
          <p:cNvCxnSpPr>
            <a:cxnSpLocks/>
          </p:cNvCxnSpPr>
          <p:nvPr/>
        </p:nvCxnSpPr>
        <p:spPr>
          <a:xfrm flipV="1">
            <a:off x="3099168" y="4263249"/>
            <a:ext cx="211735" cy="69838"/>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sp>
        <p:nvSpPr>
          <p:cNvPr id="187" name="Rectangle: Rounded Corners 186">
            <a:extLst>
              <a:ext uri="{FF2B5EF4-FFF2-40B4-BE49-F238E27FC236}">
                <a16:creationId xmlns:a16="http://schemas.microsoft.com/office/drawing/2014/main" id="{14AC6151-51E9-4930-A3D1-BDF68A392F26}"/>
              </a:ext>
            </a:extLst>
          </p:cNvPr>
          <p:cNvSpPr/>
          <p:nvPr/>
        </p:nvSpPr>
        <p:spPr>
          <a:xfrm>
            <a:off x="858856" y="3923062"/>
            <a:ext cx="912731" cy="353518"/>
          </a:xfrm>
          <a:prstGeom prst="roundRect">
            <a:avLst/>
          </a:prstGeom>
          <a:solidFill>
            <a:srgbClr val="C55A11"/>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Edge Devices</a:t>
            </a:r>
          </a:p>
        </p:txBody>
      </p:sp>
      <p:sp>
        <p:nvSpPr>
          <p:cNvPr id="188" name="Rectangle: Rounded Corners 187">
            <a:extLst>
              <a:ext uri="{FF2B5EF4-FFF2-40B4-BE49-F238E27FC236}">
                <a16:creationId xmlns:a16="http://schemas.microsoft.com/office/drawing/2014/main" id="{3D0B110B-CA35-4FBB-8EFD-EB65144B58D7}"/>
              </a:ext>
            </a:extLst>
          </p:cNvPr>
          <p:cNvSpPr/>
          <p:nvPr/>
        </p:nvSpPr>
        <p:spPr>
          <a:xfrm>
            <a:off x="858856" y="4348067"/>
            <a:ext cx="920252" cy="353518"/>
          </a:xfrm>
          <a:prstGeom prst="roundRect">
            <a:avLst/>
          </a:prstGeom>
          <a:solidFill>
            <a:srgbClr val="C55A11"/>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Edge Devices</a:t>
            </a:r>
          </a:p>
        </p:txBody>
      </p:sp>
      <p:cxnSp>
        <p:nvCxnSpPr>
          <p:cNvPr id="189" name="Straight Arrow Connector 188">
            <a:extLst>
              <a:ext uri="{FF2B5EF4-FFF2-40B4-BE49-F238E27FC236}">
                <a16:creationId xmlns:a16="http://schemas.microsoft.com/office/drawing/2014/main" id="{998B98AA-9E52-42C4-A78A-AB6DE9301547}"/>
              </a:ext>
            </a:extLst>
          </p:cNvPr>
          <p:cNvCxnSpPr>
            <a:cxnSpLocks/>
          </p:cNvCxnSpPr>
          <p:nvPr/>
        </p:nvCxnSpPr>
        <p:spPr>
          <a:xfrm>
            <a:off x="1764064" y="4115316"/>
            <a:ext cx="255874" cy="770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cxnSp>
        <p:nvCxnSpPr>
          <p:cNvPr id="190" name="Straight Arrow Connector 189">
            <a:extLst>
              <a:ext uri="{FF2B5EF4-FFF2-40B4-BE49-F238E27FC236}">
                <a16:creationId xmlns:a16="http://schemas.microsoft.com/office/drawing/2014/main" id="{4105D59F-443F-4871-9E51-8C192A495138}"/>
              </a:ext>
            </a:extLst>
          </p:cNvPr>
          <p:cNvCxnSpPr>
            <a:cxnSpLocks/>
          </p:cNvCxnSpPr>
          <p:nvPr/>
        </p:nvCxnSpPr>
        <p:spPr>
          <a:xfrm>
            <a:off x="1764064" y="4514903"/>
            <a:ext cx="255874" cy="770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grpSp>
        <p:nvGrpSpPr>
          <p:cNvPr id="48" name="Group 47">
            <a:extLst>
              <a:ext uri="{FF2B5EF4-FFF2-40B4-BE49-F238E27FC236}">
                <a16:creationId xmlns:a16="http://schemas.microsoft.com/office/drawing/2014/main" id="{54976302-9393-4E95-9588-336F1F3EF87F}"/>
              </a:ext>
            </a:extLst>
          </p:cNvPr>
          <p:cNvGrpSpPr/>
          <p:nvPr/>
        </p:nvGrpSpPr>
        <p:grpSpPr>
          <a:xfrm>
            <a:off x="2048376" y="6295602"/>
            <a:ext cx="450060" cy="575298"/>
            <a:chOff x="3041653" y="4644257"/>
            <a:chExt cx="1318030" cy="1684798"/>
          </a:xfrm>
        </p:grpSpPr>
        <p:sp>
          <p:nvSpPr>
            <p:cNvPr id="49" name="Oval 48">
              <a:extLst>
                <a:ext uri="{FF2B5EF4-FFF2-40B4-BE49-F238E27FC236}">
                  <a16:creationId xmlns:a16="http://schemas.microsoft.com/office/drawing/2014/main" id="{3EB3031F-BE29-4559-BBCA-F743449C485C}"/>
                </a:ext>
              </a:extLst>
            </p:cNvPr>
            <p:cNvSpPr/>
            <p:nvPr/>
          </p:nvSpPr>
          <p:spPr bwMode="auto">
            <a:xfrm>
              <a:off x="3070081" y="4644257"/>
              <a:ext cx="1261176" cy="1261176"/>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799" b="0" i="0" u="none" strike="noStrike" kern="1200" cap="none" spc="0" normalizeH="0" baseline="0" noProof="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sym typeface="Segoe UI Semibold"/>
              </a:endParaRPr>
            </a:p>
          </p:txBody>
        </p:sp>
        <p:grpSp>
          <p:nvGrpSpPr>
            <p:cNvPr id="50" name="Group 49">
              <a:extLst>
                <a:ext uri="{FF2B5EF4-FFF2-40B4-BE49-F238E27FC236}">
                  <a16:creationId xmlns:a16="http://schemas.microsoft.com/office/drawing/2014/main" id="{0A6CD212-49A9-42EE-B662-54A0576FFBE4}"/>
                </a:ext>
              </a:extLst>
            </p:cNvPr>
            <p:cNvGrpSpPr/>
            <p:nvPr/>
          </p:nvGrpSpPr>
          <p:grpSpPr>
            <a:xfrm rot="-2700000">
              <a:off x="3041653" y="5011025"/>
              <a:ext cx="1318030" cy="1318030"/>
              <a:chOff x="2059298" y="4518808"/>
              <a:chExt cx="914400" cy="914400"/>
            </a:xfrm>
          </p:grpSpPr>
          <p:sp>
            <p:nvSpPr>
              <p:cNvPr id="52" name="Arc 51">
                <a:extLst>
                  <a:ext uri="{FF2B5EF4-FFF2-40B4-BE49-F238E27FC236}">
                    <a16:creationId xmlns:a16="http://schemas.microsoft.com/office/drawing/2014/main" id="{34B27B67-8AC6-4E17-83B0-739D1F0C6BCB}"/>
                  </a:ext>
                </a:extLst>
              </p:cNvPr>
              <p:cNvSpPr/>
              <p:nvPr/>
            </p:nvSpPr>
            <p:spPr>
              <a:xfrm>
                <a:off x="2059298" y="4518808"/>
                <a:ext cx="914400" cy="914400"/>
              </a:xfrm>
              <a:prstGeom prst="arc">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sp>
            <p:nvSpPr>
              <p:cNvPr id="53" name="Arc 52">
                <a:extLst>
                  <a:ext uri="{FF2B5EF4-FFF2-40B4-BE49-F238E27FC236}">
                    <a16:creationId xmlns:a16="http://schemas.microsoft.com/office/drawing/2014/main" id="{E77DF2BB-F73B-4979-901E-85998440080D}"/>
                  </a:ext>
                </a:extLst>
              </p:cNvPr>
              <p:cNvSpPr/>
              <p:nvPr/>
            </p:nvSpPr>
            <p:spPr>
              <a:xfrm>
                <a:off x="2289175" y="4744664"/>
                <a:ext cx="457200" cy="457200"/>
              </a:xfrm>
              <a:prstGeom prst="arc">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sp>
            <p:nvSpPr>
              <p:cNvPr id="55" name="Arc 54">
                <a:extLst>
                  <a:ext uri="{FF2B5EF4-FFF2-40B4-BE49-F238E27FC236}">
                    <a16:creationId xmlns:a16="http://schemas.microsoft.com/office/drawing/2014/main" id="{F43D5C87-CC58-4ABF-8C8D-8BEB80CBBF15}"/>
                  </a:ext>
                </a:extLst>
              </p:cNvPr>
              <p:cNvSpPr/>
              <p:nvPr/>
            </p:nvSpPr>
            <p:spPr>
              <a:xfrm>
                <a:off x="2173598" y="4630364"/>
                <a:ext cx="685800" cy="685800"/>
              </a:xfrm>
              <a:prstGeom prst="arc">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sp>
            <p:nvSpPr>
              <p:cNvPr id="56" name="Oval 55">
                <a:extLst>
                  <a:ext uri="{FF2B5EF4-FFF2-40B4-BE49-F238E27FC236}">
                    <a16:creationId xmlns:a16="http://schemas.microsoft.com/office/drawing/2014/main" id="{CBBCE90B-5E18-4B7C-891A-22DEAE698C67}"/>
                  </a:ext>
                </a:extLst>
              </p:cNvPr>
              <p:cNvSpPr/>
              <p:nvPr/>
            </p:nvSpPr>
            <p:spPr bwMode="auto">
              <a:xfrm>
                <a:off x="2516498" y="4860758"/>
                <a:ext cx="111450" cy="111450"/>
              </a:xfrm>
              <a:prstGeom prst="ellipse">
                <a:avLst/>
              </a:prstGeom>
              <a:noFill/>
              <a:ln w="127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sym typeface="Segoe UI Semibold"/>
                </a:endParaRPr>
              </a:p>
            </p:txBody>
          </p:sp>
        </p:grpSp>
      </p:grpSp>
      <p:grpSp>
        <p:nvGrpSpPr>
          <p:cNvPr id="72" name="Group 71">
            <a:extLst>
              <a:ext uri="{FF2B5EF4-FFF2-40B4-BE49-F238E27FC236}">
                <a16:creationId xmlns:a16="http://schemas.microsoft.com/office/drawing/2014/main" id="{25AE6069-ED00-48AC-9186-24BE898CA388}"/>
              </a:ext>
            </a:extLst>
          </p:cNvPr>
          <p:cNvGrpSpPr/>
          <p:nvPr/>
        </p:nvGrpSpPr>
        <p:grpSpPr>
          <a:xfrm>
            <a:off x="-1" y="822420"/>
            <a:ext cx="12105100" cy="807872"/>
            <a:chOff x="76016" y="1047480"/>
            <a:chExt cx="12105100" cy="807872"/>
          </a:xfrm>
        </p:grpSpPr>
        <p:sp>
          <p:nvSpPr>
            <p:cNvPr id="73" name="Arrow: Pentagon 72">
              <a:extLst>
                <a:ext uri="{FF2B5EF4-FFF2-40B4-BE49-F238E27FC236}">
                  <a16:creationId xmlns:a16="http://schemas.microsoft.com/office/drawing/2014/main" id="{2865CE50-2A38-441D-8504-C410B5FF10E0}"/>
                </a:ext>
              </a:extLst>
            </p:cNvPr>
            <p:cNvSpPr/>
            <p:nvPr/>
          </p:nvSpPr>
          <p:spPr bwMode="auto">
            <a:xfrm>
              <a:off x="8100147" y="1047480"/>
              <a:ext cx="4080969" cy="783368"/>
            </a:xfrm>
            <a:prstGeom prst="homePlat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74" name="Arrow: Pentagon 73">
              <a:extLst>
                <a:ext uri="{FF2B5EF4-FFF2-40B4-BE49-F238E27FC236}">
                  <a16:creationId xmlns:a16="http://schemas.microsoft.com/office/drawing/2014/main" id="{D6FC6615-19CA-4FF1-BA5F-D8CFD1370D48}"/>
                </a:ext>
              </a:extLst>
            </p:cNvPr>
            <p:cNvSpPr/>
            <p:nvPr/>
          </p:nvSpPr>
          <p:spPr bwMode="auto">
            <a:xfrm>
              <a:off x="3426501" y="1048827"/>
              <a:ext cx="5397770" cy="784006"/>
            </a:xfrm>
            <a:prstGeom prst="homePlat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75" name="Arrow: Pentagon 74">
              <a:extLst>
                <a:ext uri="{FF2B5EF4-FFF2-40B4-BE49-F238E27FC236}">
                  <a16:creationId xmlns:a16="http://schemas.microsoft.com/office/drawing/2014/main" id="{F93504EA-424B-4BBE-99AF-5235454E213F}"/>
                </a:ext>
              </a:extLst>
            </p:cNvPr>
            <p:cNvSpPr/>
            <p:nvPr/>
          </p:nvSpPr>
          <p:spPr bwMode="auto">
            <a:xfrm>
              <a:off x="76016" y="1048623"/>
              <a:ext cx="4238626" cy="806729"/>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grpSp>
          <p:nvGrpSpPr>
            <p:cNvPr id="76" name="Group 75">
              <a:extLst>
                <a:ext uri="{FF2B5EF4-FFF2-40B4-BE49-F238E27FC236}">
                  <a16:creationId xmlns:a16="http://schemas.microsoft.com/office/drawing/2014/main" id="{E10FB461-7A72-478C-8A67-37B986594CA8}"/>
                </a:ext>
              </a:extLst>
            </p:cNvPr>
            <p:cNvGrpSpPr/>
            <p:nvPr/>
          </p:nvGrpSpPr>
          <p:grpSpPr>
            <a:xfrm>
              <a:off x="8673895" y="1100729"/>
              <a:ext cx="3320220" cy="636925"/>
              <a:chOff x="7922517" y="4588193"/>
              <a:chExt cx="2892514" cy="636925"/>
            </a:xfrm>
          </p:grpSpPr>
          <p:sp>
            <p:nvSpPr>
              <p:cNvPr id="83" name="TextBox 82">
                <a:extLst>
                  <a:ext uri="{FF2B5EF4-FFF2-40B4-BE49-F238E27FC236}">
                    <a16:creationId xmlns:a16="http://schemas.microsoft.com/office/drawing/2014/main" id="{3715C2B9-7EAB-4825-9EE6-C52508891F91}"/>
                  </a:ext>
                </a:extLst>
              </p:cNvPr>
              <p:cNvSpPr txBox="1"/>
              <p:nvPr/>
            </p:nvSpPr>
            <p:spPr>
              <a:xfrm>
                <a:off x="8053522" y="4837704"/>
                <a:ext cx="2576970" cy="38741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Optimize operations, increase profitability, &amp; create more compelling business models</a:t>
                </a:r>
              </a:p>
            </p:txBody>
          </p:sp>
          <p:sp>
            <p:nvSpPr>
              <p:cNvPr id="84" name="TextBox 83">
                <a:extLst>
                  <a:ext uri="{FF2B5EF4-FFF2-40B4-BE49-F238E27FC236}">
                    <a16:creationId xmlns:a16="http://schemas.microsoft.com/office/drawing/2014/main" id="{D5F73CF9-57CA-4E7A-BED5-88D7342528BD}"/>
                  </a:ext>
                </a:extLst>
              </p:cNvPr>
              <p:cNvSpPr txBox="1"/>
              <p:nvPr/>
            </p:nvSpPr>
            <p:spPr>
              <a:xfrm>
                <a:off x="7922517" y="4588193"/>
                <a:ext cx="2892514" cy="207942"/>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Semibold"/>
                  </a:rPr>
                  <a:t>ACTION</a:t>
                </a:r>
              </a:p>
            </p:txBody>
          </p:sp>
        </p:grpSp>
        <p:grpSp>
          <p:nvGrpSpPr>
            <p:cNvPr id="77" name="Group 76">
              <a:extLst>
                <a:ext uri="{FF2B5EF4-FFF2-40B4-BE49-F238E27FC236}">
                  <a16:creationId xmlns:a16="http://schemas.microsoft.com/office/drawing/2014/main" id="{C33705B7-DF92-41FF-A330-F111A0FFADFA}"/>
                </a:ext>
              </a:extLst>
            </p:cNvPr>
            <p:cNvGrpSpPr/>
            <p:nvPr/>
          </p:nvGrpSpPr>
          <p:grpSpPr>
            <a:xfrm>
              <a:off x="4649873" y="1081971"/>
              <a:ext cx="4027136" cy="395307"/>
              <a:chOff x="2577680" y="4574804"/>
              <a:chExt cx="2770188" cy="339211"/>
            </a:xfrm>
          </p:grpSpPr>
          <p:sp>
            <p:nvSpPr>
              <p:cNvPr id="81" name="TextBox 80">
                <a:extLst>
                  <a:ext uri="{FF2B5EF4-FFF2-40B4-BE49-F238E27FC236}">
                    <a16:creationId xmlns:a16="http://schemas.microsoft.com/office/drawing/2014/main" id="{6D4C57D8-31CE-4B69-92E5-D0F94D8C1C49}"/>
                  </a:ext>
                </a:extLst>
              </p:cNvPr>
              <p:cNvSpPr txBox="1"/>
              <p:nvPr/>
            </p:nvSpPr>
            <p:spPr>
              <a:xfrm>
                <a:off x="2577680" y="4755884"/>
                <a:ext cx="2770188" cy="158131"/>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Identify patterns in data, automate rules &amp; alerts </a:t>
                </a:r>
              </a:p>
            </p:txBody>
          </p:sp>
          <p:sp>
            <p:nvSpPr>
              <p:cNvPr id="82" name="TextBox 81">
                <a:extLst>
                  <a:ext uri="{FF2B5EF4-FFF2-40B4-BE49-F238E27FC236}">
                    <a16:creationId xmlns:a16="http://schemas.microsoft.com/office/drawing/2014/main" id="{918E581E-332F-41A0-B456-F0E5D2528C8D}"/>
                  </a:ext>
                </a:extLst>
              </p:cNvPr>
              <p:cNvSpPr txBox="1"/>
              <p:nvPr/>
            </p:nvSpPr>
            <p:spPr>
              <a:xfrm>
                <a:off x="3398995" y="4574804"/>
                <a:ext cx="612857" cy="178434"/>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INSIGHTS</a:t>
                </a:r>
              </a:p>
            </p:txBody>
          </p:sp>
        </p:grpSp>
        <p:grpSp>
          <p:nvGrpSpPr>
            <p:cNvPr id="78" name="Group 77">
              <a:extLst>
                <a:ext uri="{FF2B5EF4-FFF2-40B4-BE49-F238E27FC236}">
                  <a16:creationId xmlns:a16="http://schemas.microsoft.com/office/drawing/2014/main" id="{F836CF8E-2933-44C6-A364-C00C8DF56894}"/>
                </a:ext>
              </a:extLst>
            </p:cNvPr>
            <p:cNvGrpSpPr/>
            <p:nvPr/>
          </p:nvGrpSpPr>
          <p:grpSpPr>
            <a:xfrm>
              <a:off x="181188" y="1102030"/>
              <a:ext cx="3540081" cy="646116"/>
              <a:chOff x="2333581" y="4589739"/>
              <a:chExt cx="2589205" cy="657187"/>
            </a:xfrm>
          </p:grpSpPr>
          <p:sp>
            <p:nvSpPr>
              <p:cNvPr id="79" name="TextBox 78">
                <a:extLst>
                  <a:ext uri="{FF2B5EF4-FFF2-40B4-BE49-F238E27FC236}">
                    <a16:creationId xmlns:a16="http://schemas.microsoft.com/office/drawing/2014/main" id="{8C74BD7F-0BDB-4FF9-AF14-745B24CF4E2C}"/>
                  </a:ext>
                </a:extLst>
              </p:cNvPr>
              <p:cNvSpPr txBox="1"/>
              <p:nvPr/>
            </p:nvSpPr>
            <p:spPr>
              <a:xfrm>
                <a:off x="2748028" y="4852874"/>
                <a:ext cx="1764975" cy="394052"/>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Gain real time insights and improve business processes</a:t>
                </a:r>
              </a:p>
            </p:txBody>
          </p:sp>
          <p:sp>
            <p:nvSpPr>
              <p:cNvPr id="80" name="TextBox 79">
                <a:extLst>
                  <a:ext uri="{FF2B5EF4-FFF2-40B4-BE49-F238E27FC236}">
                    <a16:creationId xmlns:a16="http://schemas.microsoft.com/office/drawing/2014/main" id="{F450AFE0-F6CD-4BDE-ACCE-55A67F3F5464}"/>
                  </a:ext>
                </a:extLst>
              </p:cNvPr>
              <p:cNvSpPr txBox="1"/>
              <p:nvPr/>
            </p:nvSpPr>
            <p:spPr>
              <a:xfrm>
                <a:off x="2333581" y="4589739"/>
                <a:ext cx="2589205" cy="211505"/>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Semibold"/>
                  </a:rPr>
                  <a:t>THINGS</a:t>
                </a:r>
              </a:p>
            </p:txBody>
          </p:sp>
        </p:grpSp>
      </p:grpSp>
    </p:spTree>
    <p:extLst>
      <p:ext uri="{BB962C8B-B14F-4D97-AF65-F5344CB8AC3E}">
        <p14:creationId xmlns:p14="http://schemas.microsoft.com/office/powerpoint/2010/main" val="54209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8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9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3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4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4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4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45"/>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4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5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5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5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6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6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6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6"/>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14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47"/>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4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54"/>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56"/>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6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6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p:bldP spid="139" grpId="0" animBg="1"/>
      <p:bldP spid="140" grpId="0" animBg="1"/>
      <p:bldP spid="141" grpId="0" animBg="1"/>
      <p:bldP spid="142" grpId="0" animBg="1"/>
      <p:bldP spid="153" grpId="0"/>
      <p:bldP spid="154" grpId="0"/>
      <p:bldP spid="155" grpId="0"/>
      <p:bldP spid="156" grpId="0"/>
      <p:bldP spid="158" grpId="0"/>
      <p:bldP spid="160" grpId="0" animBg="1"/>
      <p:bldP spid="161" grpId="0"/>
      <p:bldP spid="162" grpId="0" animBg="1"/>
      <p:bldP spid="163" grpId="0" animBg="1"/>
      <p:bldP spid="164" grpId="0" animBg="1"/>
      <p:bldP spid="165" grpId="0" animBg="1"/>
      <p:bldP spid="174" grpId="0" animBg="1"/>
      <p:bldP spid="175" grpId="0" animBg="1"/>
      <p:bldP spid="176" grpId="0" animBg="1"/>
      <p:bldP spid="179" grpId="0" animBg="1"/>
      <p:bldP spid="180" grpId="0" animBg="1"/>
      <p:bldP spid="181" grpId="0"/>
      <p:bldP spid="182" grpId="0" animBg="1"/>
      <p:bldP spid="187" grpId="0" animBg="1"/>
      <p:bldP spid="18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Table 9">
            <a:extLst>
              <a:ext uri="{FF2B5EF4-FFF2-40B4-BE49-F238E27FC236}">
                <a16:creationId xmlns:a16="http://schemas.microsoft.com/office/drawing/2014/main" id="{3D060D57-26E7-440C-88B9-1DD2150036EB}"/>
              </a:ext>
            </a:extLst>
          </p:cNvPr>
          <p:cNvGraphicFramePr>
            <a:graphicFrameLocks noGrp="1"/>
          </p:cNvGraphicFramePr>
          <p:nvPr/>
        </p:nvGraphicFramePr>
        <p:xfrm>
          <a:off x="220238" y="924368"/>
          <a:ext cx="11802764" cy="2852522"/>
        </p:xfrm>
        <a:graphic>
          <a:graphicData uri="http://schemas.openxmlformats.org/drawingml/2006/table">
            <a:tbl>
              <a:tblPr firstRow="1" bandRow="1">
                <a:tableStyleId>{2D5ABB26-0587-4C30-8999-92F81FD0307C}</a:tableStyleId>
              </a:tblPr>
              <a:tblGrid>
                <a:gridCol w="2751562">
                  <a:extLst>
                    <a:ext uri="{9D8B030D-6E8A-4147-A177-3AD203B41FA5}">
                      <a16:colId xmlns:a16="http://schemas.microsoft.com/office/drawing/2014/main" val="2577026644"/>
                    </a:ext>
                  </a:extLst>
                </a:gridCol>
                <a:gridCol w="3149820">
                  <a:extLst>
                    <a:ext uri="{9D8B030D-6E8A-4147-A177-3AD203B41FA5}">
                      <a16:colId xmlns:a16="http://schemas.microsoft.com/office/drawing/2014/main" val="1557014971"/>
                    </a:ext>
                  </a:extLst>
                </a:gridCol>
                <a:gridCol w="2950691">
                  <a:extLst>
                    <a:ext uri="{9D8B030D-6E8A-4147-A177-3AD203B41FA5}">
                      <a16:colId xmlns:a16="http://schemas.microsoft.com/office/drawing/2014/main" val="2178097593"/>
                    </a:ext>
                  </a:extLst>
                </a:gridCol>
                <a:gridCol w="2950691">
                  <a:extLst>
                    <a:ext uri="{9D8B030D-6E8A-4147-A177-3AD203B41FA5}">
                      <a16:colId xmlns:a16="http://schemas.microsoft.com/office/drawing/2014/main" val="2760844868"/>
                    </a:ext>
                  </a:extLst>
                </a:gridCol>
              </a:tblGrid>
              <a:tr h="438547">
                <a:tc>
                  <a:txBody>
                    <a:bodyPr/>
                    <a:lstStyle/>
                    <a:p>
                      <a:pPr algn="ctr"/>
                      <a:r>
                        <a:rPr lang="en-US" sz="1800" kern="1200" dirty="0">
                          <a:solidFill>
                            <a:srgbClr val="FFFFFF"/>
                          </a:solidFill>
                          <a:effectLst/>
                        </a:rPr>
                        <a:t>Hands on Learning </a:t>
                      </a:r>
                      <a:endParaRPr lang="en-US" dirty="0"/>
                    </a:p>
                  </a:txBody>
                  <a:tcPr/>
                </a:tc>
                <a:tc>
                  <a:txBody>
                    <a:bodyPr/>
                    <a:lstStyle/>
                    <a:p>
                      <a:pPr algn="ctr"/>
                      <a:r>
                        <a:rPr lang="en-US" sz="1800" dirty="0">
                          <a:solidFill>
                            <a:schemeClr val="tx1"/>
                          </a:solidFill>
                        </a:rPr>
                        <a:t>Watch</a:t>
                      </a:r>
                      <a:endParaRPr lang="en-US" dirty="0">
                        <a:solidFill>
                          <a:schemeClr val="tx1"/>
                        </a:solidFill>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dirty="0">
                          <a:solidFill>
                            <a:prstClr val="white"/>
                          </a:solidFill>
                        </a:rPr>
                        <a:t>Discover and Discuss</a:t>
                      </a:r>
                      <a:endParaRPr lang="en-US" dirty="0">
                        <a:solidFill>
                          <a:prstClr val="white"/>
                        </a:solidFill>
                        <a:latin typeface="Segoe UI Semibold"/>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dirty="0">
                          <a:solidFill>
                            <a:prstClr val="white"/>
                          </a:solidFill>
                        </a:rPr>
                        <a:t>Get Started Building</a:t>
                      </a:r>
                      <a:endParaRPr lang="en-US" dirty="0">
                        <a:solidFill>
                          <a:prstClr val="white"/>
                        </a:solidFill>
                        <a:latin typeface="Segoe UI Semibold"/>
                      </a:endParaRPr>
                    </a:p>
                  </a:txBody>
                  <a:tcPr/>
                </a:tc>
                <a:extLst>
                  <a:ext uri="{0D108BD9-81ED-4DB2-BD59-A6C34878D82A}">
                    <a16:rowId xmlns:a16="http://schemas.microsoft.com/office/drawing/2014/main" val="4130269991"/>
                  </a:ext>
                </a:extLst>
              </a:tr>
              <a:tr h="617429">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Microsoft Learn</a:t>
                      </a:r>
                      <a:endParaRPr lang="en-US" sz="2000" dirty="0">
                        <a:solidFill>
                          <a:srgbClr val="00B0F0"/>
                        </a:solidFill>
                        <a:latin typeface="Segoe UI Semibold"/>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Microsoft IoT Developers Channel </a:t>
                      </a:r>
                      <a:endParaRPr lang="en-US" sz="2000" dirty="0">
                        <a:solidFill>
                          <a:srgbClr val="00B0F0"/>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IoT Tech Community</a:t>
                      </a:r>
                      <a:endParaRPr lang="en-US" sz="2000" dirty="0">
                        <a:solidFill>
                          <a:srgbClr val="00B0F0"/>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Azure IoT Docs</a:t>
                      </a:r>
                      <a:endParaRPr lang="en-US" sz="2000" dirty="0">
                        <a:solidFill>
                          <a:srgbClr val="00B0F0"/>
                        </a:solidFill>
                        <a:latin typeface="Segoe UI"/>
                      </a:endParaRPr>
                    </a:p>
                  </a:txBody>
                  <a:tcPr/>
                </a:tc>
                <a:extLst>
                  <a:ext uri="{0D108BD9-81ED-4DB2-BD59-A6C34878D82A}">
                    <a16:rowId xmlns:a16="http://schemas.microsoft.com/office/drawing/2014/main" val="3612168474"/>
                  </a:ext>
                </a:extLst>
              </a:tr>
              <a:tr h="438547">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u="sng" dirty="0">
                          <a:solidFill>
                            <a:srgbClr val="7EB0EB"/>
                          </a:solidFill>
                          <a:hlinkClick r:id="rId3">
                            <a:extLst>
                              <a:ext uri="{A12FA001-AC4F-418D-AE19-62706E023703}">
                                <ahyp:hlinkClr xmlns:ahyp="http://schemas.microsoft.com/office/drawing/2018/hyperlinkcolor" val="tx"/>
                              </a:ext>
                            </a:extLst>
                          </a:hlinkClick>
                        </a:rPr>
                        <a:t>https://aka.ms/mslearniot</a:t>
                      </a:r>
                      <a:endParaRPr lang="en-US" sz="1400" u="sng" dirty="0">
                        <a:solidFill>
                          <a:srgbClr val="7EB0EB"/>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u="sng" dirty="0">
                          <a:solidFill>
                            <a:srgbClr val="7EB0EB"/>
                          </a:solidFill>
                          <a:hlinkClick r:id="rId4">
                            <a:extLst>
                              <a:ext uri="{A12FA001-AC4F-418D-AE19-62706E023703}">
                                <ahyp:hlinkClr xmlns:ahyp="http://schemas.microsoft.com/office/drawing/2018/hyperlinkcolor" val="tx"/>
                              </a:ext>
                            </a:extLst>
                          </a:hlinkClick>
                        </a:rPr>
                        <a:t>https://aka.ms/msiotdevs</a:t>
                      </a:r>
                      <a:endParaRPr lang="en-US" sz="1400" u="sng" dirty="0">
                        <a:solidFill>
                          <a:srgbClr val="7EB0EB"/>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u="sng" dirty="0">
                          <a:solidFill>
                            <a:srgbClr val="7EB0EB"/>
                          </a:solidFill>
                          <a:hlinkClick r:id="rId5">
                            <a:extLst>
                              <a:ext uri="{A12FA001-AC4F-418D-AE19-62706E023703}">
                                <ahyp:hlinkClr xmlns:ahyp="http://schemas.microsoft.com/office/drawing/2018/hyperlinkcolor" val="tx"/>
                              </a:ext>
                            </a:extLst>
                          </a:hlinkClick>
                        </a:rPr>
                        <a:t>https://aka.ms/iottechcommunity</a:t>
                      </a:r>
                      <a:endParaRPr lang="en-US" sz="1400" u="sng" dirty="0">
                        <a:solidFill>
                          <a:srgbClr val="7EB0EB"/>
                        </a:solidFill>
                        <a:latin typeface="Segoe UI"/>
                      </a:endParaRPr>
                    </a:p>
                  </a:txBody>
                  <a:tcPr/>
                </a:tc>
                <a:tc>
                  <a:txBody>
                    <a:bodyPr/>
                    <a:lstStyle/>
                    <a:p>
                      <a:pPr algn="ctr"/>
                      <a:r>
                        <a:rPr lang="en-US" sz="1400" u="sng" dirty="0">
                          <a:solidFill>
                            <a:srgbClr val="7EB0EB"/>
                          </a:solidFill>
                          <a:hlinkClick r:id="rId6">
                            <a:extLst>
                              <a:ext uri="{A12FA001-AC4F-418D-AE19-62706E023703}">
                                <ahyp:hlinkClr xmlns:ahyp="http://schemas.microsoft.com/office/drawing/2018/hyperlinkcolor" val="tx"/>
                              </a:ext>
                            </a:extLst>
                          </a:hlinkClick>
                        </a:rPr>
                        <a:t>https://docs.microsoft.com/en-us/azure/iot-fundamentals/</a:t>
                      </a:r>
                      <a:endParaRPr lang="en-US" sz="1400" u="sng" dirty="0">
                        <a:solidFill>
                          <a:srgbClr val="7EB0EB"/>
                        </a:solidFill>
                      </a:endParaRPr>
                    </a:p>
                  </a:txBody>
                  <a:tcPr/>
                </a:tc>
                <a:extLst>
                  <a:ext uri="{0D108BD9-81ED-4DB2-BD59-A6C34878D82A}">
                    <a16:rowId xmlns:a16="http://schemas.microsoft.com/office/drawing/2014/main" val="1706665077"/>
                  </a:ext>
                </a:extLst>
              </a:tr>
              <a:tr h="11947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mn-lt"/>
                          <a:ea typeface="+mn-ea"/>
                          <a:cs typeface="+mn-cs"/>
                        </a:rPr>
                        <a:t>MS Learn is the go-to site for self-paced, step-by-step learning. We offer </a:t>
                      </a:r>
                      <a:r>
                        <a:rPr kumimoji="0" lang="en-US" sz="1200" b="1" i="0" u="none" strike="noStrike" kern="1200" cap="none" spc="0" normalizeH="0" baseline="0" noProof="0" dirty="0">
                          <a:ln>
                            <a:noFill/>
                          </a:ln>
                          <a:gradFill>
                            <a:gsLst>
                              <a:gs pos="2917">
                                <a:srgbClr val="FFFFFF"/>
                              </a:gs>
                              <a:gs pos="30000">
                                <a:srgbClr val="FFFFFF"/>
                              </a:gs>
                            </a:gsLst>
                            <a:lin ang="5400000" scaled="0"/>
                          </a:gradFill>
                          <a:effectLst/>
                          <a:uLnTx/>
                          <a:uFillTx/>
                          <a:latin typeface="+mn-lt"/>
                          <a:ea typeface="+mn-ea"/>
                          <a:cs typeface="+mn-cs"/>
                        </a:rPr>
                        <a:t>over 40+ individual learn modules</a:t>
                      </a:r>
                      <a:r>
                        <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mn-lt"/>
                          <a:ea typeface="+mn-ea"/>
                          <a:cs typeface="+mn-cs"/>
                        </a:rPr>
                        <a:t> covering products such as Azure IoT Hub, IoT Edge, Digital Twins, and more. </a:t>
                      </a:r>
                      <a:endParaRPr lang="en-US" sz="1200" dirty="0">
                        <a:solidFill>
                          <a:schemeClr val="tx1"/>
                        </a:solidFill>
                        <a:latin typeface="+mn-lt"/>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200" dirty="0">
                          <a:solidFill>
                            <a:schemeClr val="tx1"/>
                          </a:solidFill>
                        </a:rPr>
                        <a:t>Watch and learn about our products! View Deep Dives for deep technical learning.</a:t>
                      </a:r>
                      <a:endParaRPr lang="en-US" sz="1200" i="1" dirty="0">
                        <a:solidFill>
                          <a:schemeClr val="tx1"/>
                        </a:solidFill>
                        <a:latin typeface="+mn-lt"/>
                        <a:cs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200" dirty="0">
                          <a:solidFill>
                            <a:schemeClr val="tx1"/>
                          </a:solidFill>
                        </a:rPr>
                        <a:t>Check out the blog to  find technical posts describing and walking through latest IoT products services and features as well as news and announcements.</a:t>
                      </a:r>
                      <a:endParaRPr lang="en-US" sz="1200" i="1" dirty="0">
                        <a:solidFill>
                          <a:schemeClr val="tx1"/>
                        </a:solidFill>
                        <a:latin typeface="+mn-lt"/>
                        <a:cs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200" dirty="0">
                          <a:solidFill>
                            <a:schemeClr val="tx1"/>
                          </a:solidFill>
                        </a:rPr>
                        <a:t>Check out the quick starts, how-to guides, and tutorials on Azure IoT Docs to learn how to build your IoT solutions.</a:t>
                      </a:r>
                    </a:p>
                    <a:p>
                      <a:pPr algn="ctr"/>
                      <a:endParaRPr lang="en-US" sz="1200" dirty="0">
                        <a:solidFill>
                          <a:schemeClr val="tx1"/>
                        </a:solidFill>
                        <a:latin typeface="+mn-lt"/>
                      </a:endParaRPr>
                    </a:p>
                  </a:txBody>
                  <a:tcPr/>
                </a:tc>
                <a:extLst>
                  <a:ext uri="{0D108BD9-81ED-4DB2-BD59-A6C34878D82A}">
                    <a16:rowId xmlns:a16="http://schemas.microsoft.com/office/drawing/2014/main" val="2656155932"/>
                  </a:ext>
                </a:extLst>
              </a:tr>
            </a:tbl>
          </a:graphicData>
        </a:graphic>
      </p:graphicFrame>
      <p:sp>
        <p:nvSpPr>
          <p:cNvPr id="6" name="Rectangle 5">
            <a:extLst>
              <a:ext uri="{FF2B5EF4-FFF2-40B4-BE49-F238E27FC236}">
                <a16:creationId xmlns:a16="http://schemas.microsoft.com/office/drawing/2014/main" id="{7B185810-390E-474A-8042-E86A3D132417}"/>
              </a:ext>
            </a:extLst>
          </p:cNvPr>
          <p:cNvSpPr/>
          <p:nvPr/>
        </p:nvSpPr>
        <p:spPr>
          <a:xfrm>
            <a:off x="3012248" y="897020"/>
            <a:ext cx="3074823" cy="5563458"/>
          </a:xfrm>
          <a:prstGeom prst="rect">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3">
            <a:extLst>
              <a:ext uri="{FF2B5EF4-FFF2-40B4-BE49-F238E27FC236}">
                <a16:creationId xmlns:a16="http://schemas.microsoft.com/office/drawing/2014/main" id="{DFEA0320-94CD-4EEC-91B3-DE5DE59F24C9}"/>
              </a:ext>
            </a:extLst>
          </p:cNvPr>
          <p:cNvSpPr txBox="1">
            <a:spLocks/>
          </p:cNvSpPr>
          <p:nvPr/>
        </p:nvSpPr>
        <p:spPr>
          <a:xfrm>
            <a:off x="257297" y="195793"/>
            <a:ext cx="11541280" cy="74086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prstClr val="white"/>
                </a:solidFill>
                <a:effectLst/>
                <a:uLnTx/>
                <a:uFillTx/>
                <a:latin typeface="Segoe UI Semibold" panose="020B0702040204020203" pitchFamily="34" charset="0"/>
                <a:ea typeface="+mj-ea"/>
                <a:cs typeface="Segoe UI Semibold" panose="020B0702040204020203" pitchFamily="34" charset="0"/>
              </a:rPr>
              <a:t>Start upskilling on Azure IoT today! </a:t>
            </a:r>
          </a:p>
        </p:txBody>
      </p:sp>
      <p:sp>
        <p:nvSpPr>
          <p:cNvPr id="10" name="Rectangle 9">
            <a:extLst>
              <a:ext uri="{FF2B5EF4-FFF2-40B4-BE49-F238E27FC236}">
                <a16:creationId xmlns:a16="http://schemas.microsoft.com/office/drawing/2014/main" id="{E588C066-29C2-4D23-8438-230BDB6BE43C}"/>
              </a:ext>
            </a:extLst>
          </p:cNvPr>
          <p:cNvSpPr/>
          <p:nvPr/>
        </p:nvSpPr>
        <p:spPr>
          <a:xfrm>
            <a:off x="3065145" y="1281541"/>
            <a:ext cx="2846189" cy="2103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Segoe UI"/>
              <a:ea typeface="+mn-ea"/>
              <a:cs typeface="Segoe UI"/>
            </a:endParaRPr>
          </a:p>
        </p:txBody>
      </p:sp>
      <p:pic>
        <p:nvPicPr>
          <p:cNvPr id="12" name="Picture 11">
            <a:extLst>
              <a:ext uri="{FF2B5EF4-FFF2-40B4-BE49-F238E27FC236}">
                <a16:creationId xmlns:a16="http://schemas.microsoft.com/office/drawing/2014/main" id="{E7C676E7-F995-4512-A7ED-A0A3F811C705}"/>
              </a:ext>
            </a:extLst>
          </p:cNvPr>
          <p:cNvPicPr>
            <a:picLocks noChangeAspect="1"/>
          </p:cNvPicPr>
          <p:nvPr/>
        </p:nvPicPr>
        <p:blipFill>
          <a:blip r:embed="rId7"/>
          <a:stretch>
            <a:fillRect/>
          </a:stretch>
        </p:blipFill>
        <p:spPr>
          <a:xfrm>
            <a:off x="3161308" y="3357665"/>
            <a:ext cx="2543018" cy="2247575"/>
          </a:xfrm>
          <a:prstGeom prst="rect">
            <a:avLst/>
          </a:prstGeom>
          <a:ln w="12700">
            <a:solidFill>
              <a:schemeClr val="accent1"/>
            </a:solidFill>
          </a:ln>
        </p:spPr>
      </p:pic>
      <p:sp>
        <p:nvSpPr>
          <p:cNvPr id="18" name="AutoShape 2">
            <a:extLst>
              <a:ext uri="{FF2B5EF4-FFF2-40B4-BE49-F238E27FC236}">
                <a16:creationId xmlns:a16="http://schemas.microsoft.com/office/drawing/2014/main" id="{9619E72A-2075-4196-9248-8B1C102F95B5}"/>
              </a:ext>
            </a:extLst>
          </p:cNvPr>
          <p:cNvSpPr>
            <a:spLocks noChangeAspect="1" noChangeArrowheads="1"/>
          </p:cNvSpPr>
          <p:nvPr/>
        </p:nvSpPr>
        <p:spPr bwMode="auto">
          <a:xfrm>
            <a:off x="5911334" y="3244334"/>
            <a:ext cx="369332"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6" name="Graphic 25">
            <a:extLst>
              <a:ext uri="{FF2B5EF4-FFF2-40B4-BE49-F238E27FC236}">
                <a16:creationId xmlns:a16="http://schemas.microsoft.com/office/drawing/2014/main" id="{4C6C61ED-F7A3-46E6-A754-70FB754C0C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8120" y="4409207"/>
            <a:ext cx="902614" cy="1071327"/>
          </a:xfrm>
          <a:prstGeom prst="rect">
            <a:avLst/>
          </a:prstGeom>
        </p:spPr>
      </p:pic>
      <p:pic>
        <p:nvPicPr>
          <p:cNvPr id="28" name="Graphic 27">
            <a:extLst>
              <a:ext uri="{FF2B5EF4-FFF2-40B4-BE49-F238E27FC236}">
                <a16:creationId xmlns:a16="http://schemas.microsoft.com/office/drawing/2014/main" id="{45E18FED-CFC3-4889-A124-4D5E47466A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88793" y="4833549"/>
            <a:ext cx="1373619" cy="1630370"/>
          </a:xfrm>
          <a:prstGeom prst="rect">
            <a:avLst/>
          </a:prstGeom>
        </p:spPr>
      </p:pic>
      <p:pic>
        <p:nvPicPr>
          <p:cNvPr id="30" name="Picture 29">
            <a:extLst>
              <a:ext uri="{FF2B5EF4-FFF2-40B4-BE49-F238E27FC236}">
                <a16:creationId xmlns:a16="http://schemas.microsoft.com/office/drawing/2014/main" id="{69A58FC5-D10A-460C-BA32-6F8B394C7E70}"/>
              </a:ext>
            </a:extLst>
          </p:cNvPr>
          <p:cNvPicPr>
            <a:picLocks noChangeAspect="1"/>
          </p:cNvPicPr>
          <p:nvPr/>
        </p:nvPicPr>
        <p:blipFill>
          <a:blip r:embed="rId12"/>
          <a:stretch>
            <a:fillRect/>
          </a:stretch>
        </p:blipFill>
        <p:spPr>
          <a:xfrm>
            <a:off x="3953947" y="5110360"/>
            <a:ext cx="1957387" cy="1100137"/>
          </a:xfrm>
          <a:prstGeom prst="rect">
            <a:avLst/>
          </a:prstGeom>
        </p:spPr>
      </p:pic>
      <p:pic>
        <p:nvPicPr>
          <p:cNvPr id="32" name="Picture 31">
            <a:extLst>
              <a:ext uri="{FF2B5EF4-FFF2-40B4-BE49-F238E27FC236}">
                <a16:creationId xmlns:a16="http://schemas.microsoft.com/office/drawing/2014/main" id="{FFE6B2D3-1A30-4A23-B475-A66D605B4FEC}"/>
              </a:ext>
            </a:extLst>
          </p:cNvPr>
          <p:cNvPicPr>
            <a:picLocks noChangeAspect="1"/>
          </p:cNvPicPr>
          <p:nvPr/>
        </p:nvPicPr>
        <p:blipFill>
          <a:blip r:embed="rId13"/>
          <a:stretch>
            <a:fillRect/>
          </a:stretch>
        </p:blipFill>
        <p:spPr>
          <a:xfrm>
            <a:off x="6202773" y="3868193"/>
            <a:ext cx="2715812" cy="1829968"/>
          </a:xfrm>
          <a:prstGeom prst="rect">
            <a:avLst/>
          </a:prstGeom>
          <a:ln w="12700">
            <a:solidFill>
              <a:schemeClr val="accent1"/>
            </a:solidFill>
          </a:ln>
        </p:spPr>
      </p:pic>
      <p:pic>
        <p:nvPicPr>
          <p:cNvPr id="34" name="Picture 33">
            <a:extLst>
              <a:ext uri="{FF2B5EF4-FFF2-40B4-BE49-F238E27FC236}">
                <a16:creationId xmlns:a16="http://schemas.microsoft.com/office/drawing/2014/main" id="{90DA9D98-3A97-4227-8505-B1863DCF4533}"/>
              </a:ext>
            </a:extLst>
          </p:cNvPr>
          <p:cNvPicPr>
            <a:picLocks noChangeAspect="1"/>
          </p:cNvPicPr>
          <p:nvPr/>
        </p:nvPicPr>
        <p:blipFill>
          <a:blip r:embed="rId14"/>
          <a:stretch>
            <a:fillRect/>
          </a:stretch>
        </p:blipFill>
        <p:spPr>
          <a:xfrm>
            <a:off x="7233031" y="4913465"/>
            <a:ext cx="1472073" cy="1221616"/>
          </a:xfrm>
          <a:prstGeom prst="rect">
            <a:avLst/>
          </a:prstGeom>
          <a:ln w="12700">
            <a:solidFill>
              <a:schemeClr val="accent1"/>
            </a:solidFill>
          </a:ln>
        </p:spPr>
      </p:pic>
      <p:sp>
        <p:nvSpPr>
          <p:cNvPr id="36" name="Rectangle 35">
            <a:extLst>
              <a:ext uri="{FF2B5EF4-FFF2-40B4-BE49-F238E27FC236}">
                <a16:creationId xmlns:a16="http://schemas.microsoft.com/office/drawing/2014/main" id="{8CD98B1B-E3A2-41AB-927F-CFADDD2F4B61}"/>
              </a:ext>
            </a:extLst>
          </p:cNvPr>
          <p:cNvSpPr/>
          <p:nvPr/>
        </p:nvSpPr>
        <p:spPr>
          <a:xfrm>
            <a:off x="9074436" y="897020"/>
            <a:ext cx="2948565" cy="5623938"/>
          </a:xfrm>
          <a:prstGeom prst="rect">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1120499E-AF4E-4709-BF60-11CF1A480BD1}"/>
              </a:ext>
            </a:extLst>
          </p:cNvPr>
          <p:cNvPicPr>
            <a:picLocks noChangeAspect="1"/>
          </p:cNvPicPr>
          <p:nvPr/>
        </p:nvPicPr>
        <p:blipFill>
          <a:blip r:embed="rId15"/>
          <a:stretch>
            <a:fillRect/>
          </a:stretch>
        </p:blipFill>
        <p:spPr>
          <a:xfrm>
            <a:off x="9507166" y="4245891"/>
            <a:ext cx="2291411" cy="1525053"/>
          </a:xfrm>
          <a:prstGeom prst="rect">
            <a:avLst/>
          </a:prstGeom>
          <a:ln w="12700">
            <a:solidFill>
              <a:schemeClr val="accent1"/>
            </a:solidFill>
          </a:ln>
        </p:spPr>
      </p:pic>
      <p:pic>
        <p:nvPicPr>
          <p:cNvPr id="40" name="Picture 39">
            <a:extLst>
              <a:ext uri="{FF2B5EF4-FFF2-40B4-BE49-F238E27FC236}">
                <a16:creationId xmlns:a16="http://schemas.microsoft.com/office/drawing/2014/main" id="{91E5FD47-34F7-4CD6-95EF-BF69A4D45088}"/>
              </a:ext>
            </a:extLst>
          </p:cNvPr>
          <p:cNvPicPr>
            <a:picLocks noChangeAspect="1"/>
          </p:cNvPicPr>
          <p:nvPr/>
        </p:nvPicPr>
        <p:blipFill>
          <a:blip r:embed="rId16"/>
          <a:stretch>
            <a:fillRect/>
          </a:stretch>
        </p:blipFill>
        <p:spPr>
          <a:xfrm>
            <a:off x="9196814" y="3636317"/>
            <a:ext cx="2254685" cy="876379"/>
          </a:xfrm>
          <a:prstGeom prst="rect">
            <a:avLst/>
          </a:prstGeom>
          <a:ln w="12700">
            <a:solidFill>
              <a:schemeClr val="accent1"/>
            </a:solidFill>
          </a:ln>
        </p:spPr>
      </p:pic>
      <p:sp>
        <p:nvSpPr>
          <p:cNvPr id="41" name="TextBox 4">
            <a:extLst>
              <a:ext uri="{FF2B5EF4-FFF2-40B4-BE49-F238E27FC236}">
                <a16:creationId xmlns:a16="http://schemas.microsoft.com/office/drawing/2014/main" id="{BCFE153D-965E-48D2-942E-A755707B92C0}"/>
              </a:ext>
            </a:extLst>
          </p:cNvPr>
          <p:cNvSpPr txBox="1"/>
          <p:nvPr/>
        </p:nvSpPr>
        <p:spPr>
          <a:xfrm>
            <a:off x="188818" y="3745112"/>
            <a:ext cx="2787824" cy="861774"/>
          </a:xfrm>
          <a:prstGeom prst="rect">
            <a:avLst/>
          </a:prstGeom>
          <a:no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hlinkClick r:id="rId17"/>
              </a:rPr>
              <a:t>https://aka.ms/IntroAzureIoTLearningPath</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8A6FAC49-DE0B-4B35-99BF-3D27B796B282}"/>
              </a:ext>
            </a:extLst>
          </p:cNvPr>
          <p:cNvSpPr txBox="1"/>
          <p:nvPr/>
        </p:nvSpPr>
        <p:spPr>
          <a:xfrm>
            <a:off x="7686675" y="104831"/>
            <a:ext cx="4505325" cy="369332"/>
          </a:xfrm>
          <a:prstGeom prst="rect">
            <a:avLst/>
          </a:prstGeom>
          <a:solidFill>
            <a:srgbClr val="FFC0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Semibold"/>
                <a:ea typeface="+mn-ea"/>
                <a:cs typeface="+mn-cs"/>
              </a:rPr>
              <a:t>https://aka.ms/get-started-azure-2021</a:t>
            </a:r>
          </a:p>
        </p:txBody>
      </p:sp>
    </p:spTree>
    <p:extLst>
      <p:ext uri="{BB962C8B-B14F-4D97-AF65-F5344CB8AC3E}">
        <p14:creationId xmlns:p14="http://schemas.microsoft.com/office/powerpoint/2010/main" val="62058543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8DB35291-7B17-4A0A-A3CD-C105FF3EC5CE}"/>
              </a:ext>
            </a:extLst>
          </p:cNvPr>
          <p:cNvSpPr txBox="1">
            <a:spLocks/>
          </p:cNvSpPr>
          <p:nvPr/>
        </p:nvSpPr>
        <p:spPr>
          <a:xfrm>
            <a:off x="344423" y="448492"/>
            <a:ext cx="11018520" cy="492443"/>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4705" b="0" kern="1200" cap="none" spc="-49" baseline="0" dirty="0">
                <a:ln w="3175">
                  <a:noFill/>
                </a:ln>
                <a:gradFill>
                  <a:gsLst>
                    <a:gs pos="0">
                      <a:schemeClr val="tx1"/>
                    </a:gs>
                    <a:gs pos="10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49" normalizeH="0" baseline="0" noProof="0">
                <a:ln w="3175">
                  <a:noFill/>
                </a:ln>
                <a:gradFill>
                  <a:gsLst>
                    <a:gs pos="0">
                      <a:srgbClr val="FFFFFF"/>
                    </a:gs>
                    <a:gs pos="100000">
                      <a:srgbClr val="FFFFFF"/>
                    </a:gs>
                  </a:gsLst>
                  <a:lin ang="5400000" scaled="1"/>
                </a:gradFill>
                <a:effectLst/>
                <a:uLnTx/>
                <a:uFillTx/>
                <a:latin typeface="Segoe UI Semibold"/>
                <a:ea typeface="+mn-ea"/>
                <a:cs typeface="Segoe UI" pitchFamily="34" charset="0"/>
              </a:rPr>
              <a:t>30 Days to Learn Cloud Skills Challenge </a:t>
            </a:r>
          </a:p>
        </p:txBody>
      </p:sp>
      <p:pic>
        <p:nvPicPr>
          <p:cNvPr id="8" name="Picture 7">
            <a:extLst>
              <a:ext uri="{FF2B5EF4-FFF2-40B4-BE49-F238E27FC236}">
                <a16:creationId xmlns:a16="http://schemas.microsoft.com/office/drawing/2014/main" id="{ACAC14D8-A27F-4F61-90DE-19B89B570EE3}"/>
              </a:ext>
            </a:extLst>
          </p:cNvPr>
          <p:cNvPicPr>
            <a:picLocks noChangeAspect="1"/>
          </p:cNvPicPr>
          <p:nvPr/>
        </p:nvPicPr>
        <p:blipFill>
          <a:blip r:embed="rId3"/>
          <a:stretch>
            <a:fillRect/>
          </a:stretch>
        </p:blipFill>
        <p:spPr>
          <a:xfrm>
            <a:off x="6136782" y="1756682"/>
            <a:ext cx="6055218" cy="3344636"/>
          </a:xfrm>
          <a:prstGeom prst="rect">
            <a:avLst/>
          </a:prstGeom>
        </p:spPr>
      </p:pic>
      <p:sp>
        <p:nvSpPr>
          <p:cNvPr id="10" name="TextBox 9">
            <a:extLst>
              <a:ext uri="{FF2B5EF4-FFF2-40B4-BE49-F238E27FC236}">
                <a16:creationId xmlns:a16="http://schemas.microsoft.com/office/drawing/2014/main" id="{28FE0C75-AF51-4353-8B60-6E0829783FCD}"/>
              </a:ext>
            </a:extLst>
          </p:cNvPr>
          <p:cNvSpPr txBox="1"/>
          <p:nvPr/>
        </p:nvSpPr>
        <p:spPr>
          <a:xfrm>
            <a:off x="208844" y="1756682"/>
            <a:ext cx="5130800"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30 Days to Learn it’ offers a time-bound, personalized, Cloud Skills Challenge that is built upon Microsoft Learn. It is designed to help developers build in-demand skills that advance their career, while preparing them to earn the Microsoft Certification for the Azure IoT Developer (AZ220) exam. </a:t>
            </a:r>
          </a:p>
        </p:txBody>
      </p:sp>
      <p:sp>
        <p:nvSpPr>
          <p:cNvPr id="12" name="TextBox 11">
            <a:extLst>
              <a:ext uri="{FF2B5EF4-FFF2-40B4-BE49-F238E27FC236}">
                <a16:creationId xmlns:a16="http://schemas.microsoft.com/office/drawing/2014/main" id="{8AD81E54-B65E-4F1D-A4F9-42CEE64F93CD}"/>
              </a:ext>
            </a:extLst>
          </p:cNvPr>
          <p:cNvSpPr txBox="1"/>
          <p:nvPr/>
        </p:nvSpPr>
        <p:spPr>
          <a:xfrm>
            <a:off x="208844" y="4297016"/>
            <a:ext cx="622017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sng" strike="noStrike" kern="1200" cap="none" spc="0" normalizeH="0" baseline="0" noProof="0" dirty="0">
                <a:ln>
                  <a:noFill/>
                </a:ln>
                <a:solidFill>
                  <a:srgbClr val="0563C1"/>
                </a:solidFill>
                <a:effectLst/>
                <a:uLnTx/>
                <a:uFillTx/>
                <a:latin typeface="Calibri" panose="020F0502020204030204" pitchFamily="34" charset="0"/>
                <a:ea typeface="Times New Roman" panose="02020603050405020304" pitchFamily="18" charset="0"/>
                <a:cs typeface="+mn-cs"/>
                <a:hlinkClick r:id="rId4"/>
              </a:rPr>
              <a:t>https://aka.ms/30DaysCSC/IoT</a:t>
            </a:r>
            <a: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mn-cs"/>
              </a:rPr>
              <a:t> </a:t>
            </a:r>
            <a:endParaRPr kumimoji="0" lang="en-US" sz="32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5308315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1281102"/>
            <a:ext cx="11085518" cy="4774010"/>
          </a:xfrm>
        </p:spPr>
        <p:txBody>
          <a:bodyPr/>
          <a:lstStyle/>
          <a:p>
            <a:r>
              <a:rPr lang="en-US" sz="4400" dirty="0">
                <a:gradFill>
                  <a:gsLst>
                    <a:gs pos="0">
                      <a:schemeClr val="accent5"/>
                    </a:gs>
                    <a:gs pos="100000">
                      <a:schemeClr val="accent4"/>
                    </a:gs>
                  </a:gsLst>
                  <a:lin ang="2700000" scaled="1"/>
                </a:gradFill>
              </a:rPr>
              <a:t>Live Q&amp;A </a:t>
            </a:r>
            <a:br>
              <a:rPr lang="en-US" sz="4400" dirty="0">
                <a:gradFill>
                  <a:gsLst>
                    <a:gs pos="0">
                      <a:schemeClr val="accent5"/>
                    </a:gs>
                    <a:gs pos="100000">
                      <a:schemeClr val="accent4"/>
                    </a:gs>
                  </a:gsLst>
                  <a:lin ang="2700000" scaled="1"/>
                </a:gradFill>
              </a:rPr>
            </a:br>
            <a:r>
              <a:rPr lang="en-US" sz="4400" dirty="0">
                <a:gradFill>
                  <a:gsLst>
                    <a:gs pos="0">
                      <a:schemeClr val="accent5"/>
                    </a:gs>
                    <a:gs pos="100000">
                      <a:schemeClr val="accent4"/>
                    </a:gs>
                  </a:gsLst>
                  <a:lin ang="2700000" scaled="1"/>
                </a:gradFill>
              </a:rPr>
              <a:t>Thank you!</a:t>
            </a:r>
            <a:br>
              <a:rPr lang="en-US" sz="4400" dirty="0">
                <a:gradFill>
                  <a:gsLst>
                    <a:gs pos="0">
                      <a:schemeClr val="accent5"/>
                    </a:gs>
                    <a:gs pos="100000">
                      <a:schemeClr val="accent4"/>
                    </a:gs>
                  </a:gsLst>
                  <a:lin ang="2700000" scaled="1"/>
                </a:gradFill>
              </a:rPr>
            </a:br>
            <a:br>
              <a:rPr lang="en-US" sz="4400" dirty="0">
                <a:gradFill>
                  <a:gsLst>
                    <a:gs pos="0">
                      <a:schemeClr val="accent5"/>
                    </a:gs>
                    <a:gs pos="100000">
                      <a:schemeClr val="accent4"/>
                    </a:gs>
                  </a:gsLst>
                  <a:lin ang="2700000" scaled="1"/>
                </a:gradFill>
              </a:rPr>
            </a:br>
            <a:r>
              <a:rPr lang="en-US" sz="2000" dirty="0"/>
              <a:t>IoT Arch Reference: </a:t>
            </a:r>
            <a:r>
              <a:rPr lang="en-US" sz="2000" dirty="0">
                <a:hlinkClick r:id="rId3"/>
              </a:rPr>
              <a:t>https://aka.ms/iotrefarchitecture</a:t>
            </a:r>
            <a:br>
              <a:rPr lang="en-US" sz="2000" dirty="0"/>
            </a:br>
            <a:r>
              <a:rPr lang="en-US" sz="2000" dirty="0"/>
              <a:t>Azure Account Signup: </a:t>
            </a:r>
            <a:r>
              <a:rPr lang="en-US" sz="2000" dirty="0">
                <a:hlinkClick r:id="rId4"/>
              </a:rPr>
              <a:t>https://aka.ms/get-started-azure-2021</a:t>
            </a:r>
            <a:br>
              <a:rPr lang="en-US" sz="2000" dirty="0"/>
            </a:br>
            <a:r>
              <a:rPr lang="en-US" sz="2000" dirty="0"/>
              <a:t>Azure IoT Central: </a:t>
            </a:r>
            <a:r>
              <a:rPr lang="en-US" sz="2000" dirty="0">
                <a:hlinkClick r:id="rId5"/>
              </a:rPr>
              <a:t>https://apps.azureiotcentral.com/myapps</a:t>
            </a:r>
            <a:br>
              <a:rPr lang="en-US" sz="2000" dirty="0"/>
            </a:br>
            <a:r>
              <a:rPr lang="en-US" sz="2000" dirty="0"/>
              <a:t>Cloud Skills Challenge: </a:t>
            </a:r>
            <a:r>
              <a:rPr lang="en-US" sz="2000" dirty="0">
                <a:hlinkClick r:id="rId6"/>
              </a:rPr>
              <a:t>https://aka.ms/30DaysCSC/IoT </a:t>
            </a:r>
            <a:br>
              <a:rPr lang="en-US" sz="2000" dirty="0"/>
            </a:br>
            <a:r>
              <a:rPr lang="en-US" sz="2000" dirty="0"/>
              <a:t>MS Learn: </a:t>
            </a:r>
            <a:r>
              <a:rPr lang="en-US" sz="2000" dirty="0">
                <a:hlinkClick r:id="rId7"/>
              </a:rPr>
              <a:t>https://aka.ms/mslearniot</a:t>
            </a:r>
            <a:br>
              <a:rPr lang="en-US" sz="2000" dirty="0"/>
            </a:br>
            <a:r>
              <a:rPr lang="en-US" sz="2000" dirty="0"/>
              <a:t>MSFT IoT Developer Video Channel: </a:t>
            </a:r>
            <a:r>
              <a:rPr lang="en-US" sz="2000" dirty="0">
                <a:hlinkClick r:id="rId8"/>
              </a:rPr>
              <a:t>https://aka.ms/msiotdevs</a:t>
            </a:r>
            <a:br>
              <a:rPr lang="en-US" sz="2000" dirty="0"/>
            </a:br>
            <a:r>
              <a:rPr lang="en-US" sz="2000" dirty="0"/>
              <a:t>IoT Tech Community: </a:t>
            </a:r>
            <a:r>
              <a:rPr lang="en-US" sz="2000" dirty="0">
                <a:hlinkClick r:id="rId9"/>
              </a:rPr>
              <a:t>https://aka.ms/iottechcommunity</a:t>
            </a:r>
            <a:br>
              <a:rPr lang="en-US" sz="2000" dirty="0"/>
            </a:br>
            <a:r>
              <a:rPr lang="en-US" sz="2000" dirty="0"/>
              <a:t>Azure IoT Docs: </a:t>
            </a:r>
            <a:r>
              <a:rPr lang="en-US" sz="2000" dirty="0">
                <a:hlinkClick r:id="rId10"/>
              </a:rPr>
              <a:t>https://docs.microsoft.com/en-us/azure/iot-fundamentals/</a:t>
            </a:r>
            <a:br>
              <a:rPr lang="en-US" dirty="0"/>
            </a:br>
            <a:br>
              <a:rPr lang="en-US" sz="4400" dirty="0">
                <a:gradFill>
                  <a:gsLst>
                    <a:gs pos="0">
                      <a:schemeClr val="accent5"/>
                    </a:gs>
                    <a:gs pos="100000">
                      <a:schemeClr val="accent4"/>
                    </a:gs>
                  </a:gsLst>
                  <a:lin ang="2700000" scaled="1"/>
                </a:gradFill>
              </a:rPr>
            </a:br>
            <a:br>
              <a:rPr lang="en-US" sz="4400" dirty="0">
                <a:gradFill>
                  <a:gsLst>
                    <a:gs pos="0">
                      <a:schemeClr val="accent5"/>
                    </a:gs>
                    <a:gs pos="100000">
                      <a:schemeClr val="accent4"/>
                    </a:gs>
                  </a:gsLst>
                  <a:lin ang="2700000" scaled="1"/>
                </a:gradFill>
              </a:rPr>
            </a:br>
            <a:endParaRPr lang="en-US" sz="4400" dirty="0">
              <a:gradFill>
                <a:gsLst>
                  <a:gs pos="0">
                    <a:schemeClr val="accent5"/>
                  </a:gs>
                  <a:gs pos="100000">
                    <a:schemeClr val="accent4"/>
                  </a:gs>
                </a:gsLst>
                <a:lin ang="2700000" scaled="1"/>
              </a:gradFill>
            </a:endParaRPr>
          </a:p>
        </p:txBody>
      </p:sp>
    </p:spTree>
    <p:extLst>
      <p:ext uri="{BB962C8B-B14F-4D97-AF65-F5344CB8AC3E}">
        <p14:creationId xmlns:p14="http://schemas.microsoft.com/office/powerpoint/2010/main" val="1958221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2.91667E-6 -2.22222E-6 L 2.91667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345461" y="1024257"/>
            <a:ext cx="10989079" cy="4894222"/>
          </a:xfrm>
        </p:spPr>
        <p:txBody>
          <a:bodyPr/>
          <a:lstStyle/>
          <a:p>
            <a:r>
              <a:rPr lang="en-US" sz="4400" dirty="0">
                <a:gradFill>
                  <a:gsLst>
                    <a:gs pos="0">
                      <a:schemeClr val="accent5"/>
                    </a:gs>
                    <a:gs pos="100000">
                      <a:schemeClr val="accent4"/>
                    </a:gs>
                  </a:gsLst>
                  <a:lin ang="2700000" scaled="1"/>
                </a:gradFill>
              </a:rPr>
              <a:t>We would love to hear from you!</a:t>
            </a:r>
            <a:br>
              <a:rPr lang="en-US" dirty="0">
                <a:solidFill>
                  <a:schemeClr val="tx1"/>
                </a:solidFill>
              </a:rPr>
            </a:br>
            <a:br>
              <a:rPr lang="en-US" dirty="0">
                <a:solidFill>
                  <a:schemeClr val="tx1"/>
                </a:solidFill>
              </a:rPr>
            </a:br>
            <a:r>
              <a:rPr lang="en-US" sz="3600" dirty="0"/>
              <a:t>Would you please tell the Azure IoT engineering team about your development processes and tools? By completing this very short (&lt;4 minute) survey?</a:t>
            </a:r>
            <a:br>
              <a:rPr lang="en-US" sz="3600" dirty="0"/>
            </a:br>
            <a:br>
              <a:rPr lang="en-US" sz="3600" dirty="0"/>
            </a:br>
            <a:r>
              <a:rPr lang="en-US" dirty="0">
                <a:solidFill>
                  <a:schemeClr val="bg2"/>
                </a:solidFill>
                <a:hlinkClick r:id="rId3">
                  <a:extLst>
                    <a:ext uri="{A12FA001-AC4F-418D-AE19-62706E023703}">
                      <ahyp:hlinkClr xmlns:ahyp="http://schemas.microsoft.com/office/drawing/2018/hyperlinkcolor" val="tx"/>
                    </a:ext>
                  </a:extLst>
                </a:hlinkClick>
              </a:rPr>
              <a:t>http://aka.ms/EmbeddedDevResearch</a:t>
            </a:r>
            <a:endParaRPr lang="en-US" sz="4400" dirty="0">
              <a:solidFill>
                <a:schemeClr val="bg2"/>
              </a:solidFill>
            </a:endParaRPr>
          </a:p>
        </p:txBody>
      </p:sp>
    </p:spTree>
    <p:extLst>
      <p:ext uri="{BB962C8B-B14F-4D97-AF65-F5344CB8AC3E}">
        <p14:creationId xmlns:p14="http://schemas.microsoft.com/office/powerpoint/2010/main" val="1568230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4.58333E-6 0 L -4.58333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5B5026B4-5301-44EB-B70C-25E2D5354FF8}"/>
              </a:ext>
            </a:extLst>
          </p:cNvPr>
          <p:cNvGrpSpPr/>
          <p:nvPr/>
        </p:nvGrpSpPr>
        <p:grpSpPr>
          <a:xfrm>
            <a:off x="4129364" y="2305592"/>
            <a:ext cx="3988337" cy="2838679"/>
            <a:chOff x="4129364" y="2305592"/>
            <a:chExt cx="3988337" cy="2838679"/>
          </a:xfrm>
        </p:grpSpPr>
        <p:cxnSp>
          <p:nvCxnSpPr>
            <p:cNvPr id="33" name="Straight Connector 32">
              <a:extLst>
                <a:ext uri="{FF2B5EF4-FFF2-40B4-BE49-F238E27FC236}">
                  <a16:creationId xmlns:a16="http://schemas.microsoft.com/office/drawing/2014/main" id="{473C0B78-DA57-4733-9E32-30B292CFFE41}"/>
                </a:ext>
              </a:extLst>
            </p:cNvPr>
            <p:cNvCxnSpPr/>
            <p:nvPr/>
          </p:nvCxnSpPr>
          <p:spPr>
            <a:xfrm>
              <a:off x="4129364" y="2305592"/>
              <a:ext cx="0" cy="2838679"/>
            </a:xfrm>
            <a:prstGeom prst="line">
              <a:avLst/>
            </a:prstGeom>
            <a:ln w="15875">
              <a:gradFill>
                <a:gsLst>
                  <a:gs pos="0">
                    <a:schemeClr val="accent5"/>
                  </a:gs>
                  <a:gs pos="100000">
                    <a:schemeClr val="tx2"/>
                  </a:gs>
                </a:gsLst>
                <a:lin ang="1800000" scaled="0"/>
              </a:gra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AEEDADE-11AC-43F3-9A79-1D9299ED0DDF}"/>
                </a:ext>
              </a:extLst>
            </p:cNvPr>
            <p:cNvCxnSpPr/>
            <p:nvPr/>
          </p:nvCxnSpPr>
          <p:spPr>
            <a:xfrm>
              <a:off x="8117701" y="2305592"/>
              <a:ext cx="0" cy="2838679"/>
            </a:xfrm>
            <a:prstGeom prst="line">
              <a:avLst/>
            </a:prstGeom>
            <a:ln w="15875">
              <a:gradFill>
                <a:gsLst>
                  <a:gs pos="0">
                    <a:schemeClr val="accent5"/>
                  </a:gs>
                  <a:gs pos="100000">
                    <a:schemeClr val="tx2"/>
                  </a:gs>
                </a:gsLst>
                <a:lin ang="1800000" scaled="0"/>
              </a:gra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6" name="Rectangle 45">
            <a:extLst>
              <a:ext uri="{FF2B5EF4-FFF2-40B4-BE49-F238E27FC236}">
                <a16:creationId xmlns:a16="http://schemas.microsoft.com/office/drawing/2014/main" id="{8F5CA320-D427-4C7C-9779-CE66A51FCD7A}"/>
              </a:ext>
            </a:extLst>
          </p:cNvPr>
          <p:cNvSpPr/>
          <p:nvPr/>
        </p:nvSpPr>
        <p:spPr>
          <a:xfrm>
            <a:off x="455994" y="6237480"/>
            <a:ext cx="6646293" cy="246221"/>
          </a:xfrm>
          <a:prstGeom prst="rect">
            <a:avLst/>
          </a:prstGeom>
        </p:spPr>
        <p:txBody>
          <a:bodyPr wrap="square" lIns="0" tIns="0" rIns="0" bIns="0" anchor="b">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1 Placeholder Source; 2 Placeholder Source; </a:t>
            </a:r>
            <a:br>
              <a:rPr kumimoji="0" lang="en-US" sz="800" b="0" i="0" u="none" strike="noStrike" kern="1200" cap="none" spc="0" normalizeH="0" baseline="0" noProof="0">
                <a:ln>
                  <a:noFill/>
                </a:ln>
                <a:solidFill>
                  <a:srgbClr val="FFFFFF"/>
                </a:solidFill>
                <a:effectLst/>
                <a:uLnTx/>
                <a:uFillTx/>
                <a:latin typeface="Segoe UI"/>
                <a:ea typeface="+mn-ea"/>
                <a:cs typeface="+mn-cs"/>
              </a:rPr>
            </a:br>
            <a:r>
              <a:rPr kumimoji="0" lang="en-US" sz="800" b="0" i="0" u="none" strike="noStrike" kern="1200" cap="none" spc="0" normalizeH="0" baseline="0" noProof="0">
                <a:ln>
                  <a:noFill/>
                </a:ln>
                <a:solidFill>
                  <a:srgbClr val="FFFFFF"/>
                </a:solidFill>
                <a:effectLst/>
                <a:uLnTx/>
                <a:uFillTx/>
                <a:latin typeface="Segoe UI"/>
                <a:ea typeface="+mn-ea"/>
                <a:cs typeface="+mn-cs"/>
              </a:rPr>
              <a:t>3 </a:t>
            </a:r>
            <a:r>
              <a:rPr kumimoji="0" lang="en-US" sz="800" b="0" i="0" u="none" strike="noStrike" kern="1200" cap="none" spc="0" normalizeH="0" baseline="0" noProof="0">
                <a:ln>
                  <a:noFill/>
                </a:ln>
                <a:solidFill>
                  <a:srgbClr val="FFFF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Gartner: Market Guide for Digital Twin Portfolios and Enabling Technologies (Jan 2020)</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286444E1-3427-40E7-8FD6-846EFE97DE64}"/>
              </a:ext>
            </a:extLst>
          </p:cNvPr>
          <p:cNvGrpSpPr/>
          <p:nvPr/>
        </p:nvGrpSpPr>
        <p:grpSpPr>
          <a:xfrm>
            <a:off x="601802" y="2159314"/>
            <a:ext cx="3340312" cy="2551995"/>
            <a:chOff x="601802" y="1625922"/>
            <a:chExt cx="3340312" cy="2551995"/>
          </a:xfrm>
        </p:grpSpPr>
        <p:sp>
          <p:nvSpPr>
            <p:cNvPr id="106" name="Rectangle: Rounded Corners 105">
              <a:extLst>
                <a:ext uri="{FF2B5EF4-FFF2-40B4-BE49-F238E27FC236}">
                  <a16:creationId xmlns:a16="http://schemas.microsoft.com/office/drawing/2014/main" id="{4D5AD9A3-F226-4222-977E-800DC7D73A05}"/>
                </a:ext>
              </a:extLst>
            </p:cNvPr>
            <p:cNvSpPr/>
            <p:nvPr/>
          </p:nvSpPr>
          <p:spPr bwMode="auto">
            <a:xfrm>
              <a:off x="1259451" y="2214783"/>
              <a:ext cx="2025015" cy="438895"/>
            </a:xfrm>
            <a:prstGeom prst="roundRect">
              <a:avLst>
                <a:gd name="adj" fmla="val 50000"/>
              </a:avLst>
            </a:prstGeom>
            <a:noFill/>
            <a:ln w="28575" cap="flat" cmpd="sng" algn="ctr">
              <a:noFill/>
              <a:prstDash val="solid"/>
              <a:headEnd type="none"/>
              <a:tailEnd type="none"/>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IoT Central</a:t>
              </a:r>
            </a:p>
          </p:txBody>
        </p:sp>
        <p:sp>
          <p:nvSpPr>
            <p:cNvPr id="9" name="Rectangle 8">
              <a:extLst>
                <a:ext uri="{FF2B5EF4-FFF2-40B4-BE49-F238E27FC236}">
                  <a16:creationId xmlns:a16="http://schemas.microsoft.com/office/drawing/2014/main" id="{78E7B347-6CBE-4DB3-A803-3C71BD315A04}"/>
                </a:ext>
              </a:extLst>
            </p:cNvPr>
            <p:cNvSpPr/>
            <p:nvPr/>
          </p:nvSpPr>
          <p:spPr>
            <a:xfrm>
              <a:off x="601802" y="2617653"/>
              <a:ext cx="3340312" cy="73866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he easiest and most cost-effective way to connect and manage devices at scale, and time to results. </a:t>
              </a:r>
            </a:p>
          </p:txBody>
        </p:sp>
        <p:sp>
          <p:nvSpPr>
            <p:cNvPr id="47" name="Rectangle 46">
              <a:extLst>
                <a:ext uri="{FF2B5EF4-FFF2-40B4-BE49-F238E27FC236}">
                  <a16:creationId xmlns:a16="http://schemas.microsoft.com/office/drawing/2014/main" id="{4FBD8868-A632-4067-AF48-307A785F864A}"/>
                </a:ext>
              </a:extLst>
            </p:cNvPr>
            <p:cNvSpPr/>
            <p:nvPr/>
          </p:nvSpPr>
          <p:spPr>
            <a:xfrm>
              <a:off x="601802" y="3593142"/>
              <a:ext cx="3340312" cy="584775"/>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1000+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zure IoT Devices certified</a:t>
              </a:r>
              <a:r>
                <a:rPr kumimoji="0" lang="en-US" sz="1400" b="0" i="0" u="none" strike="noStrike" kern="1200" cap="none" spc="0" normalizeH="0" baseline="30000" noProof="0">
                  <a:ln>
                    <a:noFill/>
                  </a:ln>
                  <a:solidFill>
                    <a:srgbClr val="FFFFFF"/>
                  </a:solidFill>
                  <a:effectLst/>
                  <a:uLnTx/>
                  <a:uFillTx/>
                  <a:latin typeface="Segoe UI"/>
                  <a:ea typeface="+mn-ea"/>
                  <a:cs typeface="+mn-cs"/>
                </a:rPr>
                <a:t>1</a:t>
              </a:r>
            </a:p>
          </p:txBody>
        </p:sp>
        <p:pic>
          <p:nvPicPr>
            <p:cNvPr id="3" name="Graphic 2">
              <a:extLst>
                <a:ext uri="{FF2B5EF4-FFF2-40B4-BE49-F238E27FC236}">
                  <a16:creationId xmlns:a16="http://schemas.microsoft.com/office/drawing/2014/main" id="{A8523302-11E4-4107-B7E2-815378D75F6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96164" y="1625922"/>
              <a:ext cx="551589" cy="551589"/>
            </a:xfrm>
            <a:prstGeom prst="rect">
              <a:avLst/>
            </a:prstGeom>
          </p:spPr>
        </p:pic>
      </p:grpSp>
      <p:grpSp>
        <p:nvGrpSpPr>
          <p:cNvPr id="10" name="Group 9">
            <a:extLst>
              <a:ext uri="{FF2B5EF4-FFF2-40B4-BE49-F238E27FC236}">
                <a16:creationId xmlns:a16="http://schemas.microsoft.com/office/drawing/2014/main" id="{69055988-44CA-450D-8E34-800471FE89BF}"/>
              </a:ext>
            </a:extLst>
          </p:cNvPr>
          <p:cNvGrpSpPr/>
          <p:nvPr/>
        </p:nvGrpSpPr>
        <p:grpSpPr>
          <a:xfrm>
            <a:off x="4278644" y="2159314"/>
            <a:ext cx="3744840" cy="2551995"/>
            <a:chOff x="4278644" y="1625922"/>
            <a:chExt cx="3744840" cy="2551995"/>
          </a:xfrm>
        </p:grpSpPr>
        <p:sp>
          <p:nvSpPr>
            <p:cNvPr id="107" name="Rectangle: Rounded Corners 106">
              <a:extLst>
                <a:ext uri="{FF2B5EF4-FFF2-40B4-BE49-F238E27FC236}">
                  <a16:creationId xmlns:a16="http://schemas.microsoft.com/office/drawing/2014/main" id="{68FC8914-922F-4F09-A9F8-230258D9BA74}"/>
                </a:ext>
              </a:extLst>
            </p:cNvPr>
            <p:cNvSpPr/>
            <p:nvPr/>
          </p:nvSpPr>
          <p:spPr bwMode="auto">
            <a:xfrm>
              <a:off x="5199837" y="2214783"/>
              <a:ext cx="1902455" cy="438895"/>
            </a:xfrm>
            <a:prstGeom prst="roundRect">
              <a:avLst>
                <a:gd name="adj" fmla="val 50000"/>
              </a:avLst>
            </a:prstGeom>
            <a:noFill/>
            <a:ln w="28575" cap="flat" cmpd="sng" algn="ctr">
              <a:noFill/>
              <a:prstDash val="solid"/>
              <a:headEnd type="none"/>
              <a:tailEnd type="none"/>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IoT Hub</a:t>
              </a:r>
            </a:p>
          </p:txBody>
        </p:sp>
        <p:sp>
          <p:nvSpPr>
            <p:cNvPr id="43" name="Rectangle 42">
              <a:extLst>
                <a:ext uri="{FF2B5EF4-FFF2-40B4-BE49-F238E27FC236}">
                  <a16:creationId xmlns:a16="http://schemas.microsoft.com/office/drawing/2014/main" id="{40D0CAB4-9491-4F2B-8730-17348EAF3540}"/>
                </a:ext>
              </a:extLst>
            </p:cNvPr>
            <p:cNvSpPr/>
            <p:nvPr/>
          </p:nvSpPr>
          <p:spPr>
            <a:xfrm>
              <a:off x="4278644" y="2617653"/>
              <a:ext cx="3744840" cy="73866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able highly secure, flexible and reliable communication from the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loud to the edge. </a:t>
              </a:r>
            </a:p>
          </p:txBody>
        </p:sp>
        <p:sp>
          <p:nvSpPr>
            <p:cNvPr id="48" name="Rectangle 47">
              <a:extLst>
                <a:ext uri="{FF2B5EF4-FFF2-40B4-BE49-F238E27FC236}">
                  <a16:creationId xmlns:a16="http://schemas.microsoft.com/office/drawing/2014/main" id="{EB6B8BEB-6E34-4905-973D-E701ABC0BD99}"/>
                </a:ext>
              </a:extLst>
            </p:cNvPr>
            <p:cNvSpPr/>
            <p:nvPr/>
          </p:nvSpPr>
          <p:spPr>
            <a:xfrm>
              <a:off x="4411682" y="3593142"/>
              <a:ext cx="3340312" cy="584775"/>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150 billion messages</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per month via IoT Hub</a:t>
              </a:r>
              <a:r>
                <a:rPr kumimoji="0" lang="en-US" sz="1400" b="0" i="0" u="none" strike="noStrike" kern="1200" cap="none" spc="0" normalizeH="0" baseline="30000" noProof="0">
                  <a:ln>
                    <a:noFill/>
                  </a:ln>
                  <a:solidFill>
                    <a:srgbClr val="FFFFFF"/>
                  </a:solidFill>
                  <a:effectLst/>
                  <a:uLnTx/>
                  <a:uFillTx/>
                  <a:latin typeface="Segoe UI"/>
                  <a:ea typeface="+mn-ea"/>
                  <a:cs typeface="+mn-cs"/>
                </a:rPr>
                <a:t>2</a:t>
              </a:r>
            </a:p>
          </p:txBody>
        </p:sp>
        <p:pic>
          <p:nvPicPr>
            <p:cNvPr id="5" name="Graphic 4">
              <a:extLst>
                <a:ext uri="{FF2B5EF4-FFF2-40B4-BE49-F238E27FC236}">
                  <a16:creationId xmlns:a16="http://schemas.microsoft.com/office/drawing/2014/main" id="{5A23B50E-0584-4EB2-88A3-ED40F6EC00E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75269" y="1625922"/>
              <a:ext cx="551589" cy="551589"/>
            </a:xfrm>
            <a:prstGeom prst="rect">
              <a:avLst/>
            </a:prstGeom>
          </p:spPr>
        </p:pic>
      </p:grpSp>
      <p:sp>
        <p:nvSpPr>
          <p:cNvPr id="2" name="Title 1">
            <a:extLst>
              <a:ext uri="{FF2B5EF4-FFF2-40B4-BE49-F238E27FC236}">
                <a16:creationId xmlns:a16="http://schemas.microsoft.com/office/drawing/2014/main" id="{8E45D4AA-5F5D-466F-902B-154944817361}"/>
              </a:ext>
            </a:extLst>
          </p:cNvPr>
          <p:cNvSpPr>
            <a:spLocks noGrp="1"/>
          </p:cNvSpPr>
          <p:nvPr>
            <p:ph type="title"/>
          </p:nvPr>
        </p:nvSpPr>
        <p:spPr>
          <a:xfrm>
            <a:off x="455995" y="620428"/>
            <a:ext cx="11306469" cy="397545"/>
          </a:xfrm>
        </p:spPr>
        <p:txBody>
          <a:bodyPr/>
          <a:lstStyle/>
          <a:p>
            <a:r>
              <a:rPr lang="en-US" sz="2800" dirty="0">
                <a:solidFill>
                  <a:schemeClr val="bg2"/>
                </a:solidFill>
              </a:rPr>
              <a:t>Develop with choice</a:t>
            </a:r>
          </a:p>
        </p:txBody>
      </p:sp>
      <p:grpSp>
        <p:nvGrpSpPr>
          <p:cNvPr id="15" name="Group 14">
            <a:extLst>
              <a:ext uri="{FF2B5EF4-FFF2-40B4-BE49-F238E27FC236}">
                <a16:creationId xmlns:a16="http://schemas.microsoft.com/office/drawing/2014/main" id="{F861CA85-5A85-46F9-9287-E776BE2BE296}"/>
              </a:ext>
            </a:extLst>
          </p:cNvPr>
          <p:cNvGrpSpPr/>
          <p:nvPr/>
        </p:nvGrpSpPr>
        <p:grpSpPr>
          <a:xfrm>
            <a:off x="8117701" y="2111181"/>
            <a:ext cx="3610521" cy="2877127"/>
            <a:chOff x="8117701" y="2111181"/>
            <a:chExt cx="3610521" cy="2877127"/>
          </a:xfrm>
        </p:grpSpPr>
        <p:sp>
          <p:nvSpPr>
            <p:cNvPr id="108" name="Rectangle: Rounded Corners 107">
              <a:extLst>
                <a:ext uri="{FF2B5EF4-FFF2-40B4-BE49-F238E27FC236}">
                  <a16:creationId xmlns:a16="http://schemas.microsoft.com/office/drawing/2014/main" id="{F9587B98-1C7F-4E37-B9B7-79F5A3679443}"/>
                </a:ext>
              </a:extLst>
            </p:cNvPr>
            <p:cNvSpPr/>
            <p:nvPr/>
          </p:nvSpPr>
          <p:spPr bwMode="auto">
            <a:xfrm>
              <a:off x="9121809" y="2592370"/>
              <a:ext cx="1524642" cy="750505"/>
            </a:xfrm>
            <a:prstGeom prst="roundRect">
              <a:avLst>
                <a:gd name="adj" fmla="val 50000"/>
              </a:avLst>
            </a:prstGeom>
            <a:noFill/>
            <a:ln w="28575" cap="flat" cmpd="sng" algn="ctr">
              <a:noFill/>
              <a:prstDash val="solid"/>
              <a:headEnd type="none"/>
              <a:tailEnd type="none"/>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Digital Twins</a:t>
              </a:r>
            </a:p>
          </p:txBody>
        </p:sp>
        <p:sp>
          <p:nvSpPr>
            <p:cNvPr id="44" name="Rectangle 43">
              <a:extLst>
                <a:ext uri="{FF2B5EF4-FFF2-40B4-BE49-F238E27FC236}">
                  <a16:creationId xmlns:a16="http://schemas.microsoft.com/office/drawing/2014/main" id="{03D32946-4D5E-46A8-B3F0-5D9367580F48}"/>
                </a:ext>
              </a:extLst>
            </p:cNvPr>
            <p:cNvSpPr/>
            <p:nvPr/>
          </p:nvSpPr>
          <p:spPr>
            <a:xfrm>
              <a:off x="8241507" y="3151045"/>
              <a:ext cx="3285249"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reate comprehensive digital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models of entire environments.</a:t>
              </a:r>
              <a:r>
                <a:rPr kumimoji="0" lang="en-US" sz="1400" b="0" i="0" u="none" strike="noStrike" kern="1200" cap="none" spc="0" normalizeH="0" baseline="30000" noProof="0">
                  <a:ln>
                    <a:noFill/>
                  </a:ln>
                  <a:solidFill>
                    <a:srgbClr val="FFFFFF"/>
                  </a:solidFill>
                  <a:effectLst/>
                  <a:uLnTx/>
                  <a:uFillTx/>
                  <a:latin typeface="Segoe UI"/>
                  <a:ea typeface="+mn-ea"/>
                  <a:cs typeface="+mn-cs"/>
                </a:rPr>
                <a:t>3</a:t>
              </a:r>
              <a:r>
                <a:rPr kumimoji="0" lang="en-US" sz="1400" b="0" i="0" u="none" strike="noStrike" kern="1200" cap="none" spc="0" normalizeH="0" baseline="0" noProof="0">
                  <a:ln>
                    <a:noFill/>
                  </a:ln>
                  <a:solidFill>
                    <a:srgbClr val="FFFFFF"/>
                  </a:solidFill>
                  <a:effectLst/>
                  <a:uLnTx/>
                  <a:uFillTx/>
                  <a:latin typeface="Segoe UI"/>
                  <a:ea typeface="+mn-ea"/>
                  <a:cs typeface="+mn-cs"/>
                </a:rPr>
                <a:t> </a:t>
              </a:r>
            </a:p>
          </p:txBody>
        </p:sp>
        <p:sp>
          <p:nvSpPr>
            <p:cNvPr id="49" name="Rectangle 48">
              <a:extLst>
                <a:ext uri="{FF2B5EF4-FFF2-40B4-BE49-F238E27FC236}">
                  <a16:creationId xmlns:a16="http://schemas.microsoft.com/office/drawing/2014/main" id="{D8494E7F-813C-4FD4-B695-3EBFAF72E1A3}"/>
                </a:ext>
              </a:extLst>
            </p:cNvPr>
            <p:cNvSpPr/>
            <p:nvPr/>
          </p:nvSpPr>
          <p:spPr>
            <a:xfrm>
              <a:off x="8117701" y="4126534"/>
              <a:ext cx="3610521" cy="86177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artner includes Microsoft as a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800" b="0" i="0" u="none" strike="noStrike" kern="1200" cap="none" spc="0" normalizeH="0" baseline="0" noProof="0">
                  <a:ln>
                    <a:noFill/>
                  </a:ln>
                  <a:solidFill>
                    <a:srgbClr val="50E6FF"/>
                  </a:solidFill>
                  <a:effectLst/>
                  <a:uLnTx/>
                  <a:uFillTx/>
                  <a:latin typeface="Segoe UI Semibold"/>
                  <a:ea typeface="+mn-ea"/>
                  <a:cs typeface="+mn-cs"/>
                </a:rPr>
                <a:t>Digital-Twin-Enabled Application Provider</a:t>
              </a:r>
              <a:r>
                <a:rPr kumimoji="0" lang="en-US" sz="1400" b="0" i="0" u="none" strike="noStrike" kern="1200" cap="none" spc="0" normalizeH="0" baseline="30000" noProof="0">
                  <a:ln>
                    <a:noFill/>
                  </a:ln>
                  <a:solidFill>
                    <a:srgbClr val="FFFFFF"/>
                  </a:solidFill>
                  <a:effectLst/>
                  <a:uLnTx/>
                  <a:uFillTx/>
                  <a:latin typeface="Segoe UI"/>
                  <a:ea typeface="+mn-ea"/>
                  <a:cs typeface="+mn-cs"/>
                </a:rPr>
                <a:t>3</a:t>
              </a:r>
            </a:p>
          </p:txBody>
        </p:sp>
        <p:pic>
          <p:nvPicPr>
            <p:cNvPr id="387074" name="Picture 2" descr="azure-digital-twins - Microsoft Q&amp;A">
              <a:extLst>
                <a:ext uri="{FF2B5EF4-FFF2-40B4-BE49-F238E27FC236}">
                  <a16:creationId xmlns:a16="http://schemas.microsoft.com/office/drawing/2014/main" id="{6784C5AA-7566-43A7-8BEB-3988EFAAE86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54287" y="2111181"/>
              <a:ext cx="659686" cy="65968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231920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42" presetClass="path" presetSubtype="0" decel="100000" fill="hold" nodeType="withEffect">
                                  <p:stCondLst>
                                    <p:cond delay="0"/>
                                  </p:stCondLst>
                                  <p:childTnLst>
                                    <p:animMotion origin="layout" path="M 0 4.44444E-6 L 0 0.01898 " pathEditMode="relative" rAng="0" ptsTypes="AA">
                                      <p:cBhvr>
                                        <p:cTn id="12" dur="700" spd="-100000" fill="hold"/>
                                        <p:tgtEl>
                                          <p:spTgt spid="8"/>
                                        </p:tgtEl>
                                        <p:attrNameLst>
                                          <p:attrName>ppt_x</p:attrName>
                                          <p:attrName>ppt_y</p:attrName>
                                        </p:attrNameLst>
                                      </p:cBhvr>
                                      <p:rCtr x="0" y="949"/>
                                    </p:animMotion>
                                  </p:childTnLst>
                                </p:cTn>
                              </p:par>
                              <p:par>
                                <p:cTn id="13" presetID="10" presetClass="entr" presetSubtype="0" fill="hold" nodeType="withEffect">
                                  <p:stCondLst>
                                    <p:cond delay="25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42" presetClass="path" presetSubtype="0" decel="100000" fill="hold" nodeType="withEffect">
                                  <p:stCondLst>
                                    <p:cond delay="250"/>
                                  </p:stCondLst>
                                  <p:childTnLst>
                                    <p:animMotion origin="layout" path="M 0 4.44444E-6 L 0 0.01898 " pathEditMode="relative" rAng="0" ptsTypes="AA">
                                      <p:cBhvr>
                                        <p:cTn id="17" dur="700" spd="-100000" fill="hold"/>
                                        <p:tgtEl>
                                          <p:spTgt spid="10"/>
                                        </p:tgtEl>
                                        <p:attrNameLst>
                                          <p:attrName>ppt_x</p:attrName>
                                          <p:attrName>ppt_y</p:attrName>
                                        </p:attrNameLst>
                                      </p:cBhvr>
                                      <p:rCtr x="0" y="949"/>
                                    </p:animMotion>
                                  </p:childTnLst>
                                </p:cTn>
                              </p:par>
                              <p:par>
                                <p:cTn id="18" presetID="10" presetClass="entr" presetSubtype="0" fill="hold" nodeType="withEffect">
                                  <p:stCondLst>
                                    <p:cond delay="50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42" presetClass="path" presetSubtype="0" decel="100000" fill="hold" nodeType="withEffect">
                                  <p:stCondLst>
                                    <p:cond delay="500"/>
                                  </p:stCondLst>
                                  <p:childTnLst>
                                    <p:animMotion origin="layout" path="M 0 4.44444E-6 L 0 0.01898 " pathEditMode="relative" rAng="0" ptsTypes="AA">
                                      <p:cBhvr>
                                        <p:cTn id="22" dur="700" spd="-100000" fill="hold"/>
                                        <p:tgtEl>
                                          <p:spTgt spid="15"/>
                                        </p:tgtEl>
                                        <p:attrNameLst>
                                          <p:attrName>ppt_x</p:attrName>
                                          <p:attrName>ppt_y</p:attrName>
                                        </p:attrNameLst>
                                      </p:cBhvr>
                                      <p:rCtr x="0" y="949"/>
                                    </p:animMotion>
                                  </p:childTnLst>
                                </p:cTn>
                              </p:par>
                            </p:childTnLst>
                          </p:cTn>
                        </p:par>
                      </p:childTnLst>
                    </p:cTn>
                  </p:par>
                  <p:par>
                    <p:cTn id="23" fill="hold">
                      <p:stCondLst>
                        <p:cond delay="indefinite"/>
                      </p:stCondLst>
                      <p:childTnLst>
                        <p:par>
                          <p:cTn id="24" fill="hold">
                            <p:stCondLst>
                              <p:cond delay="0"/>
                            </p:stCondLst>
                            <p:childTnLst>
                              <p:par>
                                <p:cTn id="25" presetID="9" presetClass="emph" presetSubtype="0" nodeType="clickEffect">
                                  <p:stCondLst>
                                    <p:cond delay="0"/>
                                  </p:stCondLst>
                                  <p:childTnLst>
                                    <p:set>
                                      <p:cBhvr>
                                        <p:cTn id="26" dur="indefinite"/>
                                        <p:tgtEl>
                                          <p:spTgt spid="8"/>
                                        </p:tgtEl>
                                        <p:attrNameLst>
                                          <p:attrName>style.opacity</p:attrName>
                                        </p:attrNameLst>
                                      </p:cBhvr>
                                      <p:to>
                                        <p:strVal val="0.5"/>
                                      </p:to>
                                    </p:set>
                                    <p:animEffect filter="image" prLst="opacity: 0.5">
                                      <p:cBhvr rctx="IE">
                                        <p:cTn id="27" dur="indefinite"/>
                                        <p:tgtEl>
                                          <p:spTgt spid="8"/>
                                        </p:tgtEl>
                                      </p:cBhvr>
                                    </p:animEffect>
                                  </p:childTnLst>
                                </p:cTn>
                              </p:par>
                              <p:par>
                                <p:cTn id="28" presetID="9" presetClass="emph" presetSubtype="0" nodeType="withEffect">
                                  <p:stCondLst>
                                    <p:cond delay="0"/>
                                  </p:stCondLst>
                                  <p:childTnLst>
                                    <p:set>
                                      <p:cBhvr>
                                        <p:cTn id="29" dur="indefinite"/>
                                        <p:tgtEl>
                                          <p:spTgt spid="15"/>
                                        </p:tgtEl>
                                        <p:attrNameLst>
                                          <p:attrName>style.opacity</p:attrName>
                                        </p:attrNameLst>
                                      </p:cBhvr>
                                      <p:to>
                                        <p:strVal val="0.5"/>
                                      </p:to>
                                    </p:set>
                                    <p:animEffect filter="image" prLst="opacity: 0.5">
                                      <p:cBhvr rctx="IE">
                                        <p:cTn id="30" dur="indefinite"/>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A39775FF-3CCB-48F6-9BAB-99B18AB869C0}"/>
              </a:ext>
            </a:extLst>
          </p:cNvPr>
          <p:cNvSpPr/>
          <p:nvPr/>
        </p:nvSpPr>
        <p:spPr>
          <a:xfrm>
            <a:off x="517830" y="2104437"/>
            <a:ext cx="7824544" cy="4393633"/>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chemeClr val="bg1"/>
              </a:solidFill>
              <a:latin typeface="Segoe UI"/>
            </a:endParaRPr>
          </a:p>
        </p:txBody>
      </p:sp>
      <p:sp>
        <p:nvSpPr>
          <p:cNvPr id="83" name="Rectangle 82">
            <a:extLst>
              <a:ext uri="{FF2B5EF4-FFF2-40B4-BE49-F238E27FC236}">
                <a16:creationId xmlns:a16="http://schemas.microsoft.com/office/drawing/2014/main" id="{5B9D2D80-910E-4E15-9894-32FB0D97CFF4}"/>
              </a:ext>
            </a:extLst>
          </p:cNvPr>
          <p:cNvSpPr/>
          <p:nvPr/>
        </p:nvSpPr>
        <p:spPr>
          <a:xfrm>
            <a:off x="8878429" y="2104437"/>
            <a:ext cx="2772342" cy="4393633"/>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chemeClr val="bg1"/>
              </a:solidFill>
              <a:latin typeface="Segoe UI"/>
            </a:endParaRPr>
          </a:p>
        </p:txBody>
      </p:sp>
      <p:sp>
        <p:nvSpPr>
          <p:cNvPr id="84" name="Text Placeholder 7">
            <a:extLst>
              <a:ext uri="{FF2B5EF4-FFF2-40B4-BE49-F238E27FC236}">
                <a16:creationId xmlns:a16="http://schemas.microsoft.com/office/drawing/2014/main" id="{AA985A5E-CB27-4B92-8670-594E539F9340}"/>
              </a:ext>
            </a:extLst>
          </p:cNvPr>
          <p:cNvSpPr txBox="1">
            <a:spLocks/>
          </p:cNvSpPr>
          <p:nvPr/>
        </p:nvSpPr>
        <p:spPr>
          <a:xfrm>
            <a:off x="3171914" y="3023742"/>
            <a:ext cx="1982895" cy="477727"/>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Enterprise scale </a:t>
            </a:r>
            <a:br>
              <a:rPr lang="en-US" sz="1800">
                <a:solidFill>
                  <a:schemeClr val="bg1"/>
                </a:solidFill>
                <a:latin typeface="Segoe UI Semilight" panose="020B0402040204020203" pitchFamily="34" charset="0"/>
                <a:cs typeface="Segoe UI Semilight" panose="020B0402040204020203" pitchFamily="34" charset="0"/>
              </a:rPr>
            </a:br>
            <a:r>
              <a:rPr lang="en-US" sz="1800">
                <a:solidFill>
                  <a:schemeClr val="bg1"/>
                </a:solidFill>
                <a:latin typeface="Segoe UI Semilight" panose="020B0402040204020203" pitchFamily="34" charset="0"/>
                <a:cs typeface="Segoe UI Semilight" panose="020B0402040204020203" pitchFamily="34" charset="0"/>
              </a:rPr>
              <a:t>&amp; integration</a:t>
            </a:r>
          </a:p>
          <a:p>
            <a:pPr marL="10707" lvl="1" algn="ctr" defTabSz="271850">
              <a:defRPr/>
            </a:pPr>
            <a:endParaRPr lang="en-US" sz="1400">
              <a:solidFill>
                <a:schemeClr val="bg1"/>
              </a:solidFill>
              <a:latin typeface="Segoe UI Semibold" panose="020B0702040204020203" pitchFamily="34" charset="0"/>
              <a:cs typeface="Segoe UI Semibold" panose="020B0702040204020203" pitchFamily="34" charset="0"/>
            </a:endParaRPr>
          </a:p>
        </p:txBody>
      </p:sp>
      <p:sp>
        <p:nvSpPr>
          <p:cNvPr id="85" name="Text Placeholder 7">
            <a:extLst>
              <a:ext uri="{FF2B5EF4-FFF2-40B4-BE49-F238E27FC236}">
                <a16:creationId xmlns:a16="http://schemas.microsoft.com/office/drawing/2014/main" id="{923F50D3-86B5-44FD-B253-389CC2BBC08B}"/>
              </a:ext>
            </a:extLst>
          </p:cNvPr>
          <p:cNvSpPr txBox="1">
            <a:spLocks/>
          </p:cNvSpPr>
          <p:nvPr/>
        </p:nvSpPr>
        <p:spPr>
          <a:xfrm>
            <a:off x="2842714" y="3898572"/>
            <a:ext cx="2641294" cy="2343106"/>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a:solidFill>
                  <a:schemeClr val="bg1"/>
                </a:solidFill>
                <a:latin typeface="Segoe UI"/>
              </a:rPr>
              <a:t>Billions of messages</a:t>
            </a:r>
          </a:p>
          <a:p>
            <a:pPr lvl="1" algn="ctr" defTabSz="932563">
              <a:defRPr/>
            </a:pPr>
            <a:r>
              <a:rPr lang="en-US" sz="1200">
                <a:solidFill>
                  <a:schemeClr val="bg1"/>
                </a:solidFill>
                <a:latin typeface="Segoe UI"/>
              </a:rPr>
              <a:t>Scale up and down</a:t>
            </a:r>
          </a:p>
          <a:p>
            <a:pPr lvl="1" algn="ctr" defTabSz="932563">
              <a:defRPr/>
            </a:pPr>
            <a:r>
              <a:rPr lang="en-US" sz="1200">
                <a:solidFill>
                  <a:schemeClr val="bg1"/>
                </a:solidFill>
                <a:latin typeface="Segoe UI"/>
              </a:rPr>
              <a:t>Declarative Message Routes</a:t>
            </a:r>
          </a:p>
          <a:p>
            <a:pPr lvl="1" algn="ctr" defTabSz="932563">
              <a:defRPr/>
            </a:pPr>
            <a:r>
              <a:rPr lang="en-US" sz="1200">
                <a:solidFill>
                  <a:schemeClr val="bg1"/>
                </a:solidFill>
                <a:latin typeface="Segoe UI"/>
              </a:rPr>
              <a:t>File Upload</a:t>
            </a:r>
          </a:p>
          <a:p>
            <a:pPr lvl="1" algn="ctr" defTabSz="932563">
              <a:defRPr/>
            </a:pPr>
            <a:r>
              <a:rPr lang="en-US" sz="1200" err="1">
                <a:solidFill>
                  <a:schemeClr val="bg1"/>
                </a:solidFill>
                <a:latin typeface="Segoe UI"/>
              </a:rPr>
              <a:t>WebSockets</a:t>
            </a:r>
            <a:r>
              <a:rPr lang="en-US" sz="1200">
                <a:solidFill>
                  <a:schemeClr val="bg1"/>
                </a:solidFill>
                <a:latin typeface="Segoe UI"/>
              </a:rPr>
              <a:t> &amp; Multiplexing</a:t>
            </a:r>
          </a:p>
          <a:p>
            <a:pPr lvl="1" algn="ctr" defTabSz="932563">
              <a:defRPr/>
            </a:pPr>
            <a:r>
              <a:rPr lang="en-US" sz="1200">
                <a:solidFill>
                  <a:schemeClr val="bg1"/>
                </a:solidFill>
                <a:latin typeface="Segoe UI"/>
              </a:rPr>
              <a:t>Azure Monitor</a:t>
            </a:r>
          </a:p>
          <a:p>
            <a:pPr lvl="1" algn="ctr" defTabSz="932563">
              <a:defRPr/>
            </a:pPr>
            <a:r>
              <a:rPr lang="en-US" sz="1200">
                <a:solidFill>
                  <a:schemeClr val="bg1"/>
                </a:solidFill>
                <a:latin typeface="Segoe UI"/>
              </a:rPr>
              <a:t>Azure Resource Health</a:t>
            </a:r>
          </a:p>
          <a:p>
            <a:pPr lvl="1" algn="ctr" defTabSz="932563">
              <a:defRPr/>
            </a:pPr>
            <a:r>
              <a:rPr lang="en-US" sz="1200">
                <a:solidFill>
                  <a:schemeClr val="bg1"/>
                </a:solidFill>
                <a:latin typeface="Segoe UI"/>
              </a:rPr>
              <a:t>Configuration Management</a:t>
            </a:r>
          </a:p>
        </p:txBody>
      </p:sp>
      <p:cxnSp>
        <p:nvCxnSpPr>
          <p:cNvPr id="86" name="Straight Connector 85">
            <a:extLst>
              <a:ext uri="{FF2B5EF4-FFF2-40B4-BE49-F238E27FC236}">
                <a16:creationId xmlns:a16="http://schemas.microsoft.com/office/drawing/2014/main" id="{89DF78A7-83D9-4362-A007-7B2F01909ED3}"/>
              </a:ext>
            </a:extLst>
          </p:cNvPr>
          <p:cNvCxnSpPr/>
          <p:nvPr/>
        </p:nvCxnSpPr>
        <p:spPr>
          <a:xfrm>
            <a:off x="3477629" y="3767217"/>
            <a:ext cx="1371465" cy="0"/>
          </a:xfrm>
          <a:prstGeom prst="line">
            <a:avLst/>
          </a:prstGeom>
          <a:noFill/>
          <a:ln w="19050" cap="flat" cmpd="sng" algn="ctr">
            <a:solidFill>
              <a:schemeClr val="tx2"/>
            </a:solidFill>
            <a:prstDash val="sysDot"/>
          </a:ln>
          <a:effectLst/>
        </p:spPr>
      </p:cxnSp>
      <p:sp>
        <p:nvSpPr>
          <p:cNvPr id="87" name="Text Placeholder 8">
            <a:extLst>
              <a:ext uri="{FF2B5EF4-FFF2-40B4-BE49-F238E27FC236}">
                <a16:creationId xmlns:a16="http://schemas.microsoft.com/office/drawing/2014/main" id="{5A558FF3-0E36-4A4B-BBE6-74FF8BDD0B62}"/>
              </a:ext>
            </a:extLst>
          </p:cNvPr>
          <p:cNvSpPr txBox="1">
            <a:spLocks/>
          </p:cNvSpPr>
          <p:nvPr/>
        </p:nvSpPr>
        <p:spPr>
          <a:xfrm>
            <a:off x="5875322" y="3023744"/>
            <a:ext cx="1982894" cy="477653"/>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End-to-end </a:t>
            </a:r>
            <a:br>
              <a:rPr lang="en-US" sz="1800">
                <a:solidFill>
                  <a:schemeClr val="bg1"/>
                </a:solidFill>
                <a:latin typeface="Segoe UI Semilight" panose="020B0402040204020203" pitchFamily="34" charset="0"/>
                <a:cs typeface="Segoe UI Semilight" panose="020B0402040204020203" pitchFamily="34" charset="0"/>
              </a:rPr>
            </a:br>
            <a:r>
              <a:rPr lang="en-US" sz="1800">
                <a:solidFill>
                  <a:schemeClr val="bg1"/>
                </a:solidFill>
                <a:latin typeface="Segoe UI Semilight" panose="020B0402040204020203" pitchFamily="34" charset="0"/>
                <a:cs typeface="Segoe UI Semilight" panose="020B0402040204020203" pitchFamily="34" charset="0"/>
              </a:rPr>
              <a:t>security</a:t>
            </a:r>
          </a:p>
          <a:p>
            <a:pPr algn="ctr" defTabSz="271850">
              <a:defRPr/>
            </a:pPr>
            <a:endParaRPr lang="en-US" sz="1800">
              <a:solidFill>
                <a:schemeClr val="bg1"/>
              </a:solidFill>
              <a:latin typeface="Segoe UI Semibold" panose="020B0702040204020203" pitchFamily="34" charset="0"/>
              <a:cs typeface="Segoe UI Semibold" panose="020B0702040204020203" pitchFamily="34" charset="0"/>
            </a:endParaRPr>
          </a:p>
        </p:txBody>
      </p:sp>
      <p:sp>
        <p:nvSpPr>
          <p:cNvPr id="88" name="Text Placeholder 8">
            <a:extLst>
              <a:ext uri="{FF2B5EF4-FFF2-40B4-BE49-F238E27FC236}">
                <a16:creationId xmlns:a16="http://schemas.microsoft.com/office/drawing/2014/main" id="{946B3C3B-5E18-4966-AED6-7AD2C180AC6A}"/>
              </a:ext>
            </a:extLst>
          </p:cNvPr>
          <p:cNvSpPr txBox="1">
            <a:spLocks/>
          </p:cNvSpPr>
          <p:nvPr/>
        </p:nvSpPr>
        <p:spPr>
          <a:xfrm>
            <a:off x="5564071" y="3898572"/>
            <a:ext cx="2605394" cy="2343106"/>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dirty="0">
                <a:solidFill>
                  <a:schemeClr val="bg1"/>
                </a:solidFill>
                <a:latin typeface="Segoe UI"/>
              </a:rPr>
              <a:t>Per Device Certificates</a:t>
            </a:r>
          </a:p>
          <a:p>
            <a:pPr lvl="1" algn="ctr" defTabSz="932563">
              <a:defRPr/>
            </a:pPr>
            <a:r>
              <a:rPr lang="en-US" sz="1200" dirty="0">
                <a:solidFill>
                  <a:schemeClr val="bg1"/>
                </a:solidFill>
                <a:latin typeface="Segoe UI"/>
              </a:rPr>
              <a:t>Per Device Enable/Disable</a:t>
            </a:r>
          </a:p>
          <a:p>
            <a:pPr lvl="1" algn="ctr" defTabSz="932563">
              <a:defRPr/>
            </a:pPr>
            <a:r>
              <a:rPr lang="en-US" sz="1200" dirty="0">
                <a:solidFill>
                  <a:schemeClr val="bg1"/>
                </a:solidFill>
                <a:latin typeface="Segoe UI"/>
              </a:rPr>
              <a:t>TLS Security</a:t>
            </a:r>
          </a:p>
          <a:p>
            <a:pPr lvl="1" algn="ctr" defTabSz="932563">
              <a:defRPr/>
            </a:pPr>
            <a:r>
              <a:rPr lang="en-US" sz="1200" dirty="0">
                <a:solidFill>
                  <a:schemeClr val="bg1"/>
                </a:solidFill>
                <a:latin typeface="Segoe UI"/>
              </a:rPr>
              <a:t>X.509 Support</a:t>
            </a:r>
          </a:p>
          <a:p>
            <a:pPr lvl="1" algn="ctr" defTabSz="932563">
              <a:defRPr/>
            </a:pPr>
            <a:r>
              <a:rPr lang="en-US" sz="1200" dirty="0">
                <a:solidFill>
                  <a:schemeClr val="bg1"/>
                </a:solidFill>
                <a:latin typeface="Segoe UI"/>
              </a:rPr>
              <a:t>IP Whitelisting/Blacklisting</a:t>
            </a:r>
          </a:p>
          <a:p>
            <a:pPr lvl="1" algn="ctr" defTabSz="932563">
              <a:defRPr/>
            </a:pPr>
            <a:r>
              <a:rPr lang="en-US" sz="1200" dirty="0">
                <a:solidFill>
                  <a:schemeClr val="bg1"/>
                </a:solidFill>
                <a:latin typeface="Segoe UI"/>
              </a:rPr>
              <a:t>Shared Access Polices</a:t>
            </a:r>
          </a:p>
          <a:p>
            <a:pPr lvl="1" algn="ctr" defTabSz="932563">
              <a:defRPr/>
            </a:pPr>
            <a:r>
              <a:rPr lang="en-US" sz="1200" dirty="0">
                <a:solidFill>
                  <a:schemeClr val="bg1"/>
                </a:solidFill>
                <a:latin typeface="Segoe UI"/>
              </a:rPr>
              <a:t>Firmware/Software Updates</a:t>
            </a:r>
          </a:p>
          <a:p>
            <a:pPr lvl="1" algn="ctr" defTabSz="932563">
              <a:defRPr/>
            </a:pPr>
            <a:r>
              <a:rPr lang="en-US" sz="1200" dirty="0">
                <a:solidFill>
                  <a:schemeClr val="bg1"/>
                </a:solidFill>
                <a:latin typeface="Segoe UI"/>
              </a:rPr>
              <a:t>Azure Defender Support</a:t>
            </a:r>
          </a:p>
        </p:txBody>
      </p:sp>
      <p:cxnSp>
        <p:nvCxnSpPr>
          <p:cNvPr id="89" name="Straight Connector 88">
            <a:extLst>
              <a:ext uri="{FF2B5EF4-FFF2-40B4-BE49-F238E27FC236}">
                <a16:creationId xmlns:a16="http://schemas.microsoft.com/office/drawing/2014/main" id="{F52E9B01-28B1-4944-82FE-1C59E4FD5DE7}"/>
              </a:ext>
            </a:extLst>
          </p:cNvPr>
          <p:cNvCxnSpPr/>
          <p:nvPr/>
        </p:nvCxnSpPr>
        <p:spPr>
          <a:xfrm>
            <a:off x="6181035" y="3767788"/>
            <a:ext cx="1371465" cy="0"/>
          </a:xfrm>
          <a:prstGeom prst="line">
            <a:avLst/>
          </a:prstGeom>
          <a:noFill/>
          <a:ln w="19050" cap="flat" cmpd="sng" algn="ctr">
            <a:solidFill>
              <a:schemeClr val="tx2"/>
            </a:solidFill>
            <a:prstDash val="sysDot"/>
          </a:ln>
          <a:effectLst/>
        </p:spPr>
      </p:cxnSp>
      <p:sp>
        <p:nvSpPr>
          <p:cNvPr id="90" name="Text Placeholder 6">
            <a:extLst>
              <a:ext uri="{FF2B5EF4-FFF2-40B4-BE49-F238E27FC236}">
                <a16:creationId xmlns:a16="http://schemas.microsoft.com/office/drawing/2014/main" id="{A4184A91-F3DB-4CDA-BD68-7DFB4DA875E7}"/>
              </a:ext>
            </a:extLst>
          </p:cNvPr>
          <p:cNvSpPr txBox="1">
            <a:spLocks/>
          </p:cNvSpPr>
          <p:nvPr/>
        </p:nvSpPr>
        <p:spPr>
          <a:xfrm>
            <a:off x="612387" y="3023744"/>
            <a:ext cx="1982895" cy="477653"/>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Bi-directional communication</a:t>
            </a:r>
            <a:endParaRPr lang="en-US" sz="1400">
              <a:solidFill>
                <a:schemeClr val="bg1"/>
              </a:solidFill>
              <a:latin typeface="Segoe UI Semilight" panose="020B0402040204020203" pitchFamily="34" charset="0"/>
              <a:cs typeface="Segoe UI Semilight" panose="020B0402040204020203" pitchFamily="34" charset="0"/>
            </a:endParaRPr>
          </a:p>
        </p:txBody>
      </p:sp>
      <p:sp>
        <p:nvSpPr>
          <p:cNvPr id="91" name="Text Placeholder 6">
            <a:extLst>
              <a:ext uri="{FF2B5EF4-FFF2-40B4-BE49-F238E27FC236}">
                <a16:creationId xmlns:a16="http://schemas.microsoft.com/office/drawing/2014/main" id="{3D37850B-9A2C-4501-9571-B864A2BC86A1}"/>
              </a:ext>
            </a:extLst>
          </p:cNvPr>
          <p:cNvSpPr txBox="1">
            <a:spLocks/>
          </p:cNvSpPr>
          <p:nvPr/>
        </p:nvSpPr>
        <p:spPr>
          <a:xfrm>
            <a:off x="343068" y="3898573"/>
            <a:ext cx="2521532" cy="2512615"/>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a:solidFill>
                  <a:schemeClr val="bg1"/>
                </a:solidFill>
                <a:latin typeface="Segoe UI"/>
              </a:rPr>
              <a:t>Millions of Devices</a:t>
            </a:r>
          </a:p>
          <a:p>
            <a:pPr lvl="1" algn="ctr" defTabSz="932563">
              <a:defRPr/>
            </a:pPr>
            <a:r>
              <a:rPr lang="en-US" sz="1200">
                <a:solidFill>
                  <a:schemeClr val="bg1"/>
                </a:solidFill>
                <a:latin typeface="Segoe UI"/>
              </a:rPr>
              <a:t>Multi-language, open source SDKs</a:t>
            </a:r>
          </a:p>
          <a:p>
            <a:pPr lvl="1" algn="ctr" defTabSz="932563">
              <a:defRPr/>
            </a:pPr>
            <a:r>
              <a:rPr lang="en-US" sz="1200">
                <a:solidFill>
                  <a:schemeClr val="bg1"/>
                </a:solidFill>
                <a:latin typeface="Segoe UI"/>
              </a:rPr>
              <a:t>HTTPS/AMQPS/MQTTS</a:t>
            </a:r>
          </a:p>
          <a:p>
            <a:pPr lvl="1" algn="ctr" defTabSz="932563">
              <a:defRPr/>
            </a:pPr>
            <a:r>
              <a:rPr lang="en-US" sz="1200">
                <a:solidFill>
                  <a:schemeClr val="bg1"/>
                </a:solidFill>
                <a:latin typeface="Segoe UI"/>
              </a:rPr>
              <a:t>Send Telemetry</a:t>
            </a:r>
          </a:p>
          <a:p>
            <a:pPr lvl="1" algn="ctr" defTabSz="932563">
              <a:defRPr/>
            </a:pPr>
            <a:r>
              <a:rPr lang="en-US" sz="1200">
                <a:solidFill>
                  <a:schemeClr val="bg1"/>
                </a:solidFill>
                <a:latin typeface="Segoe UI"/>
              </a:rPr>
              <a:t>Receive Commands</a:t>
            </a:r>
          </a:p>
          <a:p>
            <a:pPr lvl="1" algn="ctr" defTabSz="932563">
              <a:defRPr/>
            </a:pPr>
            <a:r>
              <a:rPr lang="en-US" sz="1200">
                <a:solidFill>
                  <a:schemeClr val="bg1"/>
                </a:solidFill>
                <a:latin typeface="Segoe UI"/>
              </a:rPr>
              <a:t>Device Management</a:t>
            </a:r>
          </a:p>
          <a:p>
            <a:pPr lvl="1" algn="ctr" defTabSz="932563">
              <a:defRPr/>
            </a:pPr>
            <a:r>
              <a:rPr lang="en-US" sz="1200">
                <a:solidFill>
                  <a:schemeClr val="bg1"/>
                </a:solidFill>
                <a:latin typeface="Segoe UI"/>
              </a:rPr>
              <a:t>Device Twins</a:t>
            </a:r>
          </a:p>
          <a:p>
            <a:pPr lvl="1" algn="ctr" defTabSz="932563">
              <a:defRPr/>
            </a:pPr>
            <a:r>
              <a:rPr lang="en-US" sz="1200">
                <a:solidFill>
                  <a:schemeClr val="bg1"/>
                </a:solidFill>
                <a:latin typeface="Segoe UI"/>
              </a:rPr>
              <a:t>Queries &amp; Jobs</a:t>
            </a:r>
          </a:p>
        </p:txBody>
      </p:sp>
      <p:cxnSp>
        <p:nvCxnSpPr>
          <p:cNvPr id="92" name="Straight Connector 91">
            <a:extLst>
              <a:ext uri="{FF2B5EF4-FFF2-40B4-BE49-F238E27FC236}">
                <a16:creationId xmlns:a16="http://schemas.microsoft.com/office/drawing/2014/main" id="{3ADD9071-C36D-418D-8FCD-9FE416F56ED4}"/>
              </a:ext>
            </a:extLst>
          </p:cNvPr>
          <p:cNvCxnSpPr/>
          <p:nvPr/>
        </p:nvCxnSpPr>
        <p:spPr>
          <a:xfrm>
            <a:off x="918102" y="3751387"/>
            <a:ext cx="1371465" cy="0"/>
          </a:xfrm>
          <a:prstGeom prst="line">
            <a:avLst/>
          </a:prstGeom>
          <a:noFill/>
          <a:ln w="19050" cap="flat" cmpd="sng" algn="ctr">
            <a:solidFill>
              <a:schemeClr val="tx2"/>
            </a:solidFill>
            <a:prstDash val="sysDot"/>
          </a:ln>
          <a:effectLst/>
        </p:spPr>
      </p:cxnSp>
      <p:sp>
        <p:nvSpPr>
          <p:cNvPr id="93" name="Text Placeholder 8">
            <a:extLst>
              <a:ext uri="{FF2B5EF4-FFF2-40B4-BE49-F238E27FC236}">
                <a16:creationId xmlns:a16="http://schemas.microsoft.com/office/drawing/2014/main" id="{F596F23D-91AE-442C-ADE9-A041C3457562}"/>
              </a:ext>
            </a:extLst>
          </p:cNvPr>
          <p:cNvSpPr txBox="1">
            <a:spLocks/>
          </p:cNvSpPr>
          <p:nvPr/>
        </p:nvSpPr>
        <p:spPr>
          <a:xfrm>
            <a:off x="9056325" y="3023744"/>
            <a:ext cx="2416547" cy="477653"/>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IoT-scale automated provisioning</a:t>
            </a:r>
          </a:p>
          <a:p>
            <a:pPr algn="ctr" defTabSz="271850">
              <a:defRPr/>
            </a:pPr>
            <a:endParaRPr lang="en-US" sz="1800">
              <a:solidFill>
                <a:schemeClr val="bg1"/>
              </a:solidFill>
              <a:latin typeface="Segoe UI Semibold" panose="020B0702040204020203" pitchFamily="34" charset="0"/>
              <a:cs typeface="Segoe UI Semibold" panose="020B0702040204020203" pitchFamily="34" charset="0"/>
            </a:endParaRPr>
          </a:p>
        </p:txBody>
      </p:sp>
      <p:sp>
        <p:nvSpPr>
          <p:cNvPr id="94" name="Text Placeholder 8">
            <a:extLst>
              <a:ext uri="{FF2B5EF4-FFF2-40B4-BE49-F238E27FC236}">
                <a16:creationId xmlns:a16="http://schemas.microsoft.com/office/drawing/2014/main" id="{81E2E5FF-BE10-4846-9B9D-53C1BBF6533B}"/>
              </a:ext>
            </a:extLst>
          </p:cNvPr>
          <p:cNvSpPr txBox="1">
            <a:spLocks/>
          </p:cNvSpPr>
          <p:nvPr/>
        </p:nvSpPr>
        <p:spPr>
          <a:xfrm>
            <a:off x="9112870" y="3898572"/>
            <a:ext cx="2303457" cy="1829705"/>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a:solidFill>
                  <a:schemeClr val="bg1"/>
                </a:solidFill>
                <a:latin typeface="Segoe UI"/>
              </a:rPr>
              <a:t>Zero-touch provisioning</a:t>
            </a:r>
          </a:p>
          <a:p>
            <a:pPr lvl="1" algn="ctr" defTabSz="932563">
              <a:defRPr/>
            </a:pPr>
            <a:r>
              <a:rPr lang="en-US" sz="1200">
                <a:solidFill>
                  <a:schemeClr val="bg1"/>
                </a:solidFill>
                <a:latin typeface="Segoe UI"/>
              </a:rPr>
              <a:t>Centralize  your provisioning workflow</a:t>
            </a:r>
          </a:p>
          <a:p>
            <a:pPr lvl="1" algn="ctr" defTabSz="932563">
              <a:defRPr/>
            </a:pPr>
            <a:r>
              <a:rPr lang="en-US" sz="1200">
                <a:solidFill>
                  <a:schemeClr val="bg1"/>
                </a:solidFill>
                <a:latin typeface="Segoe UI"/>
              </a:rPr>
              <a:t>Load balance across multiple IoT Hubs</a:t>
            </a:r>
          </a:p>
          <a:p>
            <a:pPr lvl="1" algn="ctr" defTabSz="932563">
              <a:defRPr/>
            </a:pPr>
            <a:r>
              <a:rPr lang="en-US" sz="1200">
                <a:solidFill>
                  <a:schemeClr val="bg1"/>
                </a:solidFill>
                <a:latin typeface="Segoe UI"/>
              </a:rPr>
              <a:t>Re-provisioning support</a:t>
            </a:r>
          </a:p>
          <a:p>
            <a:pPr lvl="1" algn="ctr" defTabSz="932563">
              <a:defRPr/>
            </a:pPr>
            <a:r>
              <a:rPr lang="en-US" sz="1200">
                <a:solidFill>
                  <a:schemeClr val="bg1"/>
                </a:solidFill>
                <a:latin typeface="Segoe UI"/>
              </a:rPr>
              <a:t>Supports TPM + X.509</a:t>
            </a:r>
          </a:p>
        </p:txBody>
      </p:sp>
      <p:cxnSp>
        <p:nvCxnSpPr>
          <p:cNvPr id="95" name="Straight Connector 94">
            <a:extLst>
              <a:ext uri="{FF2B5EF4-FFF2-40B4-BE49-F238E27FC236}">
                <a16:creationId xmlns:a16="http://schemas.microsoft.com/office/drawing/2014/main" id="{76815DFD-05CF-473B-9B0E-1D9C03BE55B6}"/>
              </a:ext>
            </a:extLst>
          </p:cNvPr>
          <p:cNvCxnSpPr/>
          <p:nvPr/>
        </p:nvCxnSpPr>
        <p:spPr>
          <a:xfrm>
            <a:off x="9578866" y="3761396"/>
            <a:ext cx="1371465" cy="0"/>
          </a:xfrm>
          <a:prstGeom prst="line">
            <a:avLst/>
          </a:prstGeom>
          <a:noFill/>
          <a:ln w="19050" cap="flat" cmpd="sng" algn="ctr">
            <a:solidFill>
              <a:schemeClr val="tx2"/>
            </a:solidFill>
            <a:prstDash val="sysDot"/>
          </a:ln>
          <a:effectLst/>
        </p:spPr>
      </p:cxnSp>
      <p:sp>
        <p:nvSpPr>
          <p:cNvPr id="96" name="Title 1">
            <a:extLst>
              <a:ext uri="{FF2B5EF4-FFF2-40B4-BE49-F238E27FC236}">
                <a16:creationId xmlns:a16="http://schemas.microsoft.com/office/drawing/2014/main" id="{B1C90A45-17C4-49DF-8668-45452CDC1B09}"/>
              </a:ext>
            </a:extLst>
          </p:cNvPr>
          <p:cNvSpPr txBox="1">
            <a:spLocks/>
          </p:cNvSpPr>
          <p:nvPr/>
        </p:nvSpPr>
        <p:spPr>
          <a:xfrm>
            <a:off x="2824755" y="1741548"/>
            <a:ext cx="2807535"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1800" b="0">
                <a:solidFill>
                  <a:schemeClr val="bg1"/>
                </a:solidFill>
                <a:latin typeface="Segoe UI Semilight" panose="020B0402040204020203" pitchFamily="34" charset="0"/>
                <a:cs typeface="Segoe UI Semilight" panose="020B0402040204020203" pitchFamily="34" charset="0"/>
              </a:rPr>
              <a:t>Azure IoT Hub</a:t>
            </a:r>
          </a:p>
        </p:txBody>
      </p:sp>
      <p:sp>
        <p:nvSpPr>
          <p:cNvPr id="97" name="Title 1">
            <a:extLst>
              <a:ext uri="{FF2B5EF4-FFF2-40B4-BE49-F238E27FC236}">
                <a16:creationId xmlns:a16="http://schemas.microsoft.com/office/drawing/2014/main" id="{5E3C2F7A-BAB3-46D9-B3A1-40A1B60FAE2E}"/>
              </a:ext>
            </a:extLst>
          </p:cNvPr>
          <p:cNvSpPr txBox="1">
            <a:spLocks/>
          </p:cNvSpPr>
          <p:nvPr/>
        </p:nvSpPr>
        <p:spPr>
          <a:xfrm>
            <a:off x="8867710" y="1462366"/>
            <a:ext cx="3095682"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1800" b="0">
                <a:solidFill>
                  <a:schemeClr val="bg1"/>
                </a:solidFill>
                <a:latin typeface="Segoe UI Semilight" panose="020B0402040204020203" pitchFamily="34" charset="0"/>
                <a:cs typeface="Segoe UI Semilight" panose="020B0402040204020203" pitchFamily="34" charset="0"/>
              </a:rPr>
              <a:t>Device </a:t>
            </a:r>
            <a:br>
              <a:rPr lang="en-US" sz="1800" b="0">
                <a:solidFill>
                  <a:schemeClr val="bg1"/>
                </a:solidFill>
                <a:latin typeface="Segoe UI Semilight" panose="020B0402040204020203" pitchFamily="34" charset="0"/>
                <a:cs typeface="Segoe UI Semilight" panose="020B0402040204020203" pitchFamily="34" charset="0"/>
              </a:rPr>
            </a:br>
            <a:r>
              <a:rPr lang="en-US" sz="1800" b="0">
                <a:solidFill>
                  <a:schemeClr val="bg1"/>
                </a:solidFill>
                <a:latin typeface="Segoe UI Semilight" panose="020B0402040204020203" pitchFamily="34" charset="0"/>
                <a:cs typeface="Segoe UI Semilight" panose="020B0402040204020203" pitchFamily="34" charset="0"/>
              </a:rPr>
              <a:t>Provisioning Service</a:t>
            </a:r>
          </a:p>
        </p:txBody>
      </p:sp>
      <p:cxnSp>
        <p:nvCxnSpPr>
          <p:cNvPr id="98" name="Straight Connector 97">
            <a:extLst>
              <a:ext uri="{FF2B5EF4-FFF2-40B4-BE49-F238E27FC236}">
                <a16:creationId xmlns:a16="http://schemas.microsoft.com/office/drawing/2014/main" id="{EDBC7A18-48AA-4A8B-8EC4-224ED2C31F2C}"/>
              </a:ext>
            </a:extLst>
          </p:cNvPr>
          <p:cNvCxnSpPr>
            <a:cxnSpLocks/>
          </p:cNvCxnSpPr>
          <p:nvPr/>
        </p:nvCxnSpPr>
        <p:spPr>
          <a:xfrm>
            <a:off x="8878429" y="2104437"/>
            <a:ext cx="277234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1B98176F-9127-48BA-A25C-B9C7C3C661E1}"/>
              </a:ext>
            </a:extLst>
          </p:cNvPr>
          <p:cNvCxnSpPr>
            <a:cxnSpLocks/>
          </p:cNvCxnSpPr>
          <p:nvPr/>
        </p:nvCxnSpPr>
        <p:spPr>
          <a:xfrm>
            <a:off x="493953" y="2104437"/>
            <a:ext cx="7824543"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00" name="Title 1">
            <a:extLst>
              <a:ext uri="{FF2B5EF4-FFF2-40B4-BE49-F238E27FC236}">
                <a16:creationId xmlns:a16="http://schemas.microsoft.com/office/drawing/2014/main" id="{42414596-7480-4704-93E7-6F44B919D5CB}"/>
              </a:ext>
            </a:extLst>
          </p:cNvPr>
          <p:cNvSpPr txBox="1">
            <a:spLocks/>
          </p:cNvSpPr>
          <p:nvPr/>
        </p:nvSpPr>
        <p:spPr>
          <a:xfrm>
            <a:off x="444041" y="639898"/>
            <a:ext cx="11303917" cy="39754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en-US" dirty="0">
                <a:solidFill>
                  <a:schemeClr val="bg1"/>
                </a:solidFill>
              </a:rPr>
              <a:t>IoT Hub and Device Provisioning Service</a:t>
            </a:r>
          </a:p>
        </p:txBody>
      </p:sp>
      <p:sp>
        <p:nvSpPr>
          <p:cNvPr id="101" name="Shield_EA18" title="Icon of a shield">
            <a:extLst>
              <a:ext uri="{FF2B5EF4-FFF2-40B4-BE49-F238E27FC236}">
                <a16:creationId xmlns:a16="http://schemas.microsoft.com/office/drawing/2014/main" id="{A82C267A-FD2C-4062-93ED-3371FDE731EB}"/>
              </a:ext>
            </a:extLst>
          </p:cNvPr>
          <p:cNvSpPr>
            <a:spLocks noChangeAspect="1"/>
          </p:cNvSpPr>
          <p:nvPr/>
        </p:nvSpPr>
        <p:spPr bwMode="auto">
          <a:xfrm>
            <a:off x="6695585" y="2443712"/>
            <a:ext cx="343495" cy="36570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chemeClr val="bg1"/>
              </a:solidFill>
              <a:latin typeface="Segoe UI"/>
            </a:endParaRPr>
          </a:p>
        </p:txBody>
      </p:sp>
      <p:sp>
        <p:nvSpPr>
          <p:cNvPr id="102" name="arrow_6" title="Icon of two arrows pointing in opposite direction of each other">
            <a:extLst>
              <a:ext uri="{FF2B5EF4-FFF2-40B4-BE49-F238E27FC236}">
                <a16:creationId xmlns:a16="http://schemas.microsoft.com/office/drawing/2014/main" id="{D28F15E8-D943-4E3D-8C34-C44C484AF8AC}"/>
              </a:ext>
            </a:extLst>
          </p:cNvPr>
          <p:cNvSpPr>
            <a:spLocks noChangeAspect="1" noEditPoints="1"/>
          </p:cNvSpPr>
          <p:nvPr/>
        </p:nvSpPr>
        <p:spPr bwMode="auto">
          <a:xfrm>
            <a:off x="1437022" y="2457869"/>
            <a:ext cx="389361" cy="365708"/>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rgbClr val="0072C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sz="900">
              <a:solidFill>
                <a:schemeClr val="bg1"/>
              </a:solidFill>
              <a:latin typeface="Segoe UI"/>
            </a:endParaRPr>
          </a:p>
        </p:txBody>
      </p:sp>
      <p:sp>
        <p:nvSpPr>
          <p:cNvPr id="103" name="3D" title="Icon of a 3D box with square points on each corner">
            <a:extLst>
              <a:ext uri="{FF2B5EF4-FFF2-40B4-BE49-F238E27FC236}">
                <a16:creationId xmlns:a16="http://schemas.microsoft.com/office/drawing/2014/main" id="{D446B79F-4165-4C4E-A0A7-AF599BBCBB58}"/>
              </a:ext>
            </a:extLst>
          </p:cNvPr>
          <p:cNvSpPr>
            <a:spLocks noChangeAspect="1" noEditPoints="1"/>
          </p:cNvSpPr>
          <p:nvPr/>
        </p:nvSpPr>
        <p:spPr bwMode="auto">
          <a:xfrm>
            <a:off x="4089696" y="2452943"/>
            <a:ext cx="342011" cy="365708"/>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5875" cap="sq">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chemeClr val="bg1"/>
              </a:solidFill>
              <a:latin typeface="Segoe UI"/>
            </a:endParaRPr>
          </a:p>
        </p:txBody>
      </p:sp>
      <p:pic>
        <p:nvPicPr>
          <p:cNvPr id="104" name="Graphic 103">
            <a:extLst>
              <a:ext uri="{FF2B5EF4-FFF2-40B4-BE49-F238E27FC236}">
                <a16:creationId xmlns:a16="http://schemas.microsoft.com/office/drawing/2014/main" id="{29C4A099-EFC0-4A46-8330-D25DAC150A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19536" y="1741546"/>
            <a:ext cx="304757" cy="304757"/>
          </a:xfrm>
          <a:prstGeom prst="rect">
            <a:avLst/>
          </a:prstGeom>
        </p:spPr>
      </p:pic>
      <p:pic>
        <p:nvPicPr>
          <p:cNvPr id="105" name="Picture 104">
            <a:extLst>
              <a:ext uri="{FF2B5EF4-FFF2-40B4-BE49-F238E27FC236}">
                <a16:creationId xmlns:a16="http://schemas.microsoft.com/office/drawing/2014/main" id="{0F09DF1C-2FCB-4868-9126-03C29D01E7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8428" y="1639986"/>
            <a:ext cx="373189" cy="370298"/>
          </a:xfrm>
          <a:prstGeom prst="rect">
            <a:avLst/>
          </a:prstGeom>
          <a:noFill/>
          <a:ln>
            <a:noFill/>
          </a:ln>
        </p:spPr>
      </p:pic>
      <p:sp>
        <p:nvSpPr>
          <p:cNvPr id="109" name="box" title="Icon of a box">
            <a:extLst>
              <a:ext uri="{FF2B5EF4-FFF2-40B4-BE49-F238E27FC236}">
                <a16:creationId xmlns:a16="http://schemas.microsoft.com/office/drawing/2014/main" id="{749C6973-9DBE-493A-9602-EB100E2AE3DA}"/>
              </a:ext>
            </a:extLst>
          </p:cNvPr>
          <p:cNvSpPr>
            <a:spLocks noChangeAspect="1" noEditPoints="1"/>
          </p:cNvSpPr>
          <p:nvPr/>
        </p:nvSpPr>
        <p:spPr bwMode="auto">
          <a:xfrm>
            <a:off x="10080757" y="2447202"/>
            <a:ext cx="362264" cy="36570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5875" cap="flat">
            <a:solidFill>
              <a:srgbClr val="0072C6"/>
            </a:solid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chemeClr val="bg1"/>
              </a:solidFill>
              <a:latin typeface="Segoe UI"/>
            </a:endParaRPr>
          </a:p>
        </p:txBody>
      </p:sp>
    </p:spTree>
    <p:extLst>
      <p:ext uri="{BB962C8B-B14F-4D97-AF65-F5344CB8AC3E}">
        <p14:creationId xmlns:p14="http://schemas.microsoft.com/office/powerpoint/2010/main" val="31629839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additive="base">
                                        <p:cTn id="7" dur="500" fill="hold"/>
                                        <p:tgtEl>
                                          <p:spTgt spid="90"/>
                                        </p:tgtEl>
                                        <p:attrNameLst>
                                          <p:attrName>ppt_x</p:attrName>
                                        </p:attrNameLst>
                                      </p:cBhvr>
                                      <p:tavLst>
                                        <p:tav tm="0">
                                          <p:val>
                                            <p:strVal val="#ppt_x"/>
                                          </p:val>
                                        </p:tav>
                                        <p:tav tm="100000">
                                          <p:val>
                                            <p:strVal val="#ppt_x"/>
                                          </p:val>
                                        </p:tav>
                                      </p:tavLst>
                                    </p:anim>
                                    <p:anim calcmode="lin" valueType="num">
                                      <p:cBhvr additive="base">
                                        <p:cTn id="8" dur="500" fill="hold"/>
                                        <p:tgtEl>
                                          <p:spTgt spid="9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2"/>
                                        </p:tgtEl>
                                        <p:attrNameLst>
                                          <p:attrName>style.visibility</p:attrName>
                                        </p:attrNameLst>
                                      </p:cBhvr>
                                      <p:to>
                                        <p:strVal val="visible"/>
                                      </p:to>
                                    </p:set>
                                    <p:anim calcmode="lin" valueType="num">
                                      <p:cBhvr additive="base">
                                        <p:cTn id="11" dur="500" fill="hold"/>
                                        <p:tgtEl>
                                          <p:spTgt spid="102"/>
                                        </p:tgtEl>
                                        <p:attrNameLst>
                                          <p:attrName>ppt_x</p:attrName>
                                        </p:attrNameLst>
                                      </p:cBhvr>
                                      <p:tavLst>
                                        <p:tav tm="0">
                                          <p:val>
                                            <p:strVal val="#ppt_x"/>
                                          </p:val>
                                        </p:tav>
                                        <p:tav tm="100000">
                                          <p:val>
                                            <p:strVal val="#ppt_x"/>
                                          </p:val>
                                        </p:tav>
                                      </p:tavLst>
                                    </p:anim>
                                    <p:anim calcmode="lin" valueType="num">
                                      <p:cBhvr additive="base">
                                        <p:cTn id="12" dur="500" fill="hold"/>
                                        <p:tgtEl>
                                          <p:spTgt spid="10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92"/>
                                        </p:tgtEl>
                                        <p:attrNameLst>
                                          <p:attrName>style.visibility</p:attrName>
                                        </p:attrNameLst>
                                      </p:cBhvr>
                                      <p:to>
                                        <p:strVal val="visible"/>
                                      </p:to>
                                    </p:set>
                                    <p:anim calcmode="lin" valueType="num">
                                      <p:cBhvr additive="base">
                                        <p:cTn id="15" dur="500" fill="hold"/>
                                        <p:tgtEl>
                                          <p:spTgt spid="92"/>
                                        </p:tgtEl>
                                        <p:attrNameLst>
                                          <p:attrName>ppt_x</p:attrName>
                                        </p:attrNameLst>
                                      </p:cBhvr>
                                      <p:tavLst>
                                        <p:tav tm="0">
                                          <p:val>
                                            <p:strVal val="#ppt_x"/>
                                          </p:val>
                                        </p:tav>
                                        <p:tav tm="100000">
                                          <p:val>
                                            <p:strVal val="#ppt_x"/>
                                          </p:val>
                                        </p:tav>
                                      </p:tavLst>
                                    </p:anim>
                                    <p:anim calcmode="lin" valueType="num">
                                      <p:cBhvr additive="base">
                                        <p:cTn id="16" dur="500" fill="hold"/>
                                        <p:tgtEl>
                                          <p:spTgt spid="9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anim calcmode="lin" valueType="num">
                                      <p:cBhvr additive="base">
                                        <p:cTn id="19" dur="500" fill="hold"/>
                                        <p:tgtEl>
                                          <p:spTgt spid="91"/>
                                        </p:tgtEl>
                                        <p:attrNameLst>
                                          <p:attrName>ppt_x</p:attrName>
                                        </p:attrNameLst>
                                      </p:cBhvr>
                                      <p:tavLst>
                                        <p:tav tm="0">
                                          <p:val>
                                            <p:strVal val="#ppt_x"/>
                                          </p:val>
                                        </p:tav>
                                        <p:tav tm="100000">
                                          <p:val>
                                            <p:strVal val="#ppt_x"/>
                                          </p:val>
                                        </p:tav>
                                      </p:tavLst>
                                    </p:anim>
                                    <p:anim calcmode="lin" valueType="num">
                                      <p:cBhvr additive="base">
                                        <p:cTn id="20"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03"/>
                                        </p:tgtEl>
                                        <p:attrNameLst>
                                          <p:attrName>style.visibility</p:attrName>
                                        </p:attrNameLst>
                                      </p:cBhvr>
                                      <p:to>
                                        <p:strVal val="visible"/>
                                      </p:to>
                                    </p:set>
                                    <p:anim calcmode="lin" valueType="num">
                                      <p:cBhvr additive="base">
                                        <p:cTn id="25" dur="500" fill="hold"/>
                                        <p:tgtEl>
                                          <p:spTgt spid="103"/>
                                        </p:tgtEl>
                                        <p:attrNameLst>
                                          <p:attrName>ppt_x</p:attrName>
                                        </p:attrNameLst>
                                      </p:cBhvr>
                                      <p:tavLst>
                                        <p:tav tm="0">
                                          <p:val>
                                            <p:strVal val="#ppt_x"/>
                                          </p:val>
                                        </p:tav>
                                        <p:tav tm="100000">
                                          <p:val>
                                            <p:strVal val="#ppt_x"/>
                                          </p:val>
                                        </p:tav>
                                      </p:tavLst>
                                    </p:anim>
                                    <p:anim calcmode="lin" valueType="num">
                                      <p:cBhvr additive="base">
                                        <p:cTn id="26" dur="500" fill="hold"/>
                                        <p:tgtEl>
                                          <p:spTgt spid="103"/>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84"/>
                                        </p:tgtEl>
                                        <p:attrNameLst>
                                          <p:attrName>style.visibility</p:attrName>
                                        </p:attrNameLst>
                                      </p:cBhvr>
                                      <p:to>
                                        <p:strVal val="visible"/>
                                      </p:to>
                                    </p:set>
                                    <p:anim calcmode="lin" valueType="num">
                                      <p:cBhvr additive="base">
                                        <p:cTn id="29" dur="500" fill="hold"/>
                                        <p:tgtEl>
                                          <p:spTgt spid="84"/>
                                        </p:tgtEl>
                                        <p:attrNameLst>
                                          <p:attrName>ppt_x</p:attrName>
                                        </p:attrNameLst>
                                      </p:cBhvr>
                                      <p:tavLst>
                                        <p:tav tm="0">
                                          <p:val>
                                            <p:strVal val="#ppt_x"/>
                                          </p:val>
                                        </p:tav>
                                        <p:tav tm="100000">
                                          <p:val>
                                            <p:strVal val="#ppt_x"/>
                                          </p:val>
                                        </p:tav>
                                      </p:tavLst>
                                    </p:anim>
                                    <p:anim calcmode="lin" valueType="num">
                                      <p:cBhvr additive="base">
                                        <p:cTn id="30" dur="500" fill="hold"/>
                                        <p:tgtEl>
                                          <p:spTgt spid="84"/>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86"/>
                                        </p:tgtEl>
                                        <p:attrNameLst>
                                          <p:attrName>style.visibility</p:attrName>
                                        </p:attrNameLst>
                                      </p:cBhvr>
                                      <p:to>
                                        <p:strVal val="visible"/>
                                      </p:to>
                                    </p:set>
                                    <p:anim calcmode="lin" valueType="num">
                                      <p:cBhvr additive="base">
                                        <p:cTn id="33" dur="500" fill="hold"/>
                                        <p:tgtEl>
                                          <p:spTgt spid="86"/>
                                        </p:tgtEl>
                                        <p:attrNameLst>
                                          <p:attrName>ppt_x</p:attrName>
                                        </p:attrNameLst>
                                      </p:cBhvr>
                                      <p:tavLst>
                                        <p:tav tm="0">
                                          <p:val>
                                            <p:strVal val="#ppt_x"/>
                                          </p:val>
                                        </p:tav>
                                        <p:tav tm="100000">
                                          <p:val>
                                            <p:strVal val="#ppt_x"/>
                                          </p:val>
                                        </p:tav>
                                      </p:tavLst>
                                    </p:anim>
                                    <p:anim calcmode="lin" valueType="num">
                                      <p:cBhvr additive="base">
                                        <p:cTn id="34" dur="500" fill="hold"/>
                                        <p:tgtEl>
                                          <p:spTgt spid="86"/>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85"/>
                                        </p:tgtEl>
                                        <p:attrNameLst>
                                          <p:attrName>style.visibility</p:attrName>
                                        </p:attrNameLst>
                                      </p:cBhvr>
                                      <p:to>
                                        <p:strVal val="visible"/>
                                      </p:to>
                                    </p:set>
                                    <p:anim calcmode="lin" valueType="num">
                                      <p:cBhvr additive="base">
                                        <p:cTn id="37" dur="500" fill="hold"/>
                                        <p:tgtEl>
                                          <p:spTgt spid="85"/>
                                        </p:tgtEl>
                                        <p:attrNameLst>
                                          <p:attrName>ppt_x</p:attrName>
                                        </p:attrNameLst>
                                      </p:cBhvr>
                                      <p:tavLst>
                                        <p:tav tm="0">
                                          <p:val>
                                            <p:strVal val="#ppt_x"/>
                                          </p:val>
                                        </p:tav>
                                        <p:tav tm="100000">
                                          <p:val>
                                            <p:strVal val="#ppt_x"/>
                                          </p:val>
                                        </p:tav>
                                      </p:tavLst>
                                    </p:anim>
                                    <p:anim calcmode="lin" valueType="num">
                                      <p:cBhvr additive="base">
                                        <p:cTn id="38"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01"/>
                                        </p:tgtEl>
                                        <p:attrNameLst>
                                          <p:attrName>style.visibility</p:attrName>
                                        </p:attrNameLst>
                                      </p:cBhvr>
                                      <p:to>
                                        <p:strVal val="visible"/>
                                      </p:to>
                                    </p:set>
                                    <p:anim calcmode="lin" valueType="num">
                                      <p:cBhvr additive="base">
                                        <p:cTn id="43" dur="500" fill="hold"/>
                                        <p:tgtEl>
                                          <p:spTgt spid="101"/>
                                        </p:tgtEl>
                                        <p:attrNameLst>
                                          <p:attrName>ppt_x</p:attrName>
                                        </p:attrNameLst>
                                      </p:cBhvr>
                                      <p:tavLst>
                                        <p:tav tm="0">
                                          <p:val>
                                            <p:strVal val="#ppt_x"/>
                                          </p:val>
                                        </p:tav>
                                        <p:tav tm="100000">
                                          <p:val>
                                            <p:strVal val="#ppt_x"/>
                                          </p:val>
                                        </p:tav>
                                      </p:tavLst>
                                    </p:anim>
                                    <p:anim calcmode="lin" valueType="num">
                                      <p:cBhvr additive="base">
                                        <p:cTn id="44" dur="500" fill="hold"/>
                                        <p:tgtEl>
                                          <p:spTgt spid="101"/>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87"/>
                                        </p:tgtEl>
                                        <p:attrNameLst>
                                          <p:attrName>style.visibility</p:attrName>
                                        </p:attrNameLst>
                                      </p:cBhvr>
                                      <p:to>
                                        <p:strVal val="visible"/>
                                      </p:to>
                                    </p:set>
                                    <p:anim calcmode="lin" valueType="num">
                                      <p:cBhvr additive="base">
                                        <p:cTn id="47" dur="500" fill="hold"/>
                                        <p:tgtEl>
                                          <p:spTgt spid="87"/>
                                        </p:tgtEl>
                                        <p:attrNameLst>
                                          <p:attrName>ppt_x</p:attrName>
                                        </p:attrNameLst>
                                      </p:cBhvr>
                                      <p:tavLst>
                                        <p:tav tm="0">
                                          <p:val>
                                            <p:strVal val="#ppt_x"/>
                                          </p:val>
                                        </p:tav>
                                        <p:tav tm="100000">
                                          <p:val>
                                            <p:strVal val="#ppt_x"/>
                                          </p:val>
                                        </p:tav>
                                      </p:tavLst>
                                    </p:anim>
                                    <p:anim calcmode="lin" valueType="num">
                                      <p:cBhvr additive="base">
                                        <p:cTn id="48" dur="500" fill="hold"/>
                                        <p:tgtEl>
                                          <p:spTgt spid="87"/>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89"/>
                                        </p:tgtEl>
                                        <p:attrNameLst>
                                          <p:attrName>style.visibility</p:attrName>
                                        </p:attrNameLst>
                                      </p:cBhvr>
                                      <p:to>
                                        <p:strVal val="visible"/>
                                      </p:to>
                                    </p:set>
                                    <p:anim calcmode="lin" valueType="num">
                                      <p:cBhvr additive="base">
                                        <p:cTn id="51" dur="500" fill="hold"/>
                                        <p:tgtEl>
                                          <p:spTgt spid="89"/>
                                        </p:tgtEl>
                                        <p:attrNameLst>
                                          <p:attrName>ppt_x</p:attrName>
                                        </p:attrNameLst>
                                      </p:cBhvr>
                                      <p:tavLst>
                                        <p:tav tm="0">
                                          <p:val>
                                            <p:strVal val="#ppt_x"/>
                                          </p:val>
                                        </p:tav>
                                        <p:tav tm="100000">
                                          <p:val>
                                            <p:strVal val="#ppt_x"/>
                                          </p:val>
                                        </p:tav>
                                      </p:tavLst>
                                    </p:anim>
                                    <p:anim calcmode="lin" valueType="num">
                                      <p:cBhvr additive="base">
                                        <p:cTn id="52" dur="500" fill="hold"/>
                                        <p:tgtEl>
                                          <p:spTgt spid="89"/>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88"/>
                                        </p:tgtEl>
                                        <p:attrNameLst>
                                          <p:attrName>style.visibility</p:attrName>
                                        </p:attrNameLst>
                                      </p:cBhvr>
                                      <p:to>
                                        <p:strVal val="visible"/>
                                      </p:to>
                                    </p:set>
                                    <p:anim calcmode="lin" valueType="num">
                                      <p:cBhvr additive="base">
                                        <p:cTn id="55" dur="500" fill="hold"/>
                                        <p:tgtEl>
                                          <p:spTgt spid="88"/>
                                        </p:tgtEl>
                                        <p:attrNameLst>
                                          <p:attrName>ppt_x</p:attrName>
                                        </p:attrNameLst>
                                      </p:cBhvr>
                                      <p:tavLst>
                                        <p:tav tm="0">
                                          <p:val>
                                            <p:strVal val="#ppt_x"/>
                                          </p:val>
                                        </p:tav>
                                        <p:tav tm="100000">
                                          <p:val>
                                            <p:strVal val="#ppt_x"/>
                                          </p:val>
                                        </p:tav>
                                      </p:tavLst>
                                    </p:anim>
                                    <p:anim calcmode="lin" valueType="num">
                                      <p:cBhvr additive="base">
                                        <p:cTn id="56" dur="500" fill="hold"/>
                                        <p:tgtEl>
                                          <p:spTgt spid="88"/>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109"/>
                                        </p:tgtEl>
                                        <p:attrNameLst>
                                          <p:attrName>style.visibility</p:attrName>
                                        </p:attrNameLst>
                                      </p:cBhvr>
                                      <p:to>
                                        <p:strVal val="visible"/>
                                      </p:to>
                                    </p:set>
                                    <p:anim calcmode="lin" valueType="num">
                                      <p:cBhvr additive="base">
                                        <p:cTn id="61" dur="500" fill="hold"/>
                                        <p:tgtEl>
                                          <p:spTgt spid="109"/>
                                        </p:tgtEl>
                                        <p:attrNameLst>
                                          <p:attrName>ppt_x</p:attrName>
                                        </p:attrNameLst>
                                      </p:cBhvr>
                                      <p:tavLst>
                                        <p:tav tm="0">
                                          <p:val>
                                            <p:strVal val="#ppt_x"/>
                                          </p:val>
                                        </p:tav>
                                        <p:tav tm="100000">
                                          <p:val>
                                            <p:strVal val="#ppt_x"/>
                                          </p:val>
                                        </p:tav>
                                      </p:tavLst>
                                    </p:anim>
                                    <p:anim calcmode="lin" valueType="num">
                                      <p:cBhvr additive="base">
                                        <p:cTn id="62" dur="500" fill="hold"/>
                                        <p:tgtEl>
                                          <p:spTgt spid="109"/>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93"/>
                                        </p:tgtEl>
                                        <p:attrNameLst>
                                          <p:attrName>style.visibility</p:attrName>
                                        </p:attrNameLst>
                                      </p:cBhvr>
                                      <p:to>
                                        <p:strVal val="visible"/>
                                      </p:to>
                                    </p:set>
                                    <p:anim calcmode="lin" valueType="num">
                                      <p:cBhvr additive="base">
                                        <p:cTn id="65" dur="500" fill="hold"/>
                                        <p:tgtEl>
                                          <p:spTgt spid="93"/>
                                        </p:tgtEl>
                                        <p:attrNameLst>
                                          <p:attrName>ppt_x</p:attrName>
                                        </p:attrNameLst>
                                      </p:cBhvr>
                                      <p:tavLst>
                                        <p:tav tm="0">
                                          <p:val>
                                            <p:strVal val="#ppt_x"/>
                                          </p:val>
                                        </p:tav>
                                        <p:tav tm="100000">
                                          <p:val>
                                            <p:strVal val="#ppt_x"/>
                                          </p:val>
                                        </p:tav>
                                      </p:tavLst>
                                    </p:anim>
                                    <p:anim calcmode="lin" valueType="num">
                                      <p:cBhvr additive="base">
                                        <p:cTn id="66" dur="500" fill="hold"/>
                                        <p:tgtEl>
                                          <p:spTgt spid="93"/>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94"/>
                                        </p:tgtEl>
                                        <p:attrNameLst>
                                          <p:attrName>style.visibility</p:attrName>
                                        </p:attrNameLst>
                                      </p:cBhvr>
                                      <p:to>
                                        <p:strVal val="visible"/>
                                      </p:to>
                                    </p:set>
                                    <p:anim calcmode="lin" valueType="num">
                                      <p:cBhvr additive="base">
                                        <p:cTn id="69" dur="500" fill="hold"/>
                                        <p:tgtEl>
                                          <p:spTgt spid="94"/>
                                        </p:tgtEl>
                                        <p:attrNameLst>
                                          <p:attrName>ppt_x</p:attrName>
                                        </p:attrNameLst>
                                      </p:cBhvr>
                                      <p:tavLst>
                                        <p:tav tm="0">
                                          <p:val>
                                            <p:strVal val="#ppt_x"/>
                                          </p:val>
                                        </p:tav>
                                        <p:tav tm="100000">
                                          <p:val>
                                            <p:strVal val="#ppt_x"/>
                                          </p:val>
                                        </p:tav>
                                      </p:tavLst>
                                    </p:anim>
                                    <p:anim calcmode="lin" valueType="num">
                                      <p:cBhvr additive="base">
                                        <p:cTn id="70" dur="500" fill="hold"/>
                                        <p:tgtEl>
                                          <p:spTgt spid="94"/>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95"/>
                                        </p:tgtEl>
                                        <p:attrNameLst>
                                          <p:attrName>style.visibility</p:attrName>
                                        </p:attrNameLst>
                                      </p:cBhvr>
                                      <p:to>
                                        <p:strVal val="visible"/>
                                      </p:to>
                                    </p:set>
                                    <p:anim calcmode="lin" valueType="num">
                                      <p:cBhvr additive="base">
                                        <p:cTn id="73" dur="500" fill="hold"/>
                                        <p:tgtEl>
                                          <p:spTgt spid="95"/>
                                        </p:tgtEl>
                                        <p:attrNameLst>
                                          <p:attrName>ppt_x</p:attrName>
                                        </p:attrNameLst>
                                      </p:cBhvr>
                                      <p:tavLst>
                                        <p:tav tm="0">
                                          <p:val>
                                            <p:strVal val="#ppt_x"/>
                                          </p:val>
                                        </p:tav>
                                        <p:tav tm="100000">
                                          <p:val>
                                            <p:strVal val="#ppt_x"/>
                                          </p:val>
                                        </p:tav>
                                      </p:tavLst>
                                    </p:anim>
                                    <p:anim calcmode="lin" valueType="num">
                                      <p:cBhvr additive="base">
                                        <p:cTn id="74"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P spid="85" grpId="0"/>
      <p:bldP spid="87" grpId="0"/>
      <p:bldP spid="88" grpId="0"/>
      <p:bldP spid="90" grpId="0"/>
      <p:bldP spid="91" grpId="0"/>
      <p:bldP spid="93" grpId="0"/>
      <p:bldP spid="94" grpId="0"/>
      <p:bldP spid="101" grpId="0" animBg="1"/>
      <p:bldP spid="102" grpId="0" animBg="1"/>
      <p:bldP spid="103" grpId="0" animBg="1"/>
      <p:bldP spid="10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D94BD6-7357-4D00-B0BD-8995D355229E}"/>
              </a:ext>
            </a:extLst>
          </p:cNvPr>
          <p:cNvSpPr>
            <a:spLocks noGrp="1"/>
          </p:cNvSpPr>
          <p:nvPr>
            <p:ph type="title"/>
          </p:nvPr>
        </p:nvSpPr>
        <p:spPr/>
        <p:txBody>
          <a:bodyPr/>
          <a:lstStyle/>
          <a:p>
            <a:r>
              <a:rPr lang="en-US"/>
              <a:t>Biggest challenges with devices</a:t>
            </a:r>
          </a:p>
        </p:txBody>
      </p:sp>
      <p:sp>
        <p:nvSpPr>
          <p:cNvPr id="4" name="TextBox 3">
            <a:extLst>
              <a:ext uri="{FF2B5EF4-FFF2-40B4-BE49-F238E27FC236}">
                <a16:creationId xmlns:a16="http://schemas.microsoft.com/office/drawing/2014/main" id="{AFBC33CA-EA63-4D27-A69D-54F3F366BC2D}"/>
              </a:ext>
            </a:extLst>
          </p:cNvPr>
          <p:cNvSpPr txBox="1"/>
          <p:nvPr/>
        </p:nvSpPr>
        <p:spPr>
          <a:xfrm>
            <a:off x="1029660" y="4407971"/>
            <a:ext cx="3156527" cy="1206997"/>
          </a:xfrm>
          <a:prstGeom prst="rect">
            <a:avLst/>
          </a:prstGeom>
          <a:noFill/>
        </p:spPr>
        <p:txBody>
          <a:bodyPr wrap="square" lIns="0" tIns="0" rIns="0" bIns="0" rtlCol="0">
            <a:spAutoFit/>
          </a:bodyPr>
          <a:lstStyle/>
          <a:p>
            <a:pPr algn="ctr" defTabSz="914192"/>
            <a:r>
              <a:rPr lang="en-US" sz="1961" dirty="0">
                <a:latin typeface="Segoe UI"/>
              </a:rPr>
              <a:t>Developing and maintaining a connected, </a:t>
            </a:r>
          </a:p>
          <a:p>
            <a:pPr algn="ctr" defTabSz="914192"/>
            <a:r>
              <a:rPr lang="en-US" sz="1961" dirty="0">
                <a:latin typeface="Segoe UI"/>
              </a:rPr>
              <a:t>secure, serviceable and supportable device</a:t>
            </a:r>
          </a:p>
        </p:txBody>
      </p:sp>
      <p:sp>
        <p:nvSpPr>
          <p:cNvPr id="5" name="TextBox 4">
            <a:extLst>
              <a:ext uri="{FF2B5EF4-FFF2-40B4-BE49-F238E27FC236}">
                <a16:creationId xmlns:a16="http://schemas.microsoft.com/office/drawing/2014/main" id="{2A486805-70EA-4CFD-A201-C1624110CA05}"/>
              </a:ext>
            </a:extLst>
          </p:cNvPr>
          <p:cNvSpPr txBox="1"/>
          <p:nvPr/>
        </p:nvSpPr>
        <p:spPr>
          <a:xfrm>
            <a:off x="4647324" y="4407971"/>
            <a:ext cx="3156527" cy="603453"/>
          </a:xfrm>
          <a:prstGeom prst="rect">
            <a:avLst/>
          </a:prstGeom>
          <a:noFill/>
        </p:spPr>
        <p:txBody>
          <a:bodyPr wrap="square" lIns="0" tIns="0" rIns="0" bIns="0" rtlCol="0">
            <a:spAutoFit/>
          </a:bodyPr>
          <a:lstStyle/>
          <a:p>
            <a:pPr algn="ctr" defTabSz="914192"/>
            <a:r>
              <a:rPr lang="en-US" sz="1961">
                <a:latin typeface="Segoe UI"/>
              </a:rPr>
              <a:t>Integrating devices and their data into cloud services</a:t>
            </a:r>
          </a:p>
        </p:txBody>
      </p:sp>
      <p:sp>
        <p:nvSpPr>
          <p:cNvPr id="6" name="TextBox 5">
            <a:extLst>
              <a:ext uri="{FF2B5EF4-FFF2-40B4-BE49-F238E27FC236}">
                <a16:creationId xmlns:a16="http://schemas.microsoft.com/office/drawing/2014/main" id="{6592E97A-C818-4E40-9E4D-F035A2A6B301}"/>
              </a:ext>
            </a:extLst>
          </p:cNvPr>
          <p:cNvSpPr txBox="1"/>
          <p:nvPr/>
        </p:nvSpPr>
        <p:spPr>
          <a:xfrm>
            <a:off x="8319546" y="4407971"/>
            <a:ext cx="3156527" cy="603453"/>
          </a:xfrm>
          <a:prstGeom prst="rect">
            <a:avLst/>
          </a:prstGeom>
          <a:noFill/>
        </p:spPr>
        <p:txBody>
          <a:bodyPr wrap="square" lIns="0" tIns="0" rIns="0" bIns="0" rtlCol="0">
            <a:spAutoFit/>
          </a:bodyPr>
          <a:lstStyle/>
          <a:p>
            <a:pPr algn="ctr" defTabSz="914192"/>
            <a:r>
              <a:rPr lang="en-US" sz="1961">
                <a:latin typeface="Segoe UI"/>
              </a:rPr>
              <a:t>Out-of-the-box provisioning of devices at scale</a:t>
            </a:r>
          </a:p>
        </p:txBody>
      </p:sp>
      <p:sp>
        <p:nvSpPr>
          <p:cNvPr id="11" name="Oval 10">
            <a:extLst>
              <a:ext uri="{FF2B5EF4-FFF2-40B4-BE49-F238E27FC236}">
                <a16:creationId xmlns:a16="http://schemas.microsoft.com/office/drawing/2014/main" id="{20C385CB-FE15-4D9D-91FF-565C3FF8DA05}"/>
              </a:ext>
              <a:ext uri="{C183D7F6-B498-43B3-948B-1728B52AA6E4}">
                <adec:decorative xmlns:adec="http://schemas.microsoft.com/office/drawing/2017/decorative" val="1"/>
              </a:ext>
            </a:extLst>
          </p:cNvPr>
          <p:cNvSpPr/>
          <p:nvPr/>
        </p:nvSpPr>
        <p:spPr bwMode="auto">
          <a:xfrm>
            <a:off x="1636649" y="2082249"/>
            <a:ext cx="1942547" cy="1887813"/>
          </a:xfrm>
          <a:prstGeom prst="ellipse">
            <a:avLst/>
          </a:prstGeom>
          <a:solidFill>
            <a:srgbClr val="EBEBEB"/>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endParaRPr lang="en-US" sz="1600" b="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Oval 12">
            <a:extLst>
              <a:ext uri="{FF2B5EF4-FFF2-40B4-BE49-F238E27FC236}">
                <a16:creationId xmlns:a16="http://schemas.microsoft.com/office/drawing/2014/main" id="{B1F757E7-AA58-4E7A-A8AF-4737BE5A4278}"/>
              </a:ext>
              <a:ext uri="{C183D7F6-B498-43B3-948B-1728B52AA6E4}">
                <adec:decorative xmlns:adec="http://schemas.microsoft.com/office/drawing/2017/decorative" val="1"/>
              </a:ext>
            </a:extLst>
          </p:cNvPr>
          <p:cNvSpPr/>
          <p:nvPr/>
        </p:nvSpPr>
        <p:spPr bwMode="auto">
          <a:xfrm>
            <a:off x="5124727" y="2082250"/>
            <a:ext cx="1942547" cy="1887813"/>
          </a:xfrm>
          <a:prstGeom prst="ellipse">
            <a:avLst/>
          </a:prstGeom>
          <a:solidFill>
            <a:srgbClr val="EBEBEB"/>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endParaRPr lang="en-US" sz="1600" b="1">
              <a:gradFill flip="none" rotWithShape="1">
                <a:gsLst>
                  <a:gs pos="0">
                    <a:srgbClr val="FFFFFF"/>
                  </a:gs>
                  <a:gs pos="100000">
                    <a:srgbClr val="FFFFFF"/>
                  </a:gs>
                </a:gsLst>
                <a:path path="shape">
                  <a:fillToRect l="50000" t="50000" r="50000" b="50000"/>
                </a:path>
                <a:tileRect/>
              </a:gradFill>
              <a:latin typeface="Segoe UI Semilight"/>
              <a:ea typeface="Segoe UI" pitchFamily="34" charset="0"/>
              <a:cs typeface="Segoe UI" pitchFamily="34" charset="0"/>
            </a:endParaRPr>
          </a:p>
        </p:txBody>
      </p:sp>
      <p:sp>
        <p:nvSpPr>
          <p:cNvPr id="14" name="Oval 13">
            <a:extLst>
              <a:ext uri="{FF2B5EF4-FFF2-40B4-BE49-F238E27FC236}">
                <a16:creationId xmlns:a16="http://schemas.microsoft.com/office/drawing/2014/main" id="{6372F940-6560-498F-9822-435CED3B8F65}"/>
              </a:ext>
              <a:ext uri="{C183D7F6-B498-43B3-948B-1728B52AA6E4}">
                <adec:decorative xmlns:adec="http://schemas.microsoft.com/office/drawing/2017/decorative" val="1"/>
              </a:ext>
            </a:extLst>
          </p:cNvPr>
          <p:cNvSpPr/>
          <p:nvPr/>
        </p:nvSpPr>
        <p:spPr bwMode="auto">
          <a:xfrm>
            <a:off x="8926535" y="2082250"/>
            <a:ext cx="1942547" cy="1887813"/>
          </a:xfrm>
          <a:prstGeom prst="ellipse">
            <a:avLst/>
          </a:prstGeom>
          <a:solidFill>
            <a:srgbClr val="EBEBEB"/>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endParaRPr lang="en-US" sz="1600" b="1">
              <a:gradFill flip="none" rotWithShape="1">
                <a:gsLst>
                  <a:gs pos="0">
                    <a:srgbClr val="FFFFFF"/>
                  </a:gs>
                  <a:gs pos="100000">
                    <a:srgbClr val="FFFFFF"/>
                  </a:gs>
                </a:gsLst>
                <a:path path="circle">
                  <a:fillToRect l="100000" t="100000"/>
                </a:path>
                <a:tileRect r="-100000" b="-100000"/>
              </a:gradFill>
              <a:latin typeface="Segoe UI Semilight"/>
              <a:ea typeface="Segoe UI" pitchFamily="34" charset="0"/>
              <a:cs typeface="Segoe UI" pitchFamily="34" charset="0"/>
            </a:endParaRPr>
          </a:p>
        </p:txBody>
      </p:sp>
      <p:pic>
        <p:nvPicPr>
          <p:cNvPr id="10" name="Picture 9">
            <a:extLst>
              <a:ext uri="{FF2B5EF4-FFF2-40B4-BE49-F238E27FC236}">
                <a16:creationId xmlns:a16="http://schemas.microsoft.com/office/drawing/2014/main" id="{C0EBF9AD-5ED4-4F4A-B613-F93660982B51}"/>
              </a:ext>
            </a:extLst>
          </p:cNvPr>
          <p:cNvPicPr>
            <a:picLocks noChangeAspect="1"/>
          </p:cNvPicPr>
          <p:nvPr/>
        </p:nvPicPr>
        <p:blipFill>
          <a:blip r:embed="rId3"/>
          <a:stretch>
            <a:fillRect/>
          </a:stretch>
        </p:blipFill>
        <p:spPr>
          <a:xfrm>
            <a:off x="9427358" y="2555705"/>
            <a:ext cx="940902" cy="940902"/>
          </a:xfrm>
          <a:prstGeom prst="rect">
            <a:avLst/>
          </a:prstGeom>
        </p:spPr>
      </p:pic>
      <p:pic>
        <p:nvPicPr>
          <p:cNvPr id="15" name="Picture 14">
            <a:extLst>
              <a:ext uri="{FF2B5EF4-FFF2-40B4-BE49-F238E27FC236}">
                <a16:creationId xmlns:a16="http://schemas.microsoft.com/office/drawing/2014/main" id="{DB0A4387-BE8E-4749-9FC7-81CDAE643311}"/>
              </a:ext>
            </a:extLst>
          </p:cNvPr>
          <p:cNvPicPr>
            <a:picLocks noChangeAspect="1"/>
          </p:cNvPicPr>
          <p:nvPr/>
        </p:nvPicPr>
        <p:blipFill>
          <a:blip r:embed="rId4"/>
          <a:stretch>
            <a:fillRect/>
          </a:stretch>
        </p:blipFill>
        <p:spPr>
          <a:xfrm>
            <a:off x="5562012" y="2485514"/>
            <a:ext cx="1067977" cy="1069563"/>
          </a:xfrm>
          <a:prstGeom prst="rect">
            <a:avLst/>
          </a:prstGeom>
        </p:spPr>
      </p:pic>
      <p:pic>
        <p:nvPicPr>
          <p:cNvPr id="17" name="Picture 16">
            <a:extLst>
              <a:ext uri="{FF2B5EF4-FFF2-40B4-BE49-F238E27FC236}">
                <a16:creationId xmlns:a16="http://schemas.microsoft.com/office/drawing/2014/main" id="{E8DB8362-05CA-430F-A0DB-9EB77EC793E6}"/>
              </a:ext>
            </a:extLst>
          </p:cNvPr>
          <p:cNvPicPr>
            <a:picLocks noChangeAspect="1"/>
          </p:cNvPicPr>
          <p:nvPr/>
        </p:nvPicPr>
        <p:blipFill>
          <a:blip r:embed="rId5"/>
          <a:stretch>
            <a:fillRect/>
          </a:stretch>
        </p:blipFill>
        <p:spPr>
          <a:xfrm>
            <a:off x="2097938" y="2473998"/>
            <a:ext cx="1019969" cy="1019969"/>
          </a:xfrm>
          <a:prstGeom prst="rect">
            <a:avLst/>
          </a:prstGeom>
        </p:spPr>
      </p:pic>
      <p:sp>
        <p:nvSpPr>
          <p:cNvPr id="2" name="Rectangle 1">
            <a:extLst>
              <a:ext uri="{FF2B5EF4-FFF2-40B4-BE49-F238E27FC236}">
                <a16:creationId xmlns:a16="http://schemas.microsoft.com/office/drawing/2014/main" id="{4E9ADD9A-4179-4E4E-A0B5-3B212D80515A}"/>
              </a:ext>
            </a:extLst>
          </p:cNvPr>
          <p:cNvSpPr/>
          <p:nvPr/>
        </p:nvSpPr>
        <p:spPr>
          <a:xfrm>
            <a:off x="4231260" y="1874417"/>
            <a:ext cx="3774557" cy="3388005"/>
          </a:xfrm>
          <a:prstGeom prst="rect">
            <a:avLst/>
          </a:prstGeom>
          <a:solidFill>
            <a:schemeClr val="bg1">
              <a:alpha val="69804"/>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dirty="0">
                <a:solidFill>
                  <a:schemeClr val="tx1"/>
                </a:solidFill>
              </a:rPr>
              <a:t>IoT Hub</a:t>
            </a:r>
          </a:p>
          <a:p>
            <a:pPr algn="ctr"/>
            <a:endParaRPr lang="en-US" sz="2400" dirty="0">
              <a:solidFill>
                <a:schemeClr val="tx1"/>
              </a:solidFill>
            </a:endParaRPr>
          </a:p>
          <a:p>
            <a:pPr algn="ctr"/>
            <a:endParaRPr lang="en-US" sz="2400" dirty="0">
              <a:solidFill>
                <a:schemeClr val="tx1"/>
              </a:solidFill>
            </a:endParaRPr>
          </a:p>
          <a:p>
            <a:pPr algn="ctr"/>
            <a:endParaRPr lang="en-US" sz="2400" dirty="0">
              <a:solidFill>
                <a:schemeClr val="tx1"/>
              </a:solidFill>
            </a:endParaRPr>
          </a:p>
        </p:txBody>
      </p:sp>
      <p:sp>
        <p:nvSpPr>
          <p:cNvPr id="19" name="Rectangle 18">
            <a:extLst>
              <a:ext uri="{FF2B5EF4-FFF2-40B4-BE49-F238E27FC236}">
                <a16:creationId xmlns:a16="http://schemas.microsoft.com/office/drawing/2014/main" id="{A039CE1D-45FB-40A8-A860-155D7253D87D}"/>
              </a:ext>
            </a:extLst>
          </p:cNvPr>
          <p:cNvSpPr/>
          <p:nvPr/>
        </p:nvSpPr>
        <p:spPr>
          <a:xfrm>
            <a:off x="715928" y="1945741"/>
            <a:ext cx="3774557" cy="4072070"/>
          </a:xfrm>
          <a:prstGeom prst="rect">
            <a:avLst/>
          </a:prstGeom>
          <a:solidFill>
            <a:schemeClr val="bg1">
              <a:alpha val="69804"/>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dirty="0">
                <a:solidFill>
                  <a:schemeClr val="tx1"/>
                </a:solidFill>
              </a:rPr>
              <a:t>Open source SDKs</a:t>
            </a:r>
          </a:p>
          <a:p>
            <a:pPr algn="ctr"/>
            <a:endParaRPr lang="en-US" sz="2400" dirty="0">
              <a:solidFill>
                <a:schemeClr val="tx1"/>
              </a:solidFill>
            </a:endParaRPr>
          </a:p>
          <a:p>
            <a:pPr algn="ctr"/>
            <a:endParaRPr lang="en-US" sz="2400" dirty="0">
              <a:solidFill>
                <a:schemeClr val="tx1"/>
              </a:solidFill>
            </a:endParaRPr>
          </a:p>
          <a:p>
            <a:pPr algn="ctr"/>
            <a:endParaRPr lang="en-US" sz="2400" dirty="0">
              <a:solidFill>
                <a:schemeClr val="tx1"/>
              </a:solidFill>
            </a:endParaRPr>
          </a:p>
          <a:p>
            <a:pPr algn="ctr"/>
            <a:endParaRPr lang="en-US" sz="2400" dirty="0">
              <a:solidFill>
                <a:schemeClr val="tx1"/>
              </a:solidFill>
            </a:endParaRPr>
          </a:p>
          <a:p>
            <a:pPr algn="ctr"/>
            <a:endParaRPr lang="en-US" sz="2400" dirty="0">
              <a:solidFill>
                <a:schemeClr val="tx1"/>
              </a:solidFill>
            </a:endParaRPr>
          </a:p>
        </p:txBody>
      </p:sp>
      <p:sp>
        <p:nvSpPr>
          <p:cNvPr id="16" name="Rectangle 15">
            <a:extLst>
              <a:ext uri="{FF2B5EF4-FFF2-40B4-BE49-F238E27FC236}">
                <a16:creationId xmlns:a16="http://schemas.microsoft.com/office/drawing/2014/main" id="{39A879EE-F214-4A78-B89A-1E8470DB9078}"/>
              </a:ext>
            </a:extLst>
          </p:cNvPr>
          <p:cNvSpPr/>
          <p:nvPr/>
        </p:nvSpPr>
        <p:spPr>
          <a:xfrm>
            <a:off x="7987104" y="1850578"/>
            <a:ext cx="3774557" cy="3388005"/>
          </a:xfrm>
          <a:prstGeom prst="rect">
            <a:avLst/>
          </a:prstGeom>
          <a:solidFill>
            <a:schemeClr val="bg1">
              <a:alpha val="69804"/>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dirty="0">
                <a:solidFill>
                  <a:schemeClr val="tx1"/>
                </a:solidFill>
              </a:rPr>
              <a:t>Device Provisioning Service</a:t>
            </a:r>
          </a:p>
          <a:p>
            <a:pPr algn="ctr"/>
            <a:endParaRPr lang="en-US" sz="2400" dirty="0">
              <a:solidFill>
                <a:schemeClr val="tx1"/>
              </a:solidFill>
            </a:endParaRPr>
          </a:p>
          <a:p>
            <a:pPr algn="ctr"/>
            <a:endParaRPr lang="en-US" sz="2400" dirty="0">
              <a:solidFill>
                <a:schemeClr val="tx1"/>
              </a:solidFill>
            </a:endParaRPr>
          </a:p>
        </p:txBody>
      </p:sp>
      <p:sp>
        <p:nvSpPr>
          <p:cNvPr id="7" name="TextBox 6">
            <a:extLst>
              <a:ext uri="{FF2B5EF4-FFF2-40B4-BE49-F238E27FC236}">
                <a16:creationId xmlns:a16="http://schemas.microsoft.com/office/drawing/2014/main" id="{AE8DE88E-13D6-4DDD-81AB-F96E837E4421}"/>
              </a:ext>
            </a:extLst>
          </p:cNvPr>
          <p:cNvSpPr txBox="1"/>
          <p:nvPr/>
        </p:nvSpPr>
        <p:spPr>
          <a:xfrm>
            <a:off x="956733" y="5956196"/>
            <a:ext cx="10279994" cy="492443"/>
          </a:xfrm>
          <a:prstGeom prst="rect">
            <a:avLst/>
          </a:prstGeom>
        </p:spPr>
        <p:txBody>
          <a:bodyPr wrap="none" lIns="0" tIns="0" rIns="0" bIns="0" rtlCol="0" anchor="t" anchorCtr="0">
            <a:spAutoFit/>
          </a:bodyPr>
          <a:lstStyle/>
          <a:p>
            <a:r>
              <a:rPr lang="en-US" sz="3200" dirty="0"/>
              <a:t>But what about device management over the long-term?</a:t>
            </a:r>
          </a:p>
        </p:txBody>
      </p:sp>
    </p:spTree>
    <p:extLst>
      <p:ext uri="{BB962C8B-B14F-4D97-AF65-F5344CB8AC3E}">
        <p14:creationId xmlns:p14="http://schemas.microsoft.com/office/powerpoint/2010/main" val="351647054"/>
      </p:ext>
    </p:extLst>
  </p:cSld>
  <p:clrMapOvr>
    <a:masterClrMapping/>
  </p:clrMapOvr>
  <p:transition advClick="0" advTm="20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9" grpId="0" animBg="1"/>
      <p:bldP spid="16" grpId="0" animBg="1"/>
      <p:bldP spid="7"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41D120B1-B38F-4A76-967F-FE7686EC1290}"/>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9EB29F2-400A-4BAF-AB82-62574E32BD56}"/>
              </a:ext>
            </a:extLst>
          </p:cNvPr>
          <p:cNvSpPr>
            <a:spLocks noGrp="1"/>
          </p:cNvSpPr>
          <p:nvPr>
            <p:ph type="title"/>
          </p:nvPr>
        </p:nvSpPr>
        <p:spPr/>
        <p:txBody>
          <a:bodyPr/>
          <a:lstStyle/>
          <a:p>
            <a:r>
              <a:rPr lang="en-US" dirty="0"/>
              <a:t>IoT Device Management Lifecycle</a:t>
            </a:r>
          </a:p>
        </p:txBody>
      </p:sp>
      <p:sp>
        <p:nvSpPr>
          <p:cNvPr id="3" name="Footer Placeholder 2">
            <a:extLst>
              <a:ext uri="{FF2B5EF4-FFF2-40B4-BE49-F238E27FC236}">
                <a16:creationId xmlns:a16="http://schemas.microsoft.com/office/drawing/2014/main" id="{882808B9-190A-48DD-A4C9-831C4803B3EE}"/>
              </a:ext>
            </a:extLst>
          </p:cNvPr>
          <p:cNvSpPr>
            <a:spLocks noGrp="1"/>
          </p:cNvSpPr>
          <p:nvPr>
            <p:ph type="ftr" sz="quarter" idx="4294967295"/>
          </p:nvPr>
        </p:nvSpPr>
        <p:spPr>
          <a:xfrm>
            <a:off x="371475" y="6578600"/>
            <a:ext cx="11820525" cy="120650"/>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a:t>
            </a:r>
          </a:p>
        </p:txBody>
      </p:sp>
      <p:sp>
        <p:nvSpPr>
          <p:cNvPr id="51" name="Partial Circle 4">
            <a:extLst>
              <a:ext uri="{FF2B5EF4-FFF2-40B4-BE49-F238E27FC236}">
                <a16:creationId xmlns:a16="http://schemas.microsoft.com/office/drawing/2014/main" id="{8C101A7A-E78F-445D-A61A-83A23702EDCD}"/>
              </a:ext>
            </a:extLst>
          </p:cNvPr>
          <p:cNvSpPr txBox="1"/>
          <p:nvPr/>
        </p:nvSpPr>
        <p:spPr>
          <a:xfrm>
            <a:off x="6631818" y="2219324"/>
            <a:ext cx="523255" cy="244426"/>
          </a:xfrm>
          <a:prstGeom prst="rect">
            <a:avLst/>
          </a:prstGeom>
          <a:noFill/>
          <a:ln>
            <a:noFill/>
          </a:ln>
          <a:effectLst/>
        </p:spPr>
        <p:txBody>
          <a:bodyPr spcFirstLastPara="0" vert="horz" wrap="square" lIns="0" tIns="0" rIns="0" bIns="0" numCol="1" spcCol="1270" anchor="ctr" anchorCtr="0">
            <a:spAutoFit/>
          </a:bodyPr>
          <a:lstStyle/>
          <a:p>
            <a:pPr algn="ctr" defTabSz="871387">
              <a:lnSpc>
                <a:spcPct val="90000"/>
              </a:lnSpc>
              <a:spcBef>
                <a:spcPct val="0"/>
              </a:spcBef>
              <a:spcAft>
                <a:spcPct val="35000"/>
              </a:spcAft>
              <a:defRPr/>
            </a:pPr>
            <a:r>
              <a:rPr lang="en-US" sz="1765" kern="0" dirty="0">
                <a:solidFill>
                  <a:srgbClr val="0078D4"/>
                </a:solidFill>
                <a:latin typeface="Segoe UI Semibold" panose="020B0702040204020203" pitchFamily="34" charset="0"/>
                <a:cs typeface="Segoe UI Semibold" panose="020B0702040204020203" pitchFamily="34" charset="0"/>
              </a:rPr>
              <a:t>Plan</a:t>
            </a:r>
          </a:p>
        </p:txBody>
      </p:sp>
      <p:sp>
        <p:nvSpPr>
          <p:cNvPr id="52" name="Partial Circle 6">
            <a:extLst>
              <a:ext uri="{FF2B5EF4-FFF2-40B4-BE49-F238E27FC236}">
                <a16:creationId xmlns:a16="http://schemas.microsoft.com/office/drawing/2014/main" id="{DEF7AD83-4638-4FFF-8397-A6EFDC223C88}"/>
              </a:ext>
            </a:extLst>
          </p:cNvPr>
          <p:cNvSpPr txBox="1"/>
          <p:nvPr/>
        </p:nvSpPr>
        <p:spPr>
          <a:xfrm>
            <a:off x="6488863" y="3851190"/>
            <a:ext cx="1079206" cy="244426"/>
          </a:xfrm>
          <a:prstGeom prst="rect">
            <a:avLst/>
          </a:prstGeom>
          <a:noFill/>
          <a:ln>
            <a:noFill/>
          </a:ln>
          <a:effectLst/>
        </p:spPr>
        <p:txBody>
          <a:bodyPr spcFirstLastPara="0" vert="horz" wrap="square" lIns="0" tIns="0" rIns="0" bIns="0" numCol="1" spcCol="1270" anchor="ctr" anchorCtr="0">
            <a:spAutoFit/>
          </a:bodyPr>
          <a:lstStyle/>
          <a:p>
            <a:pPr algn="ctr" defTabSz="871387">
              <a:lnSpc>
                <a:spcPct val="90000"/>
              </a:lnSpc>
              <a:spcBef>
                <a:spcPct val="0"/>
              </a:spcBef>
              <a:spcAft>
                <a:spcPct val="35000"/>
              </a:spcAft>
              <a:defRPr/>
            </a:pPr>
            <a:r>
              <a:rPr lang="en-US" sz="1765" kern="0" dirty="0">
                <a:solidFill>
                  <a:srgbClr val="50E6FF">
                    <a:lumMod val="75000"/>
                  </a:srgbClr>
                </a:solidFill>
                <a:latin typeface="Segoe UI Semibold" panose="020B0702040204020203" pitchFamily="34" charset="0"/>
                <a:cs typeface="Segoe UI Semibold" panose="020B0702040204020203" pitchFamily="34" charset="0"/>
              </a:rPr>
              <a:t>Provision</a:t>
            </a:r>
          </a:p>
        </p:txBody>
      </p:sp>
      <p:sp>
        <p:nvSpPr>
          <p:cNvPr id="53" name="Partial Circle 8">
            <a:extLst>
              <a:ext uri="{FF2B5EF4-FFF2-40B4-BE49-F238E27FC236}">
                <a16:creationId xmlns:a16="http://schemas.microsoft.com/office/drawing/2014/main" id="{F5143083-1B82-4FD3-921E-335E6CDEE85C}"/>
              </a:ext>
            </a:extLst>
          </p:cNvPr>
          <p:cNvSpPr txBox="1"/>
          <p:nvPr/>
        </p:nvSpPr>
        <p:spPr>
          <a:xfrm>
            <a:off x="5569321" y="4816103"/>
            <a:ext cx="1034486" cy="244426"/>
          </a:xfrm>
          <a:prstGeom prst="rect">
            <a:avLst/>
          </a:prstGeom>
          <a:noFill/>
          <a:ln>
            <a:noFill/>
          </a:ln>
          <a:effectLst/>
        </p:spPr>
        <p:txBody>
          <a:bodyPr spcFirstLastPara="0" vert="horz" wrap="square" lIns="0" tIns="0" rIns="0" bIns="0" numCol="1" spcCol="1270" anchor="ctr" anchorCtr="0">
            <a:spAutoFit/>
          </a:bodyPr>
          <a:lstStyle/>
          <a:p>
            <a:pPr algn="ctr" defTabSz="871387">
              <a:lnSpc>
                <a:spcPct val="90000"/>
              </a:lnSpc>
              <a:spcBef>
                <a:spcPct val="0"/>
              </a:spcBef>
              <a:spcAft>
                <a:spcPct val="35000"/>
              </a:spcAft>
              <a:defRPr/>
            </a:pPr>
            <a:r>
              <a:rPr lang="en-US" sz="1765" kern="0" dirty="0">
                <a:solidFill>
                  <a:srgbClr val="7030A0"/>
                </a:solidFill>
                <a:latin typeface="Segoe UI Semibold" panose="020B0702040204020203" pitchFamily="34" charset="0"/>
                <a:cs typeface="Segoe UI Semibold" panose="020B0702040204020203" pitchFamily="34" charset="0"/>
              </a:rPr>
              <a:t>Configure</a:t>
            </a:r>
          </a:p>
        </p:txBody>
      </p:sp>
      <p:sp>
        <p:nvSpPr>
          <p:cNvPr id="54" name="Partial Circle 10">
            <a:extLst>
              <a:ext uri="{FF2B5EF4-FFF2-40B4-BE49-F238E27FC236}">
                <a16:creationId xmlns:a16="http://schemas.microsoft.com/office/drawing/2014/main" id="{8EEE3382-9D02-4718-B7C7-54147879AE84}"/>
              </a:ext>
            </a:extLst>
          </p:cNvPr>
          <p:cNvSpPr txBox="1"/>
          <p:nvPr/>
        </p:nvSpPr>
        <p:spPr>
          <a:xfrm>
            <a:off x="4647612" y="3851203"/>
            <a:ext cx="843891" cy="244398"/>
          </a:xfrm>
          <a:prstGeom prst="rect">
            <a:avLst/>
          </a:prstGeom>
          <a:noFill/>
          <a:ln>
            <a:noFill/>
          </a:ln>
          <a:effectLst/>
        </p:spPr>
        <p:txBody>
          <a:bodyPr spcFirstLastPara="0" vert="horz" wrap="square" lIns="0" tIns="0" rIns="0" bIns="0" numCol="1" spcCol="1270" anchor="ctr" anchorCtr="0">
            <a:spAutoFit/>
          </a:bodyPr>
          <a:lstStyle/>
          <a:p>
            <a:pPr algn="ctr" defTabSz="871387">
              <a:lnSpc>
                <a:spcPct val="90000"/>
              </a:lnSpc>
              <a:spcBef>
                <a:spcPct val="0"/>
              </a:spcBef>
              <a:spcAft>
                <a:spcPct val="35000"/>
              </a:spcAft>
              <a:defRPr/>
            </a:pPr>
            <a:r>
              <a:rPr lang="en-US" sz="1765" kern="0" dirty="0">
                <a:solidFill>
                  <a:srgbClr val="00B050"/>
                </a:solidFill>
                <a:latin typeface="Segoe UI Semibold" panose="020B0702040204020203" pitchFamily="34" charset="0"/>
                <a:cs typeface="Segoe UI Semibold" panose="020B0702040204020203" pitchFamily="34" charset="0"/>
              </a:rPr>
              <a:t>Monitor</a:t>
            </a:r>
          </a:p>
        </p:txBody>
      </p:sp>
      <p:sp>
        <p:nvSpPr>
          <p:cNvPr id="55" name="Partial Circle 12">
            <a:extLst>
              <a:ext uri="{FF2B5EF4-FFF2-40B4-BE49-F238E27FC236}">
                <a16:creationId xmlns:a16="http://schemas.microsoft.com/office/drawing/2014/main" id="{F8EF66E4-57DB-46BC-A224-A3EED55D2AB2}"/>
              </a:ext>
            </a:extLst>
          </p:cNvPr>
          <p:cNvSpPr txBox="1"/>
          <p:nvPr/>
        </p:nvSpPr>
        <p:spPr>
          <a:xfrm>
            <a:off x="5060039" y="2219336"/>
            <a:ext cx="816059" cy="244398"/>
          </a:xfrm>
          <a:prstGeom prst="rect">
            <a:avLst/>
          </a:prstGeom>
          <a:noFill/>
          <a:ln>
            <a:noFill/>
          </a:ln>
          <a:effectLst/>
        </p:spPr>
        <p:txBody>
          <a:bodyPr spcFirstLastPara="0" vert="horz" wrap="square" lIns="0" tIns="0" rIns="0" bIns="0" numCol="1" spcCol="1270" anchor="ctr" anchorCtr="0">
            <a:spAutoFit/>
          </a:bodyPr>
          <a:lstStyle/>
          <a:p>
            <a:pPr algn="ctr" defTabSz="871387">
              <a:lnSpc>
                <a:spcPct val="90000"/>
              </a:lnSpc>
              <a:spcBef>
                <a:spcPct val="0"/>
              </a:spcBef>
              <a:spcAft>
                <a:spcPct val="35000"/>
              </a:spcAft>
              <a:defRPr/>
            </a:pPr>
            <a:r>
              <a:rPr lang="en-US" sz="1765" kern="0" dirty="0">
                <a:solidFill>
                  <a:srgbClr val="FFC000"/>
                </a:solidFill>
                <a:latin typeface="Segoe UI Semibold" panose="020B0702040204020203" pitchFamily="34" charset="0"/>
                <a:cs typeface="Segoe UI Semibold" panose="020B0702040204020203" pitchFamily="34" charset="0"/>
              </a:rPr>
              <a:t>Retire</a:t>
            </a:r>
          </a:p>
        </p:txBody>
      </p:sp>
      <p:grpSp>
        <p:nvGrpSpPr>
          <p:cNvPr id="56" name="Group 55">
            <a:extLst>
              <a:ext uri="{FF2B5EF4-FFF2-40B4-BE49-F238E27FC236}">
                <a16:creationId xmlns:a16="http://schemas.microsoft.com/office/drawing/2014/main" id="{0E4D2D33-1CED-43F0-860F-F1710EB914DA}"/>
              </a:ext>
            </a:extLst>
          </p:cNvPr>
          <p:cNvGrpSpPr/>
          <p:nvPr/>
        </p:nvGrpSpPr>
        <p:grpSpPr>
          <a:xfrm>
            <a:off x="1762148" y="1643580"/>
            <a:ext cx="2824272" cy="537778"/>
            <a:chOff x="1796853" y="2033740"/>
            <a:chExt cx="2881314" cy="548640"/>
          </a:xfrm>
        </p:grpSpPr>
        <p:sp>
          <p:nvSpPr>
            <p:cNvPr id="57" name="Rectangle 56">
              <a:extLst>
                <a:ext uri="{FF2B5EF4-FFF2-40B4-BE49-F238E27FC236}">
                  <a16:creationId xmlns:a16="http://schemas.microsoft.com/office/drawing/2014/main" id="{1116316B-90AD-4732-AEDF-704491D780E2}"/>
                </a:ext>
              </a:extLst>
            </p:cNvPr>
            <p:cNvSpPr/>
            <p:nvPr/>
          </p:nvSpPr>
          <p:spPr>
            <a:xfrm>
              <a:off x="1796853" y="2058761"/>
              <a:ext cx="2234458" cy="498072"/>
            </a:xfrm>
            <a:prstGeom prst="rect">
              <a:avLst/>
            </a:prstGeom>
          </p:spPr>
          <p:txBody>
            <a:bodyPr wrap="square" lIns="0" tIns="0" rIns="0" bIns="0" anchor="t">
              <a:spAutoFit/>
            </a:bodyPr>
            <a:lstStyle/>
            <a:p>
              <a:pPr algn="r" defTabSz="854230">
                <a:lnSpc>
                  <a:spcPct val="90000"/>
                </a:lnSpc>
                <a:spcBef>
                  <a:spcPct val="0"/>
                </a:spcBef>
                <a:spcAft>
                  <a:spcPct val="35000"/>
                </a:spcAft>
                <a:defRPr/>
              </a:pPr>
              <a:r>
                <a:rPr lang="en-US" sz="1175" kern="0" dirty="0">
                  <a:solidFill>
                    <a:srgbClr val="FFC000"/>
                  </a:solidFill>
                  <a:cs typeface="Segoe UI" panose="020B0502040204020203" pitchFamily="34" charset="0"/>
                </a:rPr>
                <a:t>Replace or decommission devices after failure, upgrade cycle or service lifetime</a:t>
              </a:r>
            </a:p>
          </p:txBody>
        </p:sp>
        <p:grpSp>
          <p:nvGrpSpPr>
            <p:cNvPr id="58" name="Group 57">
              <a:extLst>
                <a:ext uri="{FF2B5EF4-FFF2-40B4-BE49-F238E27FC236}">
                  <a16:creationId xmlns:a16="http://schemas.microsoft.com/office/drawing/2014/main" id="{137C63D3-B5EB-4790-96B4-487DF32101E7}"/>
                </a:ext>
              </a:extLst>
            </p:cNvPr>
            <p:cNvGrpSpPr/>
            <p:nvPr/>
          </p:nvGrpSpPr>
          <p:grpSpPr>
            <a:xfrm>
              <a:off x="4129527" y="2033740"/>
              <a:ext cx="548640" cy="548640"/>
              <a:chOff x="2677207" y="2283429"/>
              <a:chExt cx="731520" cy="731520"/>
            </a:xfrm>
          </p:grpSpPr>
          <p:sp>
            <p:nvSpPr>
              <p:cNvPr id="59" name="Oval 58">
                <a:extLst>
                  <a:ext uri="{FF2B5EF4-FFF2-40B4-BE49-F238E27FC236}">
                    <a16:creationId xmlns:a16="http://schemas.microsoft.com/office/drawing/2014/main" id="{D32BD5F0-9613-436E-95D1-756355E234E6}"/>
                  </a:ext>
                </a:extLst>
              </p:cNvPr>
              <p:cNvSpPr>
                <a:spLocks noChangeAspect="1"/>
              </p:cNvSpPr>
              <p:nvPr/>
            </p:nvSpPr>
            <p:spPr bwMode="auto">
              <a:xfrm>
                <a:off x="2677207" y="2283429"/>
                <a:ext cx="731520" cy="731520"/>
              </a:xfrm>
              <a:prstGeom prst="ellipse">
                <a:avLst/>
              </a:prstGeom>
              <a:solidFill>
                <a:srgbClr val="FFC000"/>
              </a:solidFill>
              <a:ln w="190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plug" title="Icon of a power plug showing an A to B connection">
                <a:extLst>
                  <a:ext uri="{FF2B5EF4-FFF2-40B4-BE49-F238E27FC236}">
                    <a16:creationId xmlns:a16="http://schemas.microsoft.com/office/drawing/2014/main" id="{2B5D03B5-7738-4948-ACC0-656D629A9A8F}"/>
                  </a:ext>
                </a:extLst>
              </p:cNvPr>
              <p:cNvSpPr>
                <a:spLocks noChangeAspect="1" noEditPoints="1"/>
              </p:cNvSpPr>
              <p:nvPr/>
            </p:nvSpPr>
            <p:spPr bwMode="auto">
              <a:xfrm>
                <a:off x="2850032" y="2466309"/>
                <a:ext cx="385870"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192">
                  <a:defRPr/>
                </a:pPr>
                <a:endParaRPr lang="en-US" sz="883" kern="0">
                  <a:gradFill>
                    <a:gsLst>
                      <a:gs pos="0">
                        <a:srgbClr val="505050"/>
                      </a:gs>
                      <a:gs pos="100000">
                        <a:srgbClr val="505050"/>
                      </a:gs>
                    </a:gsLst>
                    <a:lin ang="5400000" scaled="1"/>
                  </a:gradFill>
                </a:endParaRPr>
              </a:p>
            </p:txBody>
          </p:sp>
        </p:grpSp>
      </p:grpSp>
      <p:grpSp>
        <p:nvGrpSpPr>
          <p:cNvPr id="61" name="Group 60">
            <a:extLst>
              <a:ext uri="{FF2B5EF4-FFF2-40B4-BE49-F238E27FC236}">
                <a16:creationId xmlns:a16="http://schemas.microsoft.com/office/drawing/2014/main" id="{CB88F897-4B19-4A1E-9D1D-8257A988EAB1}"/>
              </a:ext>
            </a:extLst>
          </p:cNvPr>
          <p:cNvGrpSpPr/>
          <p:nvPr/>
        </p:nvGrpSpPr>
        <p:grpSpPr>
          <a:xfrm>
            <a:off x="7508987" y="1640953"/>
            <a:ext cx="2811869" cy="542456"/>
            <a:chOff x="7659761" y="2031061"/>
            <a:chExt cx="2868660" cy="553411"/>
          </a:xfrm>
        </p:grpSpPr>
        <p:sp>
          <p:nvSpPr>
            <p:cNvPr id="62" name="Rectangle 61">
              <a:extLst>
                <a:ext uri="{FF2B5EF4-FFF2-40B4-BE49-F238E27FC236}">
                  <a16:creationId xmlns:a16="http://schemas.microsoft.com/office/drawing/2014/main" id="{66FB3FD1-576E-4A3C-8E55-2FE27F5BE486}"/>
                </a:ext>
              </a:extLst>
            </p:cNvPr>
            <p:cNvSpPr/>
            <p:nvPr/>
          </p:nvSpPr>
          <p:spPr>
            <a:xfrm>
              <a:off x="8324910" y="2031061"/>
              <a:ext cx="2203511" cy="553411"/>
            </a:xfrm>
            <a:prstGeom prst="rect">
              <a:avLst/>
            </a:prstGeom>
          </p:spPr>
          <p:txBody>
            <a:bodyPr wrap="square" lIns="0" tIns="0" rIns="0" bIns="0" anchor="t">
              <a:spAutoFit/>
            </a:bodyPr>
            <a:lstStyle/>
            <a:p>
              <a:pPr defTabSz="914261">
                <a:defRPr/>
              </a:pPr>
              <a:r>
                <a:rPr lang="en-US" sz="1175" kern="0">
                  <a:solidFill>
                    <a:srgbClr val="0078D4"/>
                  </a:solidFill>
                  <a:cs typeface="Segoe UI" panose="020B0502040204020203" pitchFamily="34" charset="0"/>
                </a:rPr>
                <a:t>Group devices and control access according to your organization's needs</a:t>
              </a:r>
            </a:p>
          </p:txBody>
        </p:sp>
        <p:grpSp>
          <p:nvGrpSpPr>
            <p:cNvPr id="63" name="Group 62">
              <a:extLst>
                <a:ext uri="{FF2B5EF4-FFF2-40B4-BE49-F238E27FC236}">
                  <a16:creationId xmlns:a16="http://schemas.microsoft.com/office/drawing/2014/main" id="{1853411B-9C23-4C95-A564-535D290295B9}"/>
                </a:ext>
              </a:extLst>
            </p:cNvPr>
            <p:cNvGrpSpPr/>
            <p:nvPr/>
          </p:nvGrpSpPr>
          <p:grpSpPr>
            <a:xfrm>
              <a:off x="7659761" y="2033740"/>
              <a:ext cx="548640" cy="548640"/>
              <a:chOff x="7591347" y="1535710"/>
              <a:chExt cx="731520" cy="731520"/>
            </a:xfrm>
          </p:grpSpPr>
          <p:sp>
            <p:nvSpPr>
              <p:cNvPr id="64" name="Oval 63">
                <a:extLst>
                  <a:ext uri="{FF2B5EF4-FFF2-40B4-BE49-F238E27FC236}">
                    <a16:creationId xmlns:a16="http://schemas.microsoft.com/office/drawing/2014/main" id="{949A3859-A8FE-44B7-98A7-C97F44BEFB04}"/>
                  </a:ext>
                </a:extLst>
              </p:cNvPr>
              <p:cNvSpPr>
                <a:spLocks noChangeAspect="1"/>
              </p:cNvSpPr>
              <p:nvPr/>
            </p:nvSpPr>
            <p:spPr bwMode="auto">
              <a:xfrm>
                <a:off x="7591347" y="1535710"/>
                <a:ext cx="731520" cy="731520"/>
              </a:xfrm>
              <a:prstGeom prst="ellipse">
                <a:avLst/>
              </a:prstGeom>
              <a:solidFill>
                <a:srgbClr val="0070C0"/>
              </a:solidFill>
              <a:ln w="190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Trackers_EADF_bidi" title="Icon of a clipboard with a checklist on it">
                <a:extLst>
                  <a:ext uri="{FF2B5EF4-FFF2-40B4-BE49-F238E27FC236}">
                    <a16:creationId xmlns:a16="http://schemas.microsoft.com/office/drawing/2014/main" id="{D5396E2C-869A-4841-A708-F8AB2CAEFAAC}"/>
                  </a:ext>
                </a:extLst>
              </p:cNvPr>
              <p:cNvSpPr>
                <a:spLocks noChangeAspect="1" noEditPoints="1"/>
              </p:cNvSpPr>
              <p:nvPr/>
            </p:nvSpPr>
            <p:spPr bwMode="auto">
              <a:xfrm>
                <a:off x="7822986" y="1709065"/>
                <a:ext cx="268243"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192">
                  <a:defRPr/>
                </a:pPr>
                <a:endParaRPr lang="en-US" sz="1765" kern="0">
                  <a:solidFill>
                    <a:srgbClr val="000000"/>
                  </a:solidFill>
                </a:endParaRPr>
              </a:p>
            </p:txBody>
          </p:sp>
        </p:grpSp>
      </p:grpSp>
      <p:grpSp>
        <p:nvGrpSpPr>
          <p:cNvPr id="66" name="Group 65">
            <a:extLst>
              <a:ext uri="{FF2B5EF4-FFF2-40B4-BE49-F238E27FC236}">
                <a16:creationId xmlns:a16="http://schemas.microsoft.com/office/drawing/2014/main" id="{8DC22C88-EE26-4A04-8041-A7B1AA0459BF}"/>
              </a:ext>
            </a:extLst>
          </p:cNvPr>
          <p:cNvGrpSpPr>
            <a:grpSpLocks noChangeAspect="1"/>
          </p:cNvGrpSpPr>
          <p:nvPr/>
        </p:nvGrpSpPr>
        <p:grpSpPr>
          <a:xfrm>
            <a:off x="4079331" y="1525077"/>
            <a:ext cx="4033340" cy="4033340"/>
            <a:chOff x="3880525" y="1455782"/>
            <a:chExt cx="4663440" cy="4625264"/>
          </a:xfrm>
        </p:grpSpPr>
        <p:sp>
          <p:nvSpPr>
            <p:cNvPr id="67" name="Arrow: Circular 66">
              <a:extLst>
                <a:ext uri="{FF2B5EF4-FFF2-40B4-BE49-F238E27FC236}">
                  <a16:creationId xmlns:a16="http://schemas.microsoft.com/office/drawing/2014/main" id="{C3B200DF-2AF2-4FFF-85F4-450C35F90BDA}"/>
                </a:ext>
              </a:extLst>
            </p:cNvPr>
            <p:cNvSpPr/>
            <p:nvPr/>
          </p:nvSpPr>
          <p:spPr>
            <a:xfrm>
              <a:off x="4026862" y="1455782"/>
              <a:ext cx="4482451" cy="4454288"/>
            </a:xfrm>
            <a:prstGeom prst="circularArrow">
              <a:avLst>
                <a:gd name="adj1" fmla="val 5085"/>
                <a:gd name="adj2" fmla="val 327528"/>
                <a:gd name="adj3" fmla="val 20192361"/>
                <a:gd name="adj4" fmla="val 16200324"/>
                <a:gd name="adj5" fmla="val 5932"/>
              </a:avLst>
            </a:prstGeom>
            <a:solidFill>
              <a:srgbClr val="0078D4"/>
            </a:solidFill>
            <a:ln>
              <a:noFill/>
            </a:ln>
            <a:effectLst/>
          </p:spPr>
        </p:sp>
        <p:sp>
          <p:nvSpPr>
            <p:cNvPr id="68" name="Arrow: Circular 67">
              <a:extLst>
                <a:ext uri="{FF2B5EF4-FFF2-40B4-BE49-F238E27FC236}">
                  <a16:creationId xmlns:a16="http://schemas.microsoft.com/office/drawing/2014/main" id="{DCEDD49F-695C-487F-B37F-BE2D0D2396B4}"/>
                </a:ext>
              </a:extLst>
            </p:cNvPr>
            <p:cNvSpPr/>
            <p:nvPr/>
          </p:nvSpPr>
          <p:spPr>
            <a:xfrm>
              <a:off x="4061514" y="1561443"/>
              <a:ext cx="4482451" cy="4454288"/>
            </a:xfrm>
            <a:prstGeom prst="circularArrow">
              <a:avLst>
                <a:gd name="adj1" fmla="val 5085"/>
                <a:gd name="adj2" fmla="val 327528"/>
                <a:gd name="adj3" fmla="val 2912753"/>
                <a:gd name="adj4" fmla="val 20519953"/>
                <a:gd name="adj5" fmla="val 5932"/>
              </a:avLst>
            </a:prstGeom>
            <a:solidFill>
              <a:srgbClr val="50E6FF"/>
            </a:solidFill>
            <a:ln>
              <a:noFill/>
            </a:ln>
            <a:effectLst/>
          </p:spPr>
        </p:sp>
        <p:sp>
          <p:nvSpPr>
            <p:cNvPr id="69" name="Arrow: Circular 68">
              <a:extLst>
                <a:ext uri="{FF2B5EF4-FFF2-40B4-BE49-F238E27FC236}">
                  <a16:creationId xmlns:a16="http://schemas.microsoft.com/office/drawing/2014/main" id="{53FE4486-165C-4339-B113-90327EC358FF}"/>
                </a:ext>
              </a:extLst>
            </p:cNvPr>
            <p:cNvSpPr/>
            <p:nvPr/>
          </p:nvSpPr>
          <p:spPr>
            <a:xfrm>
              <a:off x="3971019" y="1626758"/>
              <a:ext cx="4482451" cy="4454288"/>
            </a:xfrm>
            <a:prstGeom prst="circularArrow">
              <a:avLst>
                <a:gd name="adj1" fmla="val 5085"/>
                <a:gd name="adj2" fmla="val 327528"/>
                <a:gd name="adj3" fmla="val 7232777"/>
                <a:gd name="adj4" fmla="val 3239695"/>
                <a:gd name="adj5" fmla="val 5932"/>
              </a:avLst>
            </a:prstGeom>
            <a:solidFill>
              <a:srgbClr val="7030A0"/>
            </a:solidFill>
            <a:ln>
              <a:noFill/>
            </a:ln>
            <a:effectLst/>
          </p:spPr>
        </p:sp>
        <p:sp>
          <p:nvSpPr>
            <p:cNvPr id="70" name="Arrow: Circular 69">
              <a:extLst>
                <a:ext uri="{FF2B5EF4-FFF2-40B4-BE49-F238E27FC236}">
                  <a16:creationId xmlns:a16="http://schemas.microsoft.com/office/drawing/2014/main" id="{7A0D0827-ED41-4D80-A177-621F449A57B4}"/>
                </a:ext>
              </a:extLst>
            </p:cNvPr>
            <p:cNvSpPr/>
            <p:nvPr/>
          </p:nvSpPr>
          <p:spPr>
            <a:xfrm>
              <a:off x="3880525" y="1561443"/>
              <a:ext cx="4482451" cy="4454288"/>
            </a:xfrm>
            <a:prstGeom prst="circularArrow">
              <a:avLst>
                <a:gd name="adj1" fmla="val 5085"/>
                <a:gd name="adj2" fmla="val 327528"/>
                <a:gd name="adj3" fmla="val 11552519"/>
                <a:gd name="adj4" fmla="val 7559718"/>
                <a:gd name="adj5" fmla="val 5932"/>
              </a:avLst>
            </a:prstGeom>
            <a:solidFill>
              <a:srgbClr val="00B050"/>
            </a:solidFill>
            <a:ln>
              <a:noFill/>
            </a:ln>
            <a:effectLst/>
          </p:spPr>
        </p:sp>
        <p:sp>
          <p:nvSpPr>
            <p:cNvPr id="71" name="Arrow: Circular 70">
              <a:extLst>
                <a:ext uri="{FF2B5EF4-FFF2-40B4-BE49-F238E27FC236}">
                  <a16:creationId xmlns:a16="http://schemas.microsoft.com/office/drawing/2014/main" id="{812EDB0C-16D0-4BD5-B437-1E9FD1E2E10C}"/>
                </a:ext>
              </a:extLst>
            </p:cNvPr>
            <p:cNvSpPr/>
            <p:nvPr/>
          </p:nvSpPr>
          <p:spPr>
            <a:xfrm>
              <a:off x="3915177" y="1455782"/>
              <a:ext cx="4482451" cy="4454288"/>
            </a:xfrm>
            <a:prstGeom prst="circularArrow">
              <a:avLst>
                <a:gd name="adj1" fmla="val 5085"/>
                <a:gd name="adj2" fmla="val 327528"/>
                <a:gd name="adj3" fmla="val 15872148"/>
                <a:gd name="adj4" fmla="val 11880111"/>
                <a:gd name="adj5" fmla="val 5932"/>
              </a:avLst>
            </a:prstGeom>
            <a:solidFill>
              <a:srgbClr val="FFC000"/>
            </a:solidFill>
            <a:ln>
              <a:noFill/>
            </a:ln>
            <a:effectLst/>
          </p:spPr>
          <p:txBody>
            <a:bodyPr/>
            <a:lstStyle/>
            <a:p>
              <a:endParaRPr lang="en-US" dirty="0"/>
            </a:p>
          </p:txBody>
        </p:sp>
      </p:grpSp>
      <p:grpSp>
        <p:nvGrpSpPr>
          <p:cNvPr id="72" name="Group 71">
            <a:extLst>
              <a:ext uri="{FF2B5EF4-FFF2-40B4-BE49-F238E27FC236}">
                <a16:creationId xmlns:a16="http://schemas.microsoft.com/office/drawing/2014/main" id="{DDFB621F-953B-4DC4-A44E-50EFF5086B3B}"/>
              </a:ext>
            </a:extLst>
          </p:cNvPr>
          <p:cNvGrpSpPr/>
          <p:nvPr/>
        </p:nvGrpSpPr>
        <p:grpSpPr>
          <a:xfrm>
            <a:off x="5876099" y="5559377"/>
            <a:ext cx="3050399" cy="547304"/>
            <a:chOff x="5993893" y="6028620"/>
            <a:chExt cx="3112008" cy="558357"/>
          </a:xfrm>
        </p:grpSpPr>
        <p:sp>
          <p:nvSpPr>
            <p:cNvPr id="73" name="Rectangle 72">
              <a:extLst>
                <a:ext uri="{FF2B5EF4-FFF2-40B4-BE49-F238E27FC236}">
                  <a16:creationId xmlns:a16="http://schemas.microsoft.com/office/drawing/2014/main" id="{0DC93D3F-8E40-458E-9069-FBCBBF8CF742}"/>
                </a:ext>
              </a:extLst>
            </p:cNvPr>
            <p:cNvSpPr/>
            <p:nvPr/>
          </p:nvSpPr>
          <p:spPr>
            <a:xfrm>
              <a:off x="6665198" y="6028620"/>
              <a:ext cx="2440703" cy="553411"/>
            </a:xfrm>
            <a:prstGeom prst="rect">
              <a:avLst/>
            </a:prstGeom>
          </p:spPr>
          <p:txBody>
            <a:bodyPr wrap="square" lIns="0" tIns="0" rIns="0" bIns="0" anchor="t">
              <a:spAutoFit/>
            </a:bodyPr>
            <a:lstStyle/>
            <a:p>
              <a:pPr defTabSz="914261">
                <a:defRPr/>
              </a:pPr>
              <a:r>
                <a:rPr lang="en-US" sz="1175" kern="0">
                  <a:solidFill>
                    <a:srgbClr val="7030A0"/>
                  </a:solidFill>
                  <a:cs typeface="Segoe UI" panose="020B0502040204020203" pitchFamily="34" charset="0"/>
                </a:rPr>
                <a:t>Provide updates, configuration and applications to assign the purpose of each device</a:t>
              </a:r>
            </a:p>
          </p:txBody>
        </p:sp>
        <p:grpSp>
          <p:nvGrpSpPr>
            <p:cNvPr id="74" name="Group 73">
              <a:extLst>
                <a:ext uri="{FF2B5EF4-FFF2-40B4-BE49-F238E27FC236}">
                  <a16:creationId xmlns:a16="http://schemas.microsoft.com/office/drawing/2014/main" id="{1A081E10-9BD8-4585-97B1-B539D44884F4}"/>
                </a:ext>
              </a:extLst>
            </p:cNvPr>
            <p:cNvGrpSpPr/>
            <p:nvPr/>
          </p:nvGrpSpPr>
          <p:grpSpPr>
            <a:xfrm>
              <a:off x="5993893" y="6043182"/>
              <a:ext cx="547234" cy="543795"/>
              <a:chOff x="5621953" y="5964865"/>
              <a:chExt cx="731520" cy="731520"/>
            </a:xfrm>
          </p:grpSpPr>
          <p:sp>
            <p:nvSpPr>
              <p:cNvPr id="75" name="Oval 74">
                <a:extLst>
                  <a:ext uri="{FF2B5EF4-FFF2-40B4-BE49-F238E27FC236}">
                    <a16:creationId xmlns:a16="http://schemas.microsoft.com/office/drawing/2014/main" id="{4AD6D4CC-118A-4C7D-A3E3-328001FDD343}"/>
                  </a:ext>
                </a:extLst>
              </p:cNvPr>
              <p:cNvSpPr>
                <a:spLocks noChangeAspect="1"/>
              </p:cNvSpPr>
              <p:nvPr/>
            </p:nvSpPr>
            <p:spPr bwMode="auto">
              <a:xfrm>
                <a:off x="5621953" y="5964865"/>
                <a:ext cx="731520" cy="731520"/>
              </a:xfrm>
              <a:prstGeom prst="ellipse">
                <a:avLst/>
              </a:prstGeom>
              <a:solidFill>
                <a:srgbClr val="7030A0"/>
              </a:solidFill>
              <a:ln w="190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Touchscreen" title="Icon of a closed hand with one finger touching a screen">
                <a:extLst>
                  <a:ext uri="{FF2B5EF4-FFF2-40B4-BE49-F238E27FC236}">
                    <a16:creationId xmlns:a16="http://schemas.microsoft.com/office/drawing/2014/main" id="{A5794AD2-6573-4734-A99D-FD75FB829B39}"/>
                  </a:ext>
                </a:extLst>
              </p:cNvPr>
              <p:cNvSpPr>
                <a:spLocks noChangeAspect="1" noEditPoints="1"/>
              </p:cNvSpPr>
              <p:nvPr/>
            </p:nvSpPr>
            <p:spPr bwMode="auto">
              <a:xfrm>
                <a:off x="5787804" y="6185125"/>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192">
                  <a:defRPr/>
                </a:pPr>
                <a:endParaRPr lang="en-US" sz="883" kern="0">
                  <a:gradFill>
                    <a:gsLst>
                      <a:gs pos="0">
                        <a:srgbClr val="505050"/>
                      </a:gs>
                      <a:gs pos="100000">
                        <a:srgbClr val="505050"/>
                      </a:gs>
                    </a:gsLst>
                  </a:gradFill>
                </a:endParaRPr>
              </a:p>
            </p:txBody>
          </p:sp>
        </p:grpSp>
      </p:grpSp>
      <p:grpSp>
        <p:nvGrpSpPr>
          <p:cNvPr id="77" name="Group 76">
            <a:extLst>
              <a:ext uri="{FF2B5EF4-FFF2-40B4-BE49-F238E27FC236}">
                <a16:creationId xmlns:a16="http://schemas.microsoft.com/office/drawing/2014/main" id="{CC9094C6-400E-4B2B-B57C-CA8C3EA28E00}"/>
              </a:ext>
            </a:extLst>
          </p:cNvPr>
          <p:cNvGrpSpPr/>
          <p:nvPr/>
        </p:nvGrpSpPr>
        <p:grpSpPr>
          <a:xfrm>
            <a:off x="8099512" y="3701889"/>
            <a:ext cx="2694273" cy="542730"/>
            <a:chOff x="8262212" y="4133622"/>
            <a:chExt cx="2748688" cy="553691"/>
          </a:xfrm>
        </p:grpSpPr>
        <p:sp>
          <p:nvSpPr>
            <p:cNvPr id="78" name="Rectangle 77">
              <a:extLst>
                <a:ext uri="{FF2B5EF4-FFF2-40B4-BE49-F238E27FC236}">
                  <a16:creationId xmlns:a16="http://schemas.microsoft.com/office/drawing/2014/main" id="{54F5D184-3F0B-4803-A9FA-5F5206141AD4}"/>
                </a:ext>
              </a:extLst>
            </p:cNvPr>
            <p:cNvSpPr/>
            <p:nvPr/>
          </p:nvSpPr>
          <p:spPr>
            <a:xfrm>
              <a:off x="8976554" y="4133622"/>
              <a:ext cx="2034346" cy="553691"/>
            </a:xfrm>
            <a:prstGeom prst="rect">
              <a:avLst/>
            </a:prstGeom>
          </p:spPr>
          <p:txBody>
            <a:bodyPr wrap="square" lIns="0" tIns="0" rIns="0" bIns="0" anchor="t">
              <a:spAutoFit/>
            </a:bodyPr>
            <a:lstStyle/>
            <a:p>
              <a:pPr defTabSz="914261">
                <a:defRPr/>
              </a:pPr>
              <a:r>
                <a:rPr lang="en-US" sz="1175" kern="0">
                  <a:solidFill>
                    <a:srgbClr val="50E6FF">
                      <a:lumMod val="75000"/>
                    </a:srgbClr>
                  </a:solidFill>
                  <a:cs typeface="Segoe UI" panose="020B0502040204020203" pitchFamily="34" charset="0"/>
                </a:rPr>
                <a:t>Securely authenticate devices, on-board for management and provision for service</a:t>
              </a:r>
            </a:p>
          </p:txBody>
        </p:sp>
        <p:grpSp>
          <p:nvGrpSpPr>
            <p:cNvPr id="79" name="Group 78">
              <a:extLst>
                <a:ext uri="{FF2B5EF4-FFF2-40B4-BE49-F238E27FC236}">
                  <a16:creationId xmlns:a16="http://schemas.microsoft.com/office/drawing/2014/main" id="{917ED397-102D-415A-8C87-0CB4031A33BD}"/>
                </a:ext>
              </a:extLst>
            </p:cNvPr>
            <p:cNvGrpSpPr/>
            <p:nvPr/>
          </p:nvGrpSpPr>
          <p:grpSpPr>
            <a:xfrm>
              <a:off x="8262212" y="4136301"/>
              <a:ext cx="548640" cy="548640"/>
              <a:chOff x="8155046" y="4289191"/>
              <a:chExt cx="731520" cy="731520"/>
            </a:xfrm>
          </p:grpSpPr>
          <p:sp>
            <p:nvSpPr>
              <p:cNvPr id="80" name="Oval 79">
                <a:extLst>
                  <a:ext uri="{FF2B5EF4-FFF2-40B4-BE49-F238E27FC236}">
                    <a16:creationId xmlns:a16="http://schemas.microsoft.com/office/drawing/2014/main" id="{FBBE4B73-3F69-47FA-A147-DEF485109A0B}"/>
                  </a:ext>
                </a:extLst>
              </p:cNvPr>
              <p:cNvSpPr>
                <a:spLocks noChangeAspect="1"/>
              </p:cNvSpPr>
              <p:nvPr/>
            </p:nvSpPr>
            <p:spPr bwMode="auto">
              <a:xfrm>
                <a:off x="8155046" y="4289191"/>
                <a:ext cx="731520" cy="731520"/>
              </a:xfrm>
              <a:prstGeom prst="ellipse">
                <a:avLst/>
              </a:prstGeom>
              <a:solidFill>
                <a:srgbClr val="50E6FF">
                  <a:lumMod val="75000"/>
                </a:srgbClr>
              </a:solidFill>
              <a:ln w="190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phone_6" title="Icon of a cellphone with a checkmark on the lower right corner">
                <a:extLst>
                  <a:ext uri="{FF2B5EF4-FFF2-40B4-BE49-F238E27FC236}">
                    <a16:creationId xmlns:a16="http://schemas.microsoft.com/office/drawing/2014/main" id="{FFB98C84-99E1-4275-955A-9D8BBFD54C8B}"/>
                  </a:ext>
                </a:extLst>
              </p:cNvPr>
              <p:cNvSpPr>
                <a:spLocks noChangeAspect="1" noEditPoints="1"/>
              </p:cNvSpPr>
              <p:nvPr/>
            </p:nvSpPr>
            <p:spPr bwMode="auto">
              <a:xfrm>
                <a:off x="8413339" y="4472071"/>
                <a:ext cx="291134" cy="365760"/>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192">
                  <a:defRPr/>
                </a:pPr>
                <a:endParaRPr lang="en-US" sz="1765" kern="0">
                  <a:solidFill>
                    <a:srgbClr val="000000"/>
                  </a:solidFill>
                </a:endParaRPr>
              </a:p>
            </p:txBody>
          </p:sp>
        </p:grpSp>
      </p:grpSp>
      <p:grpSp>
        <p:nvGrpSpPr>
          <p:cNvPr id="82" name="Group 81">
            <a:extLst>
              <a:ext uri="{FF2B5EF4-FFF2-40B4-BE49-F238E27FC236}">
                <a16:creationId xmlns:a16="http://schemas.microsoft.com/office/drawing/2014/main" id="{61BAA791-514B-401A-B369-E119CC289750}"/>
              </a:ext>
            </a:extLst>
          </p:cNvPr>
          <p:cNvGrpSpPr/>
          <p:nvPr/>
        </p:nvGrpSpPr>
        <p:grpSpPr>
          <a:xfrm>
            <a:off x="1086581" y="3701891"/>
            <a:ext cx="3005531" cy="542456"/>
            <a:chOff x="1107642" y="4133622"/>
            <a:chExt cx="3066233" cy="553411"/>
          </a:xfrm>
        </p:grpSpPr>
        <p:sp>
          <p:nvSpPr>
            <p:cNvPr id="83" name="Rectangle 82">
              <a:extLst>
                <a:ext uri="{FF2B5EF4-FFF2-40B4-BE49-F238E27FC236}">
                  <a16:creationId xmlns:a16="http://schemas.microsoft.com/office/drawing/2014/main" id="{1A7C44CE-AEAE-45E6-952E-64280F5C3D94}"/>
                </a:ext>
              </a:extLst>
            </p:cNvPr>
            <p:cNvSpPr/>
            <p:nvPr/>
          </p:nvSpPr>
          <p:spPr>
            <a:xfrm>
              <a:off x="1107642" y="4133622"/>
              <a:ext cx="2427445" cy="553411"/>
            </a:xfrm>
            <a:prstGeom prst="rect">
              <a:avLst/>
            </a:prstGeom>
          </p:spPr>
          <p:txBody>
            <a:bodyPr wrap="square" lIns="0" tIns="0" rIns="0" bIns="0" anchor="t">
              <a:spAutoFit/>
            </a:bodyPr>
            <a:lstStyle/>
            <a:p>
              <a:pPr algn="r" defTabSz="914261">
                <a:defRPr/>
              </a:pPr>
              <a:r>
                <a:rPr lang="en-US" sz="1175" kern="0">
                  <a:solidFill>
                    <a:srgbClr val="00B050"/>
                  </a:solidFill>
                  <a:cs typeface="Segoe UI" panose="020B0502040204020203" pitchFamily="34" charset="0"/>
                </a:rPr>
                <a:t>Monitor device inventory, health and security while providing proactive remediation of issues</a:t>
              </a:r>
            </a:p>
          </p:txBody>
        </p:sp>
        <p:grpSp>
          <p:nvGrpSpPr>
            <p:cNvPr id="84" name="Group 83">
              <a:extLst>
                <a:ext uri="{FF2B5EF4-FFF2-40B4-BE49-F238E27FC236}">
                  <a16:creationId xmlns:a16="http://schemas.microsoft.com/office/drawing/2014/main" id="{B25B230E-A42D-4BAD-A9FC-0CE8660C7175}"/>
                </a:ext>
              </a:extLst>
            </p:cNvPr>
            <p:cNvGrpSpPr/>
            <p:nvPr/>
          </p:nvGrpSpPr>
          <p:grpSpPr>
            <a:xfrm>
              <a:off x="3625235" y="4136301"/>
              <a:ext cx="548640" cy="548640"/>
              <a:chOff x="910589" y="5808754"/>
              <a:chExt cx="731520" cy="731520"/>
            </a:xfrm>
          </p:grpSpPr>
          <p:sp>
            <p:nvSpPr>
              <p:cNvPr id="85" name="Oval 84">
                <a:extLst>
                  <a:ext uri="{FF2B5EF4-FFF2-40B4-BE49-F238E27FC236}">
                    <a16:creationId xmlns:a16="http://schemas.microsoft.com/office/drawing/2014/main" id="{2C986401-86B4-442E-9120-CA33284F54EE}"/>
                  </a:ext>
                </a:extLst>
              </p:cNvPr>
              <p:cNvSpPr>
                <a:spLocks noChangeAspect="1"/>
              </p:cNvSpPr>
              <p:nvPr/>
            </p:nvSpPr>
            <p:spPr bwMode="auto">
              <a:xfrm>
                <a:off x="910589" y="5808754"/>
                <a:ext cx="731520" cy="731520"/>
              </a:xfrm>
              <a:prstGeom prst="ellipse">
                <a:avLst/>
              </a:prstGeom>
              <a:solidFill>
                <a:srgbClr val="00B050"/>
              </a:solidFill>
              <a:ln w="190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lgorithm" title="Icon of a heartbeat">
                <a:extLst>
                  <a:ext uri="{FF2B5EF4-FFF2-40B4-BE49-F238E27FC236}">
                    <a16:creationId xmlns:a16="http://schemas.microsoft.com/office/drawing/2014/main" id="{A877CEE5-F9E5-4C30-BA94-65BEF96BAEBD}"/>
                  </a:ext>
                </a:extLst>
              </p:cNvPr>
              <p:cNvSpPr>
                <a:spLocks noChangeAspect="1" noEditPoints="1"/>
              </p:cNvSpPr>
              <p:nvPr/>
            </p:nvSpPr>
            <p:spPr bwMode="auto">
              <a:xfrm>
                <a:off x="1046047" y="6011770"/>
                <a:ext cx="422504" cy="365760"/>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defTabSz="914192">
                  <a:defRPr/>
                </a:pPr>
                <a:endParaRPr lang="en-US" sz="1765" kern="0">
                  <a:solidFill>
                    <a:srgbClr val="000000"/>
                  </a:solidFill>
                </a:endParaRPr>
              </a:p>
            </p:txBody>
          </p:sp>
        </p:grpSp>
      </p:grpSp>
    </p:spTree>
    <p:extLst>
      <p:ext uri="{BB962C8B-B14F-4D97-AF65-F5344CB8AC3E}">
        <p14:creationId xmlns:p14="http://schemas.microsoft.com/office/powerpoint/2010/main" val="128520963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10D2949C-68A5-4934-8871-47293C01679B}"/>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673988" y="2105025"/>
            <a:ext cx="4831462" cy="1107996"/>
          </a:xfrm>
        </p:spPr>
        <p:txBody>
          <a:bodyPr/>
          <a:lstStyle/>
          <a:p>
            <a:r>
              <a:rPr lang="en-US" dirty="0">
                <a:solidFill>
                  <a:schemeClr val="tx1"/>
                </a:solidFill>
              </a:rPr>
              <a:t>Why provisioning is hard today?</a:t>
            </a:r>
          </a:p>
        </p:txBody>
      </p:sp>
      <p:sp>
        <p:nvSpPr>
          <p:cNvPr id="5" name="Content Placeholder 4">
            <a:extLst>
              <a:ext uri="{FF2B5EF4-FFF2-40B4-BE49-F238E27FC236}">
                <a16:creationId xmlns:a16="http://schemas.microsoft.com/office/drawing/2014/main" id="{497ED86C-3FDA-4073-AEE6-00C8B00FA124}"/>
              </a:ext>
            </a:extLst>
          </p:cNvPr>
          <p:cNvSpPr>
            <a:spLocks noGrp="1"/>
          </p:cNvSpPr>
          <p:nvPr>
            <p:ph type="body" sz="quarter" idx="10"/>
          </p:nvPr>
        </p:nvSpPr>
        <p:spPr>
          <a:xfrm>
            <a:off x="6315075" y="1891570"/>
            <a:ext cx="4743442" cy="2080570"/>
          </a:xfrm>
        </p:spPr>
        <p:txBody>
          <a:bodyPr/>
          <a:lstStyle/>
          <a:p>
            <a:pPr marL="280121" lvl="2" indent="-280121">
              <a:buFont typeface="Arial" panose="020B0604020202020204" pitchFamily="34" charset="0"/>
              <a:buChar char="•"/>
            </a:pPr>
            <a:r>
              <a:rPr lang="en-US" sz="2000" dirty="0">
                <a:solidFill>
                  <a:srgbClr val="50E6FF"/>
                </a:solidFill>
                <a:latin typeface="+mj-lt"/>
              </a:rPr>
              <a:t>Solutions must have per-device revocable access</a:t>
            </a:r>
          </a:p>
          <a:p>
            <a:pPr marL="280121" lvl="2" indent="-280121">
              <a:buFont typeface="Arial" panose="020B0604020202020204" pitchFamily="34" charset="0"/>
              <a:buChar char="•"/>
            </a:pPr>
            <a:r>
              <a:rPr lang="en-US" sz="2000" dirty="0">
                <a:solidFill>
                  <a:srgbClr val="50E6FF"/>
                </a:solidFill>
                <a:latin typeface="+mj-lt"/>
              </a:rPr>
              <a:t>Provisioning is a manual process</a:t>
            </a:r>
          </a:p>
          <a:p>
            <a:pPr marL="280121" lvl="2" indent="-280121">
              <a:buFont typeface="Arial" panose="020B0604020202020204" pitchFamily="34" charset="0"/>
              <a:buChar char="•"/>
            </a:pPr>
            <a:r>
              <a:rPr lang="en-US" sz="2000" dirty="0">
                <a:solidFill>
                  <a:srgbClr val="50E6FF"/>
                </a:solidFill>
                <a:latin typeface="+mj-lt"/>
              </a:rPr>
              <a:t>Initial configuration can become irrelevant between manufacturing and deployment</a:t>
            </a:r>
          </a:p>
          <a:p>
            <a:pPr marL="280121" lvl="2" indent="-280121">
              <a:buFont typeface="Arial" panose="020B0604020202020204" pitchFamily="34" charset="0"/>
              <a:buChar char="•"/>
            </a:pPr>
            <a:r>
              <a:rPr lang="en-US" sz="2000" dirty="0">
                <a:solidFill>
                  <a:srgbClr val="50E6FF"/>
                </a:solidFill>
                <a:latin typeface="+mj-lt"/>
              </a:rPr>
              <a:t>Device supply chains are complex</a:t>
            </a:r>
          </a:p>
          <a:p>
            <a:endParaRPr lang="en-US" sz="3600" dirty="0">
              <a:solidFill>
                <a:srgbClr val="50E6FF"/>
              </a:solidFill>
              <a:latin typeface="+mj-lt"/>
            </a:endParaRPr>
          </a:p>
        </p:txBody>
      </p:sp>
      <p:cxnSp>
        <p:nvCxnSpPr>
          <p:cNvPr id="4" name="Straight Connector 3">
            <a:extLst>
              <a:ext uri="{FF2B5EF4-FFF2-40B4-BE49-F238E27FC236}">
                <a16:creationId xmlns:a16="http://schemas.microsoft.com/office/drawing/2014/main" id="{9A4B70DF-5CED-47E4-80B7-6F0D6DD9A9B0}"/>
              </a:ext>
            </a:extLst>
          </p:cNvPr>
          <p:cNvCxnSpPr>
            <a:cxnSpLocks/>
          </p:cNvCxnSpPr>
          <p:nvPr/>
        </p:nvCxnSpPr>
        <p:spPr>
          <a:xfrm>
            <a:off x="5638800" y="485775"/>
            <a:ext cx="0" cy="562927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48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B3F5CF39-2B2C-4F43-BE27-D386A7EAC25D}"/>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57D3628-84D7-4240-945A-E1B574DBA2CC}"/>
              </a:ext>
            </a:extLst>
          </p:cNvPr>
          <p:cNvSpPr>
            <a:spLocks noGrp="1"/>
          </p:cNvSpPr>
          <p:nvPr>
            <p:ph type="title"/>
          </p:nvPr>
        </p:nvSpPr>
        <p:spPr>
          <a:xfrm>
            <a:off x="770381" y="2905004"/>
            <a:ext cx="4098037" cy="1044893"/>
          </a:xfrm>
        </p:spPr>
        <p:txBody>
          <a:bodyPr/>
          <a:lstStyle/>
          <a:p>
            <a:r>
              <a:rPr lang="en-US" sz="3200" dirty="0">
                <a:solidFill>
                  <a:schemeClr val="tx1"/>
                </a:solidFill>
              </a:rPr>
              <a:t>Device Provisioning Service (DPS) brief feature overview</a:t>
            </a:r>
          </a:p>
        </p:txBody>
      </p:sp>
      <p:sp>
        <p:nvSpPr>
          <p:cNvPr id="3" name="Content Placeholder 2">
            <a:extLst>
              <a:ext uri="{FF2B5EF4-FFF2-40B4-BE49-F238E27FC236}">
                <a16:creationId xmlns:a16="http://schemas.microsoft.com/office/drawing/2014/main" id="{1B1E9768-FD4D-49B8-9365-2F99496A0CAA}"/>
              </a:ext>
            </a:extLst>
          </p:cNvPr>
          <p:cNvSpPr>
            <a:spLocks noGrp="1"/>
          </p:cNvSpPr>
          <p:nvPr>
            <p:ph type="body" sz="quarter" idx="10"/>
          </p:nvPr>
        </p:nvSpPr>
        <p:spPr>
          <a:xfrm>
            <a:off x="6096000" y="236696"/>
            <a:ext cx="5524500" cy="2308324"/>
          </a:xfrm>
        </p:spPr>
        <p:txBody>
          <a:bodyPr>
            <a:noAutofit/>
          </a:bodyPr>
          <a:lstStyle/>
          <a:p>
            <a:pPr lvl="2"/>
            <a:r>
              <a:rPr lang="en-US" sz="1400" dirty="0">
                <a:solidFill>
                  <a:srgbClr val="50E6FF"/>
                </a:solidFill>
                <a:latin typeface="+mj-lt"/>
              </a:rPr>
              <a:t>Cross-region, cross-subscription </a:t>
            </a:r>
            <a:r>
              <a:rPr lang="en-US" sz="1400" dirty="0" err="1">
                <a:solidFill>
                  <a:srgbClr val="50E6FF"/>
                </a:solidFill>
                <a:latin typeface="+mj-lt"/>
              </a:rPr>
              <a:t>DPS</a:t>
            </a:r>
            <a:r>
              <a:rPr lang="en-US" sz="1400" dirty="0" err="1">
                <a:solidFill>
                  <a:srgbClr val="50E6FF"/>
                </a:solidFill>
                <a:latin typeface="+mj-lt"/>
                <a:sym typeface="Wingdings" panose="05000000000000000000" pitchFamily="2" charset="2"/>
              </a:rPr>
              <a:t>IoT</a:t>
            </a:r>
            <a:r>
              <a:rPr lang="en-US" sz="1400" dirty="0">
                <a:solidFill>
                  <a:srgbClr val="50E6FF"/>
                </a:solidFill>
                <a:latin typeface="+mj-lt"/>
                <a:sym typeface="Wingdings" panose="05000000000000000000" pitchFamily="2" charset="2"/>
              </a:rPr>
              <a:t> Hub support for geo-</a:t>
            </a:r>
            <a:r>
              <a:rPr lang="en-US" sz="1400" dirty="0" err="1">
                <a:solidFill>
                  <a:srgbClr val="50E6FF"/>
                </a:solidFill>
                <a:latin typeface="+mj-lt"/>
                <a:sym typeface="Wingdings" panose="05000000000000000000" pitchFamily="2" charset="2"/>
              </a:rPr>
              <a:t>sharded</a:t>
            </a:r>
            <a:r>
              <a:rPr lang="en-US" sz="1400" dirty="0">
                <a:solidFill>
                  <a:srgbClr val="50E6FF"/>
                </a:solidFill>
                <a:latin typeface="+mj-lt"/>
                <a:sym typeface="Wingdings" panose="05000000000000000000" pitchFamily="2" charset="2"/>
              </a:rPr>
              <a:t> and multitenancy solutions</a:t>
            </a:r>
            <a:endParaRPr lang="en-US" sz="1400" dirty="0">
              <a:solidFill>
                <a:srgbClr val="50E6FF"/>
              </a:solidFill>
              <a:latin typeface="+mj-lt"/>
            </a:endParaRPr>
          </a:p>
          <a:p>
            <a:pPr lvl="2"/>
            <a:endParaRPr lang="en-US" sz="1400" dirty="0">
              <a:solidFill>
                <a:schemeClr val="tx1"/>
              </a:solidFill>
            </a:endParaRPr>
          </a:p>
          <a:p>
            <a:pPr lvl="2"/>
            <a:r>
              <a:rPr lang="en-US" sz="1400" dirty="0">
                <a:solidFill>
                  <a:srgbClr val="50E6FF"/>
                </a:solidFill>
                <a:latin typeface="+mj-lt"/>
              </a:rPr>
              <a:t>Automatic re-provisioning supports the device lifecycle</a:t>
            </a:r>
          </a:p>
          <a:p>
            <a:pPr lvl="3"/>
            <a:r>
              <a:rPr lang="en-US" dirty="0">
                <a:solidFill>
                  <a:schemeClr val="tx1"/>
                </a:solidFill>
              </a:rPr>
              <a:t>Factory reset</a:t>
            </a:r>
          </a:p>
          <a:p>
            <a:pPr lvl="3"/>
            <a:r>
              <a:rPr lang="en-US" dirty="0">
                <a:solidFill>
                  <a:schemeClr val="tx1"/>
                </a:solidFill>
              </a:rPr>
              <a:t>Migration</a:t>
            </a:r>
          </a:p>
          <a:p>
            <a:pPr lvl="2"/>
            <a:endParaRPr lang="en-US" sz="1400" dirty="0">
              <a:solidFill>
                <a:schemeClr val="tx1"/>
              </a:solidFill>
            </a:endParaRPr>
          </a:p>
          <a:p>
            <a:pPr lvl="2"/>
            <a:r>
              <a:rPr lang="en-US" sz="1400" dirty="0">
                <a:solidFill>
                  <a:srgbClr val="50E6FF"/>
                </a:solidFill>
                <a:latin typeface="+mj-lt"/>
              </a:rPr>
              <a:t>Flexible, targeted device assignment logic</a:t>
            </a:r>
          </a:p>
          <a:p>
            <a:pPr lvl="3"/>
            <a:r>
              <a:rPr lang="en-US" dirty="0">
                <a:solidFill>
                  <a:schemeClr val="tx1"/>
                </a:solidFill>
              </a:rPr>
              <a:t>Static assignment for when you know the hub</a:t>
            </a:r>
          </a:p>
          <a:p>
            <a:pPr lvl="3"/>
            <a:r>
              <a:rPr lang="en-US" dirty="0">
                <a:solidFill>
                  <a:schemeClr val="tx1"/>
                </a:solidFill>
              </a:rPr>
              <a:t>Evenly weighted for round-robin assignment</a:t>
            </a:r>
          </a:p>
          <a:p>
            <a:pPr lvl="3"/>
            <a:r>
              <a:rPr lang="en-US" dirty="0">
                <a:solidFill>
                  <a:schemeClr val="tx1"/>
                </a:solidFill>
              </a:rPr>
              <a:t>Lowest-latency for geo-shared applications</a:t>
            </a:r>
          </a:p>
          <a:p>
            <a:pPr lvl="3"/>
            <a:r>
              <a:rPr lang="en-US" dirty="0">
                <a:solidFill>
                  <a:schemeClr val="tx1"/>
                </a:solidFill>
              </a:rPr>
              <a:t>Custom assignment logic for advanced scenarios</a:t>
            </a:r>
          </a:p>
          <a:p>
            <a:pPr lvl="2"/>
            <a:endParaRPr lang="en-US" sz="1400" dirty="0">
              <a:solidFill>
                <a:schemeClr val="tx1"/>
              </a:solidFill>
            </a:endParaRPr>
          </a:p>
          <a:p>
            <a:pPr lvl="2"/>
            <a:r>
              <a:rPr lang="en-US" sz="1400" dirty="0">
                <a:solidFill>
                  <a:srgbClr val="50E6FF"/>
                </a:solidFill>
                <a:latin typeface="+mj-lt"/>
              </a:rPr>
              <a:t>Manage devices at as a group or as individuals</a:t>
            </a:r>
          </a:p>
          <a:p>
            <a:pPr lvl="3"/>
            <a:r>
              <a:rPr lang="en-US" dirty="0">
                <a:solidFill>
                  <a:schemeClr val="tx1"/>
                </a:solidFill>
              </a:rPr>
              <a:t>Based on authentication type</a:t>
            </a:r>
          </a:p>
          <a:p>
            <a:pPr lvl="2"/>
            <a:endParaRPr lang="en-US" sz="1400" dirty="0">
              <a:solidFill>
                <a:schemeClr val="tx1"/>
              </a:solidFill>
            </a:endParaRPr>
          </a:p>
          <a:p>
            <a:pPr lvl="2"/>
            <a:r>
              <a:rPr lang="en-US" sz="1400" dirty="0">
                <a:solidFill>
                  <a:srgbClr val="50E6FF"/>
                </a:solidFill>
                <a:latin typeface="+mj-lt"/>
              </a:rPr>
              <a:t>Multiple auth methods supported</a:t>
            </a:r>
          </a:p>
          <a:p>
            <a:pPr lvl="3"/>
            <a:r>
              <a:rPr lang="en-US" dirty="0">
                <a:solidFill>
                  <a:schemeClr val="tx1"/>
                </a:solidFill>
              </a:rPr>
              <a:t>Symmetric keys for getting started</a:t>
            </a:r>
          </a:p>
          <a:p>
            <a:pPr lvl="3"/>
            <a:r>
              <a:rPr lang="en-US" dirty="0">
                <a:solidFill>
                  <a:schemeClr val="tx1"/>
                </a:solidFill>
              </a:rPr>
              <a:t>TPM endorsement key for secure storage</a:t>
            </a:r>
          </a:p>
          <a:p>
            <a:pPr lvl="3"/>
            <a:r>
              <a:rPr lang="en-US" dirty="0">
                <a:solidFill>
                  <a:schemeClr val="tx1"/>
                </a:solidFill>
              </a:rPr>
              <a:t>X.509 certificates for maximum security</a:t>
            </a:r>
          </a:p>
          <a:p>
            <a:pPr lvl="2"/>
            <a:endParaRPr lang="en-US" sz="1400" dirty="0">
              <a:solidFill>
                <a:schemeClr val="tx1"/>
              </a:solidFill>
            </a:endParaRPr>
          </a:p>
          <a:p>
            <a:pPr lvl="2"/>
            <a:r>
              <a:rPr lang="en-US" sz="1400" dirty="0">
                <a:solidFill>
                  <a:srgbClr val="50E6FF"/>
                </a:solidFill>
                <a:latin typeface="+mj-lt"/>
              </a:rPr>
              <a:t>Cross-platform support through open-source SDKs</a:t>
            </a:r>
          </a:p>
          <a:p>
            <a:pPr lvl="2"/>
            <a:endParaRPr lang="en-US" sz="1400" dirty="0">
              <a:solidFill>
                <a:schemeClr val="tx1"/>
              </a:solidFill>
            </a:endParaRPr>
          </a:p>
          <a:p>
            <a:pPr lvl="2"/>
            <a:r>
              <a:rPr lang="en-US" sz="1400" dirty="0">
                <a:solidFill>
                  <a:srgbClr val="50E6FF"/>
                </a:solidFill>
                <a:latin typeface="+mj-lt"/>
              </a:rPr>
              <a:t>Edge device support</a:t>
            </a: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CBBC1556-0829-496C-9F6C-79420A868B62}"/>
                  </a:ext>
                </a:extLst>
              </p14:cNvPr>
              <p14:cNvContentPartPr/>
              <p14:nvPr/>
            </p14:nvContentPartPr>
            <p14:xfrm>
              <a:off x="1108068" y="5353648"/>
              <a:ext cx="27356" cy="15837"/>
            </p14:xfrm>
          </p:contentPart>
        </mc:Choice>
        <mc:Fallback xmlns="">
          <p:pic>
            <p:nvPicPr>
              <p:cNvPr id="5" name="Ink 4">
                <a:extLst>
                  <a:ext uri="{FF2B5EF4-FFF2-40B4-BE49-F238E27FC236}">
                    <a16:creationId xmlns:a16="http://schemas.microsoft.com/office/drawing/2014/main" id="{CBBC1556-0829-496C-9F6C-79420A868B62}"/>
                  </a:ext>
                </a:extLst>
              </p:cNvPr>
              <p:cNvPicPr/>
              <p:nvPr/>
            </p:nvPicPr>
            <p:blipFill>
              <a:blip r:embed="rId4"/>
              <a:stretch>
                <a:fillRect/>
              </a:stretch>
            </p:blipFill>
            <p:spPr>
              <a:xfrm>
                <a:off x="1098709" y="5344290"/>
                <a:ext cx="45713" cy="34553"/>
              </a:xfrm>
              <a:prstGeom prst="rect">
                <a:avLst/>
              </a:prstGeom>
            </p:spPr>
          </p:pic>
        </mc:Fallback>
      </mc:AlternateContent>
      <p:cxnSp>
        <p:nvCxnSpPr>
          <p:cNvPr id="8" name="Straight Connector 7">
            <a:extLst>
              <a:ext uri="{FF2B5EF4-FFF2-40B4-BE49-F238E27FC236}">
                <a16:creationId xmlns:a16="http://schemas.microsoft.com/office/drawing/2014/main" id="{3479822E-6251-467F-ADE0-73C153EFDB7E}"/>
              </a:ext>
            </a:extLst>
          </p:cNvPr>
          <p:cNvCxnSpPr>
            <a:cxnSpLocks/>
          </p:cNvCxnSpPr>
          <p:nvPr/>
        </p:nvCxnSpPr>
        <p:spPr>
          <a:xfrm>
            <a:off x="5638800" y="485775"/>
            <a:ext cx="0" cy="562927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F729DA47-EFDB-4E6A-BC69-686BD6EBF3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59641" y="1171576"/>
            <a:ext cx="1450277" cy="1511617"/>
          </a:xfrm>
          <a:prstGeom prst="rect">
            <a:avLst/>
          </a:prstGeom>
        </p:spPr>
      </p:pic>
    </p:spTree>
    <p:extLst>
      <p:ext uri="{BB962C8B-B14F-4D97-AF65-F5344CB8AC3E}">
        <p14:creationId xmlns:p14="http://schemas.microsoft.com/office/powerpoint/2010/main" val="1242040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CF5E7F-8787-4966-B161-FABEB2EB19C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57F81796-2A80-47CD-9A15-9EBC4A2D54E5}"/>
              </a:ext>
            </a:extLst>
          </p:cNvPr>
          <p:cNvSpPr>
            <a:spLocks noGrp="1"/>
          </p:cNvSpPr>
          <p:nvPr>
            <p:ph type="body" sz="quarter" idx="10"/>
          </p:nvPr>
        </p:nvSpPr>
        <p:spPr/>
        <p:txBody>
          <a:bodyPr/>
          <a:lstStyle/>
          <a:p>
            <a:endParaRPr lang="en-US"/>
          </a:p>
        </p:txBody>
      </p:sp>
      <p:grpSp>
        <p:nvGrpSpPr>
          <p:cNvPr id="9" name="Group 8">
            <a:extLst>
              <a:ext uri="{FF2B5EF4-FFF2-40B4-BE49-F238E27FC236}">
                <a16:creationId xmlns:a16="http://schemas.microsoft.com/office/drawing/2014/main" id="{6F70DA04-BB6D-4D24-8783-19B3223772EE}"/>
              </a:ext>
            </a:extLst>
          </p:cNvPr>
          <p:cNvGrpSpPr/>
          <p:nvPr/>
        </p:nvGrpSpPr>
        <p:grpSpPr>
          <a:xfrm>
            <a:off x="276225" y="479654"/>
            <a:ext cx="11639550" cy="6181725"/>
            <a:chOff x="276225" y="338137"/>
            <a:chExt cx="11639550" cy="6181725"/>
          </a:xfrm>
        </p:grpSpPr>
        <p:pic>
          <p:nvPicPr>
            <p:cNvPr id="5" name="Graphic 4">
              <a:extLst>
                <a:ext uri="{FF2B5EF4-FFF2-40B4-BE49-F238E27FC236}">
                  <a16:creationId xmlns:a16="http://schemas.microsoft.com/office/drawing/2014/main" id="{25BE087F-7EE4-4A66-BB3A-717745DE65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6225" y="338137"/>
              <a:ext cx="11639550" cy="6181725"/>
            </a:xfrm>
            <a:prstGeom prst="rect">
              <a:avLst/>
            </a:prstGeom>
          </p:spPr>
        </p:pic>
        <p:sp>
          <p:nvSpPr>
            <p:cNvPr id="6" name="Rectangle 5">
              <a:extLst>
                <a:ext uri="{FF2B5EF4-FFF2-40B4-BE49-F238E27FC236}">
                  <a16:creationId xmlns:a16="http://schemas.microsoft.com/office/drawing/2014/main" id="{874FF92D-9D38-46F7-8DE9-77C5ECB25983}"/>
                </a:ext>
              </a:extLst>
            </p:cNvPr>
            <p:cNvSpPr/>
            <p:nvPr/>
          </p:nvSpPr>
          <p:spPr bwMode="auto">
            <a:xfrm flipV="1">
              <a:off x="5012521" y="5834743"/>
              <a:ext cx="2166257" cy="174171"/>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 name="TextBox 7">
            <a:extLst>
              <a:ext uri="{FF2B5EF4-FFF2-40B4-BE49-F238E27FC236}">
                <a16:creationId xmlns:a16="http://schemas.microsoft.com/office/drawing/2014/main" id="{D7455BBE-A4C2-4BFF-94A0-B4C3A689CC4A}"/>
              </a:ext>
            </a:extLst>
          </p:cNvPr>
          <p:cNvSpPr txBox="1"/>
          <p:nvPr/>
        </p:nvSpPr>
        <p:spPr>
          <a:xfrm>
            <a:off x="3532063" y="0"/>
            <a:ext cx="6096000" cy="461665"/>
          </a:xfrm>
          <a:prstGeom prst="rect">
            <a:avLst/>
          </a:prstGeom>
          <a:noFill/>
        </p:spPr>
        <p:txBody>
          <a:bodyPr wrap="square">
            <a:spAutoFit/>
          </a:bodyPr>
          <a:lstStyle/>
          <a:p>
            <a:r>
              <a:rPr lang="en-US" sz="2400" dirty="0">
                <a:effectLst/>
                <a:latin typeface="Calibri" panose="020F0502020204030204" pitchFamily="34" charset="0"/>
                <a:hlinkClick r:id="rId5"/>
              </a:rPr>
              <a:t>https://aka.ms/iotrefarchitecture </a:t>
            </a:r>
            <a:endParaRPr lang="en-US" sz="2400" dirty="0"/>
          </a:p>
        </p:txBody>
      </p:sp>
    </p:spTree>
    <p:extLst>
      <p:ext uri="{BB962C8B-B14F-4D97-AF65-F5344CB8AC3E}">
        <p14:creationId xmlns:p14="http://schemas.microsoft.com/office/powerpoint/2010/main" val="349509481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election of Scenarios</a:t>
            </a:r>
          </a:p>
        </p:txBody>
      </p:sp>
      <p:sp>
        <p:nvSpPr>
          <p:cNvPr id="17" name="Rectangle 16"/>
          <p:cNvSpPr/>
          <p:nvPr/>
        </p:nvSpPr>
        <p:spPr bwMode="auto">
          <a:xfrm>
            <a:off x="256112" y="1670807"/>
            <a:ext cx="2285559" cy="537759"/>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a:gradFill>
                  <a:gsLst>
                    <a:gs pos="0">
                      <a:srgbClr val="FFFFFF"/>
                    </a:gs>
                    <a:gs pos="100000">
                      <a:srgbClr val="FFFFFF"/>
                    </a:gs>
                  </a:gsLst>
                  <a:lin ang="5400000" scaled="0"/>
                </a:gradFill>
                <a:latin typeface="Segoe UI"/>
                <a:ea typeface="Segoe UI" pitchFamily="34" charset="0"/>
                <a:cs typeface="Segoe UI" pitchFamily="34" charset="0"/>
              </a:rPr>
              <a:t>Initial connection</a:t>
            </a:r>
          </a:p>
        </p:txBody>
      </p:sp>
      <p:sp>
        <p:nvSpPr>
          <p:cNvPr id="19" name="Rectangle 18"/>
          <p:cNvSpPr/>
          <p:nvPr/>
        </p:nvSpPr>
        <p:spPr bwMode="auto">
          <a:xfrm>
            <a:off x="2586435" y="1670807"/>
            <a:ext cx="2285559" cy="537759"/>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a:gradFill>
                  <a:gsLst>
                    <a:gs pos="0">
                      <a:srgbClr val="FFFFFF"/>
                    </a:gs>
                    <a:gs pos="100000">
                      <a:srgbClr val="FFFFFF"/>
                    </a:gs>
                  </a:gsLst>
                  <a:lin ang="5400000" scaled="0"/>
                </a:gradFill>
                <a:latin typeface="Segoe UI"/>
                <a:cs typeface="Segoe UI" pitchFamily="34" charset="0"/>
              </a:rPr>
              <a:t>Load balancing</a:t>
            </a:r>
          </a:p>
        </p:txBody>
      </p:sp>
      <p:sp>
        <p:nvSpPr>
          <p:cNvPr id="21" name="Rectangle 20"/>
          <p:cNvSpPr/>
          <p:nvPr/>
        </p:nvSpPr>
        <p:spPr bwMode="auto">
          <a:xfrm>
            <a:off x="4916759" y="1670807"/>
            <a:ext cx="2285559" cy="537759"/>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a:gradFill>
                  <a:gsLst>
                    <a:gs pos="0">
                      <a:srgbClr val="FFFFFF"/>
                    </a:gs>
                    <a:gs pos="100000">
                      <a:srgbClr val="FFFFFF"/>
                    </a:gs>
                  </a:gsLst>
                  <a:lin ang="5400000" scaled="0"/>
                </a:gradFill>
                <a:latin typeface="Segoe UI"/>
                <a:cs typeface="Segoe UI" pitchFamily="34" charset="0"/>
              </a:rPr>
              <a:t>Ownership based</a:t>
            </a:r>
          </a:p>
        </p:txBody>
      </p:sp>
      <p:sp>
        <p:nvSpPr>
          <p:cNvPr id="23" name="Rectangle 22"/>
          <p:cNvSpPr/>
          <p:nvPr/>
        </p:nvSpPr>
        <p:spPr bwMode="auto">
          <a:xfrm>
            <a:off x="7247335" y="1670807"/>
            <a:ext cx="2285559" cy="537759"/>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a:gradFill>
                  <a:gsLst>
                    <a:gs pos="0">
                      <a:srgbClr val="FFFFFF"/>
                    </a:gs>
                    <a:gs pos="100000">
                      <a:srgbClr val="FFFFFF"/>
                    </a:gs>
                  </a:gsLst>
                  <a:lin ang="5400000" scaled="0"/>
                </a:gradFill>
                <a:latin typeface="Segoe UI"/>
                <a:cs typeface="Segoe UI" pitchFamily="34" charset="0"/>
              </a:rPr>
              <a:t>Location based</a:t>
            </a:r>
          </a:p>
        </p:txBody>
      </p:sp>
      <p:sp>
        <p:nvSpPr>
          <p:cNvPr id="25" name="Rectangle 24"/>
          <p:cNvSpPr/>
          <p:nvPr/>
        </p:nvSpPr>
        <p:spPr bwMode="auto">
          <a:xfrm>
            <a:off x="9577659" y="1670806"/>
            <a:ext cx="2330323" cy="537759"/>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a:gradFill>
                  <a:gsLst>
                    <a:gs pos="0">
                      <a:srgbClr val="FFFFFF"/>
                    </a:gs>
                    <a:gs pos="100000">
                      <a:srgbClr val="FFFFFF"/>
                    </a:gs>
                  </a:gsLst>
                  <a:lin ang="5400000" scaled="0"/>
                </a:gradFill>
                <a:latin typeface="Segoe UI"/>
                <a:cs typeface="Segoe UI" pitchFamily="34" charset="0"/>
              </a:rPr>
              <a:t>Re-provisioning</a:t>
            </a:r>
          </a:p>
        </p:txBody>
      </p:sp>
      <p:sp>
        <p:nvSpPr>
          <p:cNvPr id="32" name="TextBox 31"/>
          <p:cNvSpPr txBox="1"/>
          <p:nvPr/>
        </p:nvSpPr>
        <p:spPr>
          <a:xfrm>
            <a:off x="256112" y="2208567"/>
            <a:ext cx="2285559" cy="358519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algn="ctr">
              <a:defRPr>
                <a:gradFill>
                  <a:gsLst>
                    <a:gs pos="0">
                      <a:srgbClr val="000000"/>
                    </a:gs>
                    <a:gs pos="100000">
                      <a:srgbClr val="000000"/>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927" fontAlgn="base">
              <a:spcBef>
                <a:spcPct val="0"/>
              </a:spcBef>
              <a:spcAft>
                <a:spcPct val="0"/>
              </a:spcAft>
            </a:pPr>
            <a:r>
              <a:rPr lang="en-US" sz="1765">
                <a:solidFill>
                  <a:schemeClr val="tx1"/>
                </a:solidFill>
                <a:latin typeface="Segoe UI"/>
                <a:ea typeface="Segoe UI" pitchFamily="34" charset="0"/>
                <a:cs typeface="Segoe UI" pitchFamily="34" charset="0"/>
              </a:rPr>
              <a:t>Zero-touch provisioning to a single IoT solution</a:t>
            </a:r>
          </a:p>
        </p:txBody>
      </p:sp>
      <p:sp>
        <p:nvSpPr>
          <p:cNvPr id="33" name="TextBox 32"/>
          <p:cNvSpPr txBox="1"/>
          <p:nvPr/>
        </p:nvSpPr>
        <p:spPr>
          <a:xfrm>
            <a:off x="2586498" y="2208566"/>
            <a:ext cx="2285559" cy="358519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r>
              <a:rPr lang="en-US" sz="1765">
                <a:solidFill>
                  <a:schemeClr val="tx1"/>
                </a:solidFill>
                <a:latin typeface="Segoe UI"/>
              </a:rPr>
              <a:t>Across multiple hubs</a:t>
            </a:r>
          </a:p>
        </p:txBody>
      </p:sp>
      <p:sp>
        <p:nvSpPr>
          <p:cNvPr id="34" name="TextBox 33"/>
          <p:cNvSpPr txBox="1"/>
          <p:nvPr/>
        </p:nvSpPr>
        <p:spPr>
          <a:xfrm>
            <a:off x="4916885" y="2208566"/>
            <a:ext cx="2285559" cy="358519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r>
              <a:rPr lang="en-US" sz="1765">
                <a:solidFill>
                  <a:schemeClr val="tx1"/>
                </a:solidFill>
                <a:latin typeface="Segoe UI"/>
              </a:rPr>
              <a:t>Connecting devices to their owner’s IoT solution based on sales transaction data</a:t>
            </a:r>
          </a:p>
        </p:txBody>
      </p:sp>
      <p:sp>
        <p:nvSpPr>
          <p:cNvPr id="35" name="TextBox 34"/>
          <p:cNvSpPr txBox="1"/>
          <p:nvPr/>
        </p:nvSpPr>
        <p:spPr>
          <a:xfrm>
            <a:off x="7247272" y="2208566"/>
            <a:ext cx="2285559" cy="358519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r>
              <a:rPr lang="en-US" sz="1765">
                <a:solidFill>
                  <a:schemeClr val="tx1"/>
                </a:solidFill>
                <a:latin typeface="Segoe UI"/>
              </a:rPr>
              <a:t>Connecting a device to the IoT hub with the lowest latency</a:t>
            </a:r>
          </a:p>
        </p:txBody>
      </p:sp>
      <p:sp>
        <p:nvSpPr>
          <p:cNvPr id="36" name="TextBox 35"/>
          <p:cNvSpPr txBox="1"/>
          <p:nvPr/>
        </p:nvSpPr>
        <p:spPr>
          <a:xfrm>
            <a:off x="9577659" y="2208566"/>
            <a:ext cx="2330323" cy="358519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r>
              <a:rPr lang="en-US" sz="1765">
                <a:solidFill>
                  <a:schemeClr val="tx1"/>
                </a:solidFill>
                <a:latin typeface="Segoe UI"/>
              </a:rPr>
              <a:t>Based on a change in the device, e.g. change of ownership</a:t>
            </a:r>
          </a:p>
        </p:txBody>
      </p:sp>
      <p:sp>
        <p:nvSpPr>
          <p:cNvPr id="53" name="people_12" descr="Group, partners, collaboration&#10;">
            <a:extLst>
              <a:ext uri="{FF2B5EF4-FFF2-40B4-BE49-F238E27FC236}">
                <a16:creationId xmlns:a16="http://schemas.microsoft.com/office/drawing/2014/main" id="{2561194F-82E9-4F20-8E98-10965929AA22}"/>
              </a:ext>
            </a:extLst>
          </p:cNvPr>
          <p:cNvSpPr>
            <a:spLocks noChangeAspect="1" noEditPoints="1"/>
          </p:cNvSpPr>
          <p:nvPr/>
        </p:nvSpPr>
        <p:spPr bwMode="auto">
          <a:xfrm>
            <a:off x="5534267" y="4445545"/>
            <a:ext cx="1050542" cy="896297"/>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endParaRPr lang="en-US" sz="1765">
              <a:solidFill>
                <a:srgbClr val="3C3C41"/>
              </a:solidFill>
              <a:latin typeface="Segoe UI"/>
            </a:endParaRPr>
          </a:p>
        </p:txBody>
      </p:sp>
      <p:sp>
        <p:nvSpPr>
          <p:cNvPr id="54" name="globe_4" descr="Earth, planet, globe, global&#10;">
            <a:extLst>
              <a:ext uri="{FF2B5EF4-FFF2-40B4-BE49-F238E27FC236}">
                <a16:creationId xmlns:a16="http://schemas.microsoft.com/office/drawing/2014/main" id="{A174E960-3E4F-448E-B873-8CF27F83501A}"/>
              </a:ext>
            </a:extLst>
          </p:cNvPr>
          <p:cNvSpPr>
            <a:spLocks noChangeAspect="1" noEditPoints="1"/>
          </p:cNvSpPr>
          <p:nvPr/>
        </p:nvSpPr>
        <p:spPr bwMode="auto">
          <a:xfrm>
            <a:off x="7943421" y="4445202"/>
            <a:ext cx="893259" cy="896297"/>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55" name="IoT_Hub" descr="IoT hub&#10;">
            <a:extLst>
              <a:ext uri="{FF2B5EF4-FFF2-40B4-BE49-F238E27FC236}">
                <a16:creationId xmlns:a16="http://schemas.microsoft.com/office/drawing/2014/main" id="{A863C8E9-E51C-4961-A33C-180A4C4AACB7}"/>
              </a:ext>
            </a:extLst>
          </p:cNvPr>
          <p:cNvSpPr>
            <a:spLocks noChangeAspect="1" noEditPoints="1"/>
          </p:cNvSpPr>
          <p:nvPr/>
        </p:nvSpPr>
        <p:spPr bwMode="auto">
          <a:xfrm>
            <a:off x="950742" y="4449311"/>
            <a:ext cx="896297" cy="896297"/>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254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sp>
        <p:nvSpPr>
          <p:cNvPr id="56" name="BarChartVertical_E9EC" descr="Bar chart, bar graph, vertical graph&#10;">
            <a:extLst>
              <a:ext uri="{FF2B5EF4-FFF2-40B4-BE49-F238E27FC236}">
                <a16:creationId xmlns:a16="http://schemas.microsoft.com/office/drawing/2014/main" id="{9048CC1D-DC5D-49D6-B5BF-08F0C8C0031A}"/>
              </a:ext>
            </a:extLst>
          </p:cNvPr>
          <p:cNvSpPr>
            <a:spLocks noChangeAspect="1" noEditPoints="1"/>
          </p:cNvSpPr>
          <p:nvPr/>
        </p:nvSpPr>
        <p:spPr bwMode="auto">
          <a:xfrm>
            <a:off x="3281233" y="4445545"/>
            <a:ext cx="896090" cy="896297"/>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57" name="arrow_16" descr="Shuffle, cross path, switch&#10;">
            <a:extLst>
              <a:ext uri="{FF2B5EF4-FFF2-40B4-BE49-F238E27FC236}">
                <a16:creationId xmlns:a16="http://schemas.microsoft.com/office/drawing/2014/main" id="{FE04BFAD-E809-4B27-B0E5-EB2B5F7D8A79}"/>
              </a:ext>
            </a:extLst>
          </p:cNvPr>
          <p:cNvSpPr>
            <a:spLocks noChangeAspect="1" noEditPoints="1"/>
          </p:cNvSpPr>
          <p:nvPr/>
        </p:nvSpPr>
        <p:spPr bwMode="auto">
          <a:xfrm>
            <a:off x="10134792" y="4445202"/>
            <a:ext cx="1216058" cy="8962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2540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mc:AlternateContent xmlns:mc="http://schemas.openxmlformats.org/markup-compatibility/2006" xmlns:p14="http://schemas.microsoft.com/office/powerpoint/2010/main">
        <mc:Choice Requires="p14">
          <p:contentPart p14:bwMode="auto" r:id="rId3">
            <p14:nvContentPartPr>
              <p14:cNvPr id="112" name="Ink 111">
                <a:extLst>
                  <a:ext uri="{FF2B5EF4-FFF2-40B4-BE49-F238E27FC236}">
                    <a16:creationId xmlns:a16="http://schemas.microsoft.com/office/drawing/2014/main" id="{E6EF151C-E67D-4493-AD17-B834590022FC}"/>
                  </a:ext>
                </a:extLst>
              </p14:cNvPr>
              <p14:cNvContentPartPr/>
              <p14:nvPr/>
            </p14:nvContentPartPr>
            <p14:xfrm>
              <a:off x="11654860" y="810719"/>
              <a:ext cx="9358" cy="5400"/>
            </p14:xfrm>
          </p:contentPart>
        </mc:Choice>
        <mc:Fallback xmlns="">
          <p:pic>
            <p:nvPicPr>
              <p:cNvPr id="112" name="Ink 111">
                <a:extLst>
                  <a:ext uri="{FF2B5EF4-FFF2-40B4-BE49-F238E27FC236}">
                    <a16:creationId xmlns:a16="http://schemas.microsoft.com/office/drawing/2014/main" id="{E6EF151C-E67D-4493-AD17-B834590022FC}"/>
                  </a:ext>
                </a:extLst>
              </p:cNvPr>
              <p:cNvPicPr/>
              <p:nvPr/>
            </p:nvPicPr>
            <p:blipFill>
              <a:blip r:embed="rId4"/>
              <a:stretch>
                <a:fillRect/>
              </a:stretch>
            </p:blipFill>
            <p:spPr>
              <a:xfrm>
                <a:off x="11645862" y="801719"/>
                <a:ext cx="26994"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62" name="Ink 161">
                <a:extLst>
                  <a:ext uri="{FF2B5EF4-FFF2-40B4-BE49-F238E27FC236}">
                    <a16:creationId xmlns:a16="http://schemas.microsoft.com/office/drawing/2014/main" id="{D609003A-5BBC-442F-BD9D-CBAA71B81551}"/>
                  </a:ext>
                </a:extLst>
              </p14:cNvPr>
              <p14:cNvContentPartPr/>
              <p14:nvPr/>
            </p14:nvContentPartPr>
            <p14:xfrm>
              <a:off x="5504551" y="4189184"/>
              <a:ext cx="10079" cy="360"/>
            </p14:xfrm>
          </p:contentPart>
        </mc:Choice>
        <mc:Fallback xmlns="">
          <p:pic>
            <p:nvPicPr>
              <p:cNvPr id="162" name="Ink 161">
                <a:extLst>
                  <a:ext uri="{FF2B5EF4-FFF2-40B4-BE49-F238E27FC236}">
                    <a16:creationId xmlns:a16="http://schemas.microsoft.com/office/drawing/2014/main" id="{D609003A-5BBC-442F-BD9D-CBAA71B81551}"/>
                  </a:ext>
                </a:extLst>
              </p:cNvPr>
              <p:cNvPicPr/>
              <p:nvPr/>
            </p:nvPicPr>
            <p:blipFill>
              <a:blip r:embed="rId6"/>
              <a:stretch>
                <a:fillRect/>
              </a:stretch>
            </p:blipFill>
            <p:spPr>
              <a:xfrm>
                <a:off x="5495552" y="4180184"/>
                <a:ext cx="27717"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63" name="Ink 162">
                <a:extLst>
                  <a:ext uri="{FF2B5EF4-FFF2-40B4-BE49-F238E27FC236}">
                    <a16:creationId xmlns:a16="http://schemas.microsoft.com/office/drawing/2014/main" id="{86989AF2-E78B-4F25-A3B6-D8D545D93B38}"/>
                  </a:ext>
                </a:extLst>
              </p14:cNvPr>
              <p14:cNvContentPartPr/>
              <p14:nvPr/>
            </p14:nvContentPartPr>
            <p14:xfrm>
              <a:off x="9737468" y="10785184"/>
              <a:ext cx="7559" cy="18718"/>
            </p14:xfrm>
          </p:contentPart>
        </mc:Choice>
        <mc:Fallback xmlns="">
          <p:pic>
            <p:nvPicPr>
              <p:cNvPr id="163" name="Ink 162">
                <a:extLst>
                  <a:ext uri="{FF2B5EF4-FFF2-40B4-BE49-F238E27FC236}">
                    <a16:creationId xmlns:a16="http://schemas.microsoft.com/office/drawing/2014/main" id="{86989AF2-E78B-4F25-A3B6-D8D545D93B38}"/>
                  </a:ext>
                </a:extLst>
              </p:cNvPr>
              <p:cNvPicPr/>
              <p:nvPr/>
            </p:nvPicPr>
            <p:blipFill>
              <a:blip r:embed="rId8"/>
              <a:stretch>
                <a:fillRect/>
              </a:stretch>
            </p:blipFill>
            <p:spPr>
              <a:xfrm>
                <a:off x="9728019" y="10776355"/>
                <a:ext cx="26079" cy="36023"/>
              </a:xfrm>
              <a:prstGeom prst="rect">
                <a:avLst/>
              </a:prstGeom>
            </p:spPr>
          </p:pic>
        </mc:Fallback>
      </mc:AlternateContent>
    </p:spTree>
    <p:extLst>
      <p:ext uri="{BB962C8B-B14F-4D97-AF65-F5344CB8AC3E}">
        <p14:creationId xmlns:p14="http://schemas.microsoft.com/office/powerpoint/2010/main" val="3730660801"/>
      </p:ext>
    </p:extLst>
  </p:cSld>
  <p:clrMapOvr>
    <a:masterClrMapping/>
  </p:clrMapOvr>
  <p:transition advClick="0" advTm="20000">
    <p:push dir="u"/>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589CBBE-C098-46B8-8571-3B24D7FCC29E}"/>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p:txBody>
          <a:bodyPr vert="horz" wrap="square" lIns="91427" tIns="45713" rIns="91427" bIns="45713" rtlCol="0" anchor="ctr">
            <a:normAutofit fontScale="90000"/>
          </a:bodyPr>
          <a:lstStyle/>
          <a:p>
            <a:r>
              <a:rPr lang="en-US" sz="4000" dirty="0">
                <a:ea typeface="+mj-ea"/>
                <a:cs typeface="+mj-cs"/>
              </a:rPr>
              <a:t>What is Provisioning?</a:t>
            </a:r>
            <a:endParaRPr lang="en-US" kern="1200" dirty="0">
              <a:solidFill>
                <a:schemeClr val="tx1"/>
              </a:solidFill>
              <a:latin typeface="+mj-lt"/>
              <a:ea typeface="+mj-ea"/>
              <a:cs typeface="+mj-cs"/>
            </a:endParaRPr>
          </a:p>
        </p:txBody>
      </p:sp>
      <p:graphicFrame>
        <p:nvGraphicFramePr>
          <p:cNvPr id="15" name="TextBox 4">
            <a:extLst>
              <a:ext uri="{FF2B5EF4-FFF2-40B4-BE49-F238E27FC236}">
                <a16:creationId xmlns:a16="http://schemas.microsoft.com/office/drawing/2014/main" id="{9F6454FE-C01A-4EFD-BBC8-680FEF7891E3}"/>
              </a:ext>
            </a:extLst>
          </p:cNvPr>
          <p:cNvGraphicFramePr/>
          <p:nvPr>
            <p:extLst>
              <p:ext uri="{D42A27DB-BD31-4B8C-83A1-F6EECF244321}">
                <p14:modId xmlns:p14="http://schemas.microsoft.com/office/powerpoint/2010/main" val="3891094537"/>
              </p:ext>
            </p:extLst>
          </p:nvPr>
        </p:nvGraphicFramePr>
        <p:xfrm>
          <a:off x="838946" y="878186"/>
          <a:ext cx="10514108" cy="43507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Google Shape;2206;p17">
            <a:extLst>
              <a:ext uri="{FF2B5EF4-FFF2-40B4-BE49-F238E27FC236}">
                <a16:creationId xmlns:a16="http://schemas.microsoft.com/office/drawing/2014/main" id="{FBD98A96-08FB-49ED-AC41-EDF03C8528A8}"/>
              </a:ext>
            </a:extLst>
          </p:cNvPr>
          <p:cNvPicPr preferRelativeResize="0"/>
          <p:nvPr/>
        </p:nvPicPr>
        <p:blipFill rotWithShape="1">
          <a:blip r:embed="rId8">
            <a:alphaModFix/>
          </a:blip>
          <a:srcRect/>
          <a:stretch/>
        </p:blipFill>
        <p:spPr>
          <a:xfrm>
            <a:off x="1821532" y="5028689"/>
            <a:ext cx="648395" cy="554909"/>
          </a:xfrm>
          <a:prstGeom prst="rect">
            <a:avLst/>
          </a:prstGeom>
          <a:noFill/>
          <a:ln>
            <a:noFill/>
          </a:ln>
        </p:spPr>
      </p:pic>
      <p:sp>
        <p:nvSpPr>
          <p:cNvPr id="3" name="chip" title="Icon of a computer chip">
            <a:extLst>
              <a:ext uri="{FF2B5EF4-FFF2-40B4-BE49-F238E27FC236}">
                <a16:creationId xmlns:a16="http://schemas.microsoft.com/office/drawing/2014/main" id="{4A3C5917-BF2A-4124-8A34-D492BA10BAA5}"/>
              </a:ext>
            </a:extLst>
          </p:cNvPr>
          <p:cNvSpPr>
            <a:spLocks noChangeAspect="1" noEditPoints="1"/>
          </p:cNvSpPr>
          <p:nvPr/>
        </p:nvSpPr>
        <p:spPr bwMode="auto">
          <a:xfrm>
            <a:off x="2718237" y="4881066"/>
            <a:ext cx="833268" cy="85015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52" name="Rectangle 51" descr="User">
            <a:extLst>
              <a:ext uri="{FF2B5EF4-FFF2-40B4-BE49-F238E27FC236}">
                <a16:creationId xmlns:a16="http://schemas.microsoft.com/office/drawing/2014/main" id="{13EA4CA1-A69E-49F7-B928-91CA2714B728}"/>
              </a:ext>
            </a:extLst>
          </p:cNvPr>
          <p:cNvSpPr/>
          <p:nvPr/>
        </p:nvSpPr>
        <p:spPr>
          <a:xfrm>
            <a:off x="2269508" y="5731222"/>
            <a:ext cx="717868" cy="717868"/>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cxnSp>
        <p:nvCxnSpPr>
          <p:cNvPr id="54" name="Straight Arrow Connector 53">
            <a:extLst>
              <a:ext uri="{FF2B5EF4-FFF2-40B4-BE49-F238E27FC236}">
                <a16:creationId xmlns:a16="http://schemas.microsoft.com/office/drawing/2014/main" id="{D5BC1F0C-4C33-4606-AC43-28C2E45C1842}"/>
              </a:ext>
            </a:extLst>
          </p:cNvPr>
          <p:cNvCxnSpPr/>
          <p:nvPr/>
        </p:nvCxnSpPr>
        <p:spPr>
          <a:xfrm>
            <a:off x="4048125" y="5506361"/>
            <a:ext cx="3362325" cy="0"/>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Rectangle 55" descr="User">
            <a:extLst>
              <a:ext uri="{FF2B5EF4-FFF2-40B4-BE49-F238E27FC236}">
                <a16:creationId xmlns:a16="http://schemas.microsoft.com/office/drawing/2014/main" id="{130532A2-1ED8-4B67-A4D6-65EB172C3D62}"/>
              </a:ext>
            </a:extLst>
          </p:cNvPr>
          <p:cNvSpPr/>
          <p:nvPr/>
        </p:nvSpPr>
        <p:spPr>
          <a:xfrm>
            <a:off x="8170365" y="5684519"/>
            <a:ext cx="717868" cy="717868"/>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58" name="Rectangle 57" descr="User">
            <a:extLst>
              <a:ext uri="{FF2B5EF4-FFF2-40B4-BE49-F238E27FC236}">
                <a16:creationId xmlns:a16="http://schemas.microsoft.com/office/drawing/2014/main" id="{E9577190-C722-4A2F-9AFA-5B39729B85C7}"/>
              </a:ext>
            </a:extLst>
          </p:cNvPr>
          <p:cNvSpPr/>
          <p:nvPr/>
        </p:nvSpPr>
        <p:spPr>
          <a:xfrm>
            <a:off x="8978028" y="5684519"/>
            <a:ext cx="717868" cy="717868"/>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60" name="cloud">
            <a:extLst>
              <a:ext uri="{FF2B5EF4-FFF2-40B4-BE49-F238E27FC236}">
                <a16:creationId xmlns:a16="http://schemas.microsoft.com/office/drawing/2014/main" id="{9AB02447-8475-4EB0-A902-641D8B27F3AE}"/>
              </a:ext>
            </a:extLst>
          </p:cNvPr>
          <p:cNvSpPr>
            <a:spLocks noChangeAspect="1"/>
          </p:cNvSpPr>
          <p:nvPr/>
        </p:nvSpPr>
        <p:spPr bwMode="black">
          <a:xfrm>
            <a:off x="8099624" y="4709411"/>
            <a:ext cx="1596272" cy="9234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alpha val="48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26913097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8F4AED65-79A9-4A3D-9B52-4BA60C107F0B}"/>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Provision Challenges</a:t>
            </a:r>
          </a:p>
        </p:txBody>
      </p:sp>
      <mc:AlternateContent xmlns:mc="http://schemas.openxmlformats.org/markup-compatibility/2006" xmlns:p14="http://schemas.microsoft.com/office/powerpoint/2010/main">
        <mc:Choice Requires="p14">
          <p:contentPart p14:bwMode="auto" r:id="rId3">
            <p14:nvContentPartPr>
              <p14:cNvPr id="112" name="Ink 111">
                <a:extLst>
                  <a:ext uri="{FF2B5EF4-FFF2-40B4-BE49-F238E27FC236}">
                    <a16:creationId xmlns:a16="http://schemas.microsoft.com/office/drawing/2014/main" id="{E6EF151C-E67D-4493-AD17-B834590022FC}"/>
                  </a:ext>
                </a:extLst>
              </p14:cNvPr>
              <p14:cNvContentPartPr/>
              <p14:nvPr/>
            </p14:nvContentPartPr>
            <p14:xfrm>
              <a:off x="11697390" y="1469938"/>
              <a:ext cx="9358" cy="5400"/>
            </p14:xfrm>
          </p:contentPart>
        </mc:Choice>
        <mc:Fallback xmlns="">
          <p:pic>
            <p:nvPicPr>
              <p:cNvPr id="112" name="Ink 111">
                <a:extLst>
                  <a:ext uri="{FF2B5EF4-FFF2-40B4-BE49-F238E27FC236}">
                    <a16:creationId xmlns:a16="http://schemas.microsoft.com/office/drawing/2014/main" id="{E6EF151C-E67D-4493-AD17-B834590022FC}"/>
                  </a:ext>
                </a:extLst>
              </p:cNvPr>
              <p:cNvPicPr/>
              <p:nvPr/>
            </p:nvPicPr>
            <p:blipFill>
              <a:blip r:embed="rId4"/>
              <a:stretch>
                <a:fillRect/>
              </a:stretch>
            </p:blipFill>
            <p:spPr>
              <a:xfrm>
                <a:off x="11688392" y="1460938"/>
                <a:ext cx="26994"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63" name="Ink 162">
                <a:extLst>
                  <a:ext uri="{FF2B5EF4-FFF2-40B4-BE49-F238E27FC236}">
                    <a16:creationId xmlns:a16="http://schemas.microsoft.com/office/drawing/2014/main" id="{86989AF2-E78B-4F25-A3B6-D8D545D93B38}"/>
                  </a:ext>
                </a:extLst>
              </p14:cNvPr>
              <p14:cNvContentPartPr/>
              <p14:nvPr/>
            </p14:nvContentPartPr>
            <p14:xfrm>
              <a:off x="9737468" y="10785184"/>
              <a:ext cx="7559" cy="18718"/>
            </p14:xfrm>
          </p:contentPart>
        </mc:Choice>
        <mc:Fallback xmlns="">
          <p:pic>
            <p:nvPicPr>
              <p:cNvPr id="163" name="Ink 162">
                <a:extLst>
                  <a:ext uri="{FF2B5EF4-FFF2-40B4-BE49-F238E27FC236}">
                    <a16:creationId xmlns:a16="http://schemas.microsoft.com/office/drawing/2014/main" id="{86989AF2-E78B-4F25-A3B6-D8D545D93B38}"/>
                  </a:ext>
                </a:extLst>
              </p:cNvPr>
              <p:cNvPicPr/>
              <p:nvPr/>
            </p:nvPicPr>
            <p:blipFill>
              <a:blip r:embed="rId6"/>
              <a:stretch>
                <a:fillRect/>
              </a:stretch>
            </p:blipFill>
            <p:spPr>
              <a:xfrm>
                <a:off x="9728019" y="10776355"/>
                <a:ext cx="26079" cy="36023"/>
              </a:xfrm>
              <a:prstGeom prst="rect">
                <a:avLst/>
              </a:prstGeom>
            </p:spPr>
          </p:pic>
        </mc:Fallback>
      </mc:AlternateContent>
      <p:cxnSp>
        <p:nvCxnSpPr>
          <p:cNvPr id="22" name="Straight Arrow Connector 21">
            <a:extLst>
              <a:ext uri="{FF2B5EF4-FFF2-40B4-BE49-F238E27FC236}">
                <a16:creationId xmlns:a16="http://schemas.microsoft.com/office/drawing/2014/main" id="{D014A93C-55BC-4150-9E12-352F21313E3A}"/>
              </a:ext>
            </a:extLst>
          </p:cNvPr>
          <p:cNvCxnSpPr>
            <a:cxnSpLocks/>
          </p:cNvCxnSpPr>
          <p:nvPr/>
        </p:nvCxnSpPr>
        <p:spPr>
          <a:xfrm>
            <a:off x="3340724" y="3621697"/>
            <a:ext cx="4351754" cy="0"/>
          </a:xfrm>
          <a:prstGeom prst="straightConnector1">
            <a:avLst/>
          </a:prstGeom>
          <a:noFill/>
          <a:ln w="6350" cap="flat" cmpd="sng" algn="ctr">
            <a:solidFill>
              <a:srgbClr val="0078D7"/>
            </a:solidFill>
            <a:prstDash val="solid"/>
            <a:miter lim="800000"/>
            <a:headEnd type="triangle"/>
            <a:tailEnd type="triangle"/>
          </a:ln>
          <a:effectLst/>
        </p:spPr>
      </p:cxnSp>
      <p:sp>
        <p:nvSpPr>
          <p:cNvPr id="24" name="TextBox 23">
            <a:extLst>
              <a:ext uri="{FF2B5EF4-FFF2-40B4-BE49-F238E27FC236}">
                <a16:creationId xmlns:a16="http://schemas.microsoft.com/office/drawing/2014/main" id="{DEA9F871-720F-4019-A90C-8F5EBDEC4C3A}"/>
              </a:ext>
            </a:extLst>
          </p:cNvPr>
          <p:cNvSpPr txBox="1"/>
          <p:nvPr/>
        </p:nvSpPr>
        <p:spPr>
          <a:xfrm>
            <a:off x="2042038" y="5667312"/>
            <a:ext cx="1412357" cy="343443"/>
          </a:xfrm>
          <a:prstGeom prst="rect">
            <a:avLst/>
          </a:prstGeom>
        </p:spPr>
        <p:txBody>
          <a:bodyPr wrap="square" rtlCol="0">
            <a:spAutoFit/>
          </a:bodyPr>
          <a:lstStyle/>
          <a:p>
            <a:pPr algn="ctr" defTabSz="914192">
              <a:defRPr/>
            </a:pPr>
            <a:r>
              <a:rPr lang="en-US" sz="1600" dirty="0">
                <a:latin typeface="Segoe UI Semibold"/>
              </a:rPr>
              <a:t>IoT Devices</a:t>
            </a:r>
          </a:p>
        </p:txBody>
      </p:sp>
      <p:sp>
        <p:nvSpPr>
          <p:cNvPr id="26" name="TextBox 25">
            <a:extLst>
              <a:ext uri="{FF2B5EF4-FFF2-40B4-BE49-F238E27FC236}">
                <a16:creationId xmlns:a16="http://schemas.microsoft.com/office/drawing/2014/main" id="{F3801E2D-FEC1-4AE5-B066-1BD6354A596D}"/>
              </a:ext>
            </a:extLst>
          </p:cNvPr>
          <p:cNvSpPr txBox="1"/>
          <p:nvPr/>
        </p:nvSpPr>
        <p:spPr>
          <a:xfrm>
            <a:off x="7446631" y="5665660"/>
            <a:ext cx="2006109" cy="343443"/>
          </a:xfrm>
          <a:prstGeom prst="rect">
            <a:avLst/>
          </a:prstGeom>
        </p:spPr>
        <p:txBody>
          <a:bodyPr wrap="square" rtlCol="0">
            <a:spAutoFit/>
          </a:bodyPr>
          <a:lstStyle/>
          <a:p>
            <a:pPr algn="ctr" defTabSz="914192">
              <a:defRPr/>
            </a:pPr>
            <a:r>
              <a:rPr lang="en-US" sz="1600" dirty="0">
                <a:latin typeface="Segoe UI Semibold"/>
              </a:rPr>
              <a:t>IoT Hub</a:t>
            </a:r>
          </a:p>
        </p:txBody>
      </p:sp>
      <p:sp>
        <p:nvSpPr>
          <p:cNvPr id="27" name="chip" title="Icon of a computer chip">
            <a:extLst>
              <a:ext uri="{FF2B5EF4-FFF2-40B4-BE49-F238E27FC236}">
                <a16:creationId xmlns:a16="http://schemas.microsoft.com/office/drawing/2014/main" id="{31D96FE9-C8DE-468C-8074-AC4C4D3BBE72}"/>
              </a:ext>
            </a:extLst>
          </p:cNvPr>
          <p:cNvSpPr>
            <a:spLocks noChangeAspect="1" noEditPoints="1"/>
          </p:cNvSpPr>
          <p:nvPr/>
        </p:nvSpPr>
        <p:spPr bwMode="auto">
          <a:xfrm>
            <a:off x="2300164" y="2012515"/>
            <a:ext cx="896108" cy="9142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pic>
        <p:nvPicPr>
          <p:cNvPr id="8" name="Picture 7" descr="A picture containing clock&#10;&#10;Description automatically generated">
            <a:extLst>
              <a:ext uri="{FF2B5EF4-FFF2-40B4-BE49-F238E27FC236}">
                <a16:creationId xmlns:a16="http://schemas.microsoft.com/office/drawing/2014/main" id="{039F2ADA-5CCB-4A3D-8A9B-1C3FF2B3470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84536" y="3106497"/>
            <a:ext cx="999599" cy="999599"/>
          </a:xfrm>
          <a:prstGeom prst="rect">
            <a:avLst/>
          </a:prstGeom>
        </p:spPr>
      </p:pic>
      <p:sp>
        <p:nvSpPr>
          <p:cNvPr id="13" name="chip" title="Icon of a computer chip">
            <a:extLst>
              <a:ext uri="{FF2B5EF4-FFF2-40B4-BE49-F238E27FC236}">
                <a16:creationId xmlns:a16="http://schemas.microsoft.com/office/drawing/2014/main" id="{9C49A81F-454A-4DBD-AA86-C0761A7456B0}"/>
              </a:ext>
            </a:extLst>
          </p:cNvPr>
          <p:cNvSpPr>
            <a:spLocks noChangeAspect="1" noEditPoints="1"/>
          </p:cNvSpPr>
          <p:nvPr/>
        </p:nvSpPr>
        <p:spPr bwMode="auto">
          <a:xfrm>
            <a:off x="2300164" y="3191830"/>
            <a:ext cx="896108" cy="9142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14" name="chip" title="Icon of a computer chip">
            <a:extLst>
              <a:ext uri="{FF2B5EF4-FFF2-40B4-BE49-F238E27FC236}">
                <a16:creationId xmlns:a16="http://schemas.microsoft.com/office/drawing/2014/main" id="{69A920F5-A77E-474D-9CF0-42B1DFC18EB4}"/>
              </a:ext>
            </a:extLst>
          </p:cNvPr>
          <p:cNvSpPr>
            <a:spLocks noChangeAspect="1" noEditPoints="1"/>
          </p:cNvSpPr>
          <p:nvPr/>
        </p:nvSpPr>
        <p:spPr bwMode="auto">
          <a:xfrm>
            <a:off x="2300163" y="4371146"/>
            <a:ext cx="896108" cy="9142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pic>
        <p:nvPicPr>
          <p:cNvPr id="15" name="Picture 14" descr="A picture containing clock&#10;&#10;Description automatically generated">
            <a:extLst>
              <a:ext uri="{FF2B5EF4-FFF2-40B4-BE49-F238E27FC236}">
                <a16:creationId xmlns:a16="http://schemas.microsoft.com/office/drawing/2014/main" id="{C0952D9B-C8F2-4FDF-9BDD-2572411978E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09578" y="4307069"/>
            <a:ext cx="974557" cy="974557"/>
          </a:xfrm>
          <a:prstGeom prst="rect">
            <a:avLst/>
          </a:prstGeom>
        </p:spPr>
      </p:pic>
      <p:pic>
        <p:nvPicPr>
          <p:cNvPr id="16" name="Picture 15" descr="A picture containing clock&#10;&#10;Description automatically generated">
            <a:extLst>
              <a:ext uri="{FF2B5EF4-FFF2-40B4-BE49-F238E27FC236}">
                <a16:creationId xmlns:a16="http://schemas.microsoft.com/office/drawing/2014/main" id="{7DCFCBFC-F046-41D3-9F25-D3FF8C0FED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09578" y="1935886"/>
            <a:ext cx="986154" cy="986154"/>
          </a:xfrm>
          <a:prstGeom prst="rect">
            <a:avLst/>
          </a:prstGeom>
        </p:spPr>
      </p:pic>
      <p:cxnSp>
        <p:nvCxnSpPr>
          <p:cNvPr id="17" name="Straight Arrow Connector 16">
            <a:extLst>
              <a:ext uri="{FF2B5EF4-FFF2-40B4-BE49-F238E27FC236}">
                <a16:creationId xmlns:a16="http://schemas.microsoft.com/office/drawing/2014/main" id="{7466D29C-2DCF-45C5-803D-B0D5F5BD5F18}"/>
              </a:ext>
            </a:extLst>
          </p:cNvPr>
          <p:cNvCxnSpPr>
            <a:cxnSpLocks/>
          </p:cNvCxnSpPr>
          <p:nvPr/>
        </p:nvCxnSpPr>
        <p:spPr>
          <a:xfrm>
            <a:off x="3340724" y="2445336"/>
            <a:ext cx="4351754" cy="983664"/>
          </a:xfrm>
          <a:prstGeom prst="straightConnector1">
            <a:avLst/>
          </a:prstGeom>
          <a:noFill/>
          <a:ln w="6350" cap="flat" cmpd="sng" algn="ctr">
            <a:solidFill>
              <a:srgbClr val="0078D7"/>
            </a:solidFill>
            <a:prstDash val="solid"/>
            <a:miter lim="800000"/>
            <a:headEnd type="triangle"/>
            <a:tailEnd type="triangle"/>
          </a:ln>
          <a:effectLst/>
        </p:spPr>
      </p:cxnSp>
      <p:cxnSp>
        <p:nvCxnSpPr>
          <p:cNvPr id="19" name="Straight Arrow Connector 18">
            <a:extLst>
              <a:ext uri="{FF2B5EF4-FFF2-40B4-BE49-F238E27FC236}">
                <a16:creationId xmlns:a16="http://schemas.microsoft.com/office/drawing/2014/main" id="{20CFB7AA-636F-42E1-8BE8-3699243CD945}"/>
              </a:ext>
            </a:extLst>
          </p:cNvPr>
          <p:cNvCxnSpPr>
            <a:cxnSpLocks/>
          </p:cNvCxnSpPr>
          <p:nvPr/>
        </p:nvCxnSpPr>
        <p:spPr>
          <a:xfrm>
            <a:off x="3340724" y="4828281"/>
            <a:ext cx="4351754" cy="0"/>
          </a:xfrm>
          <a:prstGeom prst="straightConnector1">
            <a:avLst/>
          </a:prstGeom>
          <a:noFill/>
          <a:ln w="6350" cap="flat" cmpd="sng" algn="ctr">
            <a:solidFill>
              <a:srgbClr val="0078D7"/>
            </a:solidFill>
            <a:prstDash val="solid"/>
            <a:miter lim="800000"/>
            <a:headEnd type="triangle"/>
            <a:tailEnd type="triangle"/>
          </a:ln>
          <a:effectLst/>
        </p:spPr>
      </p:cxnSp>
      <p:cxnSp>
        <p:nvCxnSpPr>
          <p:cNvPr id="25" name="Straight Arrow Connector 24">
            <a:extLst>
              <a:ext uri="{FF2B5EF4-FFF2-40B4-BE49-F238E27FC236}">
                <a16:creationId xmlns:a16="http://schemas.microsoft.com/office/drawing/2014/main" id="{D28F84CB-752B-40A3-ABD5-2BFE788487D5}"/>
              </a:ext>
            </a:extLst>
          </p:cNvPr>
          <p:cNvCxnSpPr>
            <a:cxnSpLocks/>
          </p:cNvCxnSpPr>
          <p:nvPr/>
        </p:nvCxnSpPr>
        <p:spPr>
          <a:xfrm>
            <a:off x="3340724" y="2365387"/>
            <a:ext cx="4351754" cy="0"/>
          </a:xfrm>
          <a:prstGeom prst="straightConnector1">
            <a:avLst/>
          </a:prstGeom>
          <a:noFill/>
          <a:ln w="6350" cap="flat" cmpd="sng" algn="ctr">
            <a:solidFill>
              <a:srgbClr val="0078D7"/>
            </a:solidFill>
            <a:prstDash val="solid"/>
            <a:miter lim="800000"/>
            <a:headEnd type="triangle"/>
            <a:tailEnd type="triangle"/>
          </a:ln>
          <a:effectLst/>
        </p:spPr>
      </p:cxnSp>
      <p:sp>
        <p:nvSpPr>
          <p:cNvPr id="28" name="Rectangle 27">
            <a:extLst>
              <a:ext uri="{FF2B5EF4-FFF2-40B4-BE49-F238E27FC236}">
                <a16:creationId xmlns:a16="http://schemas.microsoft.com/office/drawing/2014/main" id="{4ECF1427-C954-4E77-A7BD-5F12D624C345}"/>
              </a:ext>
            </a:extLst>
          </p:cNvPr>
          <p:cNvSpPr/>
          <p:nvPr/>
        </p:nvSpPr>
        <p:spPr>
          <a:xfrm>
            <a:off x="5225260" y="3206365"/>
            <a:ext cx="2221371" cy="397095"/>
          </a:xfrm>
          <a:prstGeom prst="rect">
            <a:avLst/>
          </a:prstGeom>
          <a:noFill/>
          <a:ln>
            <a:solidFill>
              <a:srgbClr val="00B050"/>
            </a:solidFill>
          </a:ln>
        </p:spPr>
        <p:style>
          <a:lnRef idx="2">
            <a:schemeClr val="accent1"/>
          </a:lnRef>
          <a:fillRef idx="1">
            <a:schemeClr val="lt1"/>
          </a:fillRef>
          <a:effectRef idx="0">
            <a:schemeClr val="accent1"/>
          </a:effectRef>
          <a:fontRef idx="minor">
            <a:schemeClr val="dk1"/>
          </a:fontRef>
        </p:style>
        <p:txBody>
          <a:bodyPr rtlCol="0" anchor="t"/>
          <a:lstStyle/>
          <a:p>
            <a:pPr defTabSz="914192"/>
            <a:r>
              <a:rPr lang="en-US" sz="1765" dirty="0">
                <a:solidFill>
                  <a:schemeClr val="tx1"/>
                </a:solidFill>
                <a:latin typeface="Segoe UI"/>
              </a:rPr>
              <a:t>Connection String 1 </a:t>
            </a:r>
          </a:p>
        </p:txBody>
      </p:sp>
      <p:sp>
        <p:nvSpPr>
          <p:cNvPr id="36" name="Rectangle 35">
            <a:extLst>
              <a:ext uri="{FF2B5EF4-FFF2-40B4-BE49-F238E27FC236}">
                <a16:creationId xmlns:a16="http://schemas.microsoft.com/office/drawing/2014/main" id="{B6E770A2-7157-4D18-8F3F-2676E3E3C72E}"/>
              </a:ext>
            </a:extLst>
          </p:cNvPr>
          <p:cNvSpPr/>
          <p:nvPr/>
        </p:nvSpPr>
        <p:spPr>
          <a:xfrm>
            <a:off x="5257919" y="4397251"/>
            <a:ext cx="2221371" cy="397095"/>
          </a:xfrm>
          <a:prstGeom prst="rect">
            <a:avLst/>
          </a:prstGeom>
          <a:noFill/>
          <a:ln>
            <a:solidFill>
              <a:srgbClr val="00B050"/>
            </a:solidFill>
          </a:ln>
        </p:spPr>
        <p:style>
          <a:lnRef idx="2">
            <a:schemeClr val="accent1"/>
          </a:lnRef>
          <a:fillRef idx="1">
            <a:schemeClr val="lt1"/>
          </a:fillRef>
          <a:effectRef idx="0">
            <a:schemeClr val="accent1"/>
          </a:effectRef>
          <a:fontRef idx="minor">
            <a:schemeClr val="dk1"/>
          </a:fontRef>
        </p:style>
        <p:txBody>
          <a:bodyPr rtlCol="0" anchor="t"/>
          <a:lstStyle/>
          <a:p>
            <a:pPr defTabSz="914192"/>
            <a:r>
              <a:rPr lang="en-US" sz="1765" dirty="0">
                <a:solidFill>
                  <a:schemeClr val="tx1"/>
                </a:solidFill>
                <a:latin typeface="Segoe UI"/>
              </a:rPr>
              <a:t>Connection String 2 </a:t>
            </a:r>
          </a:p>
        </p:txBody>
      </p:sp>
      <p:sp>
        <p:nvSpPr>
          <p:cNvPr id="37" name="Rectangle 36">
            <a:extLst>
              <a:ext uri="{FF2B5EF4-FFF2-40B4-BE49-F238E27FC236}">
                <a16:creationId xmlns:a16="http://schemas.microsoft.com/office/drawing/2014/main" id="{0267810F-1E9E-4B42-BA06-6782AAE8A118}"/>
              </a:ext>
            </a:extLst>
          </p:cNvPr>
          <p:cNvSpPr/>
          <p:nvPr/>
        </p:nvSpPr>
        <p:spPr>
          <a:xfrm>
            <a:off x="5257919" y="1951325"/>
            <a:ext cx="2221371" cy="397095"/>
          </a:xfrm>
          <a:prstGeom prst="rect">
            <a:avLst/>
          </a:prstGeom>
          <a:noFill/>
          <a:ln>
            <a:solidFill>
              <a:srgbClr val="00B050"/>
            </a:solidFill>
          </a:ln>
        </p:spPr>
        <p:style>
          <a:lnRef idx="2">
            <a:schemeClr val="accent1"/>
          </a:lnRef>
          <a:fillRef idx="1">
            <a:schemeClr val="lt1"/>
          </a:fillRef>
          <a:effectRef idx="0">
            <a:schemeClr val="accent1"/>
          </a:effectRef>
          <a:fontRef idx="minor">
            <a:schemeClr val="dk1"/>
          </a:fontRef>
        </p:style>
        <p:txBody>
          <a:bodyPr rtlCol="0" anchor="t"/>
          <a:lstStyle/>
          <a:p>
            <a:pPr defTabSz="914192"/>
            <a:r>
              <a:rPr lang="en-US" sz="1765" dirty="0">
                <a:solidFill>
                  <a:schemeClr val="tx1"/>
                </a:solidFill>
                <a:latin typeface="Segoe UI"/>
              </a:rPr>
              <a:t>Connection String 3 </a:t>
            </a:r>
          </a:p>
        </p:txBody>
      </p:sp>
    </p:spTree>
    <p:extLst>
      <p:ext uri="{BB962C8B-B14F-4D97-AF65-F5344CB8AC3E}">
        <p14:creationId xmlns:p14="http://schemas.microsoft.com/office/powerpoint/2010/main" val="295247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1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8" grpId="0" animBg="1"/>
      <p:bldP spid="36" grpId="0" animBg="1"/>
      <p:bldP spid="3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1DB52F6D-CC21-466D-928E-6305D381B253}"/>
              </a:ext>
            </a:extLst>
          </p:cNvPr>
          <p:cNvSpPr/>
          <p:nvPr/>
        </p:nvSpPr>
        <p:spPr bwMode="auto">
          <a:xfrm>
            <a:off x="-1" y="0"/>
            <a:ext cx="12436476" cy="6858000"/>
          </a:xfrm>
          <a:prstGeom prst="ellipse">
            <a:avLst/>
          </a:prstGeom>
          <a:gradFill flip="none" rotWithShape="1">
            <a:gsLst>
              <a:gs pos="0">
                <a:srgbClr val="0078D3">
                  <a:lumMod val="50000"/>
                  <a:alpha val="44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9837CA1-544A-4B5D-9725-5FCDAF82FB80}"/>
              </a:ext>
            </a:extLst>
          </p:cNvPr>
          <p:cNvGrpSpPr/>
          <p:nvPr/>
        </p:nvGrpSpPr>
        <p:grpSpPr>
          <a:xfrm>
            <a:off x="3302019" y="3666901"/>
            <a:ext cx="326931" cy="338042"/>
            <a:chOff x="1308100" y="3205163"/>
            <a:chExt cx="327025" cy="338138"/>
          </a:xfrm>
        </p:grpSpPr>
        <p:sp>
          <p:nvSpPr>
            <p:cNvPr id="21" name="Freeform 123">
              <a:extLst>
                <a:ext uri="{FF2B5EF4-FFF2-40B4-BE49-F238E27FC236}">
                  <a16:creationId xmlns:a16="http://schemas.microsoft.com/office/drawing/2014/main" id="{66BBE908-5CCD-4D8C-8306-C9AB844827A8}"/>
                </a:ext>
              </a:extLst>
            </p:cNvPr>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sp>
          <p:nvSpPr>
            <p:cNvPr id="22" name="Freeform 124">
              <a:extLst>
                <a:ext uri="{FF2B5EF4-FFF2-40B4-BE49-F238E27FC236}">
                  <a16:creationId xmlns:a16="http://schemas.microsoft.com/office/drawing/2014/main" id="{C63B6876-3F2A-41AA-9EB4-652A770CADE4}"/>
                </a:ext>
              </a:extLst>
            </p:cNvPr>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sp>
          <p:nvSpPr>
            <p:cNvPr id="23" name="Freeform 125">
              <a:extLst>
                <a:ext uri="{FF2B5EF4-FFF2-40B4-BE49-F238E27FC236}">
                  <a16:creationId xmlns:a16="http://schemas.microsoft.com/office/drawing/2014/main" id="{F8B41589-DACD-4DBC-B8D0-0B92BFBBCD56}"/>
                </a:ext>
              </a:extLst>
            </p:cNvPr>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grpSp>
      <p:sp>
        <p:nvSpPr>
          <p:cNvPr id="3" name="Title 2">
            <a:extLst>
              <a:ext uri="{FF2B5EF4-FFF2-40B4-BE49-F238E27FC236}">
                <a16:creationId xmlns:a16="http://schemas.microsoft.com/office/drawing/2014/main" id="{1E3AFC93-C32D-4F10-AFF8-18B2D79181A1}"/>
              </a:ext>
            </a:extLst>
          </p:cNvPr>
          <p:cNvSpPr>
            <a:spLocks noGrp="1"/>
          </p:cNvSpPr>
          <p:nvPr>
            <p:ph type="title"/>
          </p:nvPr>
        </p:nvSpPr>
        <p:spPr/>
        <p:txBody>
          <a:bodyPr>
            <a:normAutofit fontScale="90000"/>
          </a:bodyPr>
          <a:lstStyle/>
          <a:p>
            <a:r>
              <a:rPr lang="en-US" sz="4000"/>
              <a:t>IoT Hub Device Provisioning Service</a:t>
            </a:r>
          </a:p>
        </p:txBody>
      </p:sp>
      <p:sp>
        <p:nvSpPr>
          <p:cNvPr id="26" name="Text Placeholder 2">
            <a:extLst>
              <a:ext uri="{FF2B5EF4-FFF2-40B4-BE49-F238E27FC236}">
                <a16:creationId xmlns:a16="http://schemas.microsoft.com/office/drawing/2014/main" id="{2A6A4736-5AED-425D-A19B-1F608C958425}"/>
              </a:ext>
            </a:extLst>
          </p:cNvPr>
          <p:cNvSpPr txBox="1">
            <a:spLocks/>
          </p:cNvSpPr>
          <p:nvPr/>
        </p:nvSpPr>
        <p:spPr>
          <a:xfrm>
            <a:off x="478839" y="1176780"/>
            <a:ext cx="6557965" cy="693110"/>
          </a:xfrm>
          <a:prstGeom prst="rect">
            <a:avLst/>
          </a:prstGeom>
        </p:spPr>
        <p:txBody>
          <a:bodyPr vert="horz" lIns="91427" tIns="45713" rIns="91427" bIns="45713"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12"/>
            <a:endParaRPr lang="en-US" sz="1800">
              <a:solidFill>
                <a:schemeClr val="tx1"/>
              </a:solidFill>
              <a:latin typeface="Segoe UI" panose="020B0502040204020203" pitchFamily="34" charset="0"/>
              <a:cs typeface="Segoe UI" panose="020B0502040204020203" pitchFamily="34" charset="0"/>
            </a:endParaRPr>
          </a:p>
        </p:txBody>
      </p:sp>
      <p:sp>
        <p:nvSpPr>
          <p:cNvPr id="29" name="Title 2">
            <a:extLst>
              <a:ext uri="{FF2B5EF4-FFF2-40B4-BE49-F238E27FC236}">
                <a16:creationId xmlns:a16="http://schemas.microsoft.com/office/drawing/2014/main" id="{474442FC-C345-46FB-8E48-4C6DD29FB5AE}"/>
              </a:ext>
            </a:extLst>
          </p:cNvPr>
          <p:cNvSpPr txBox="1">
            <a:spLocks/>
          </p:cNvSpPr>
          <p:nvPr/>
        </p:nvSpPr>
        <p:spPr>
          <a:xfrm>
            <a:off x="510795" y="730843"/>
            <a:ext cx="10514108" cy="1325375"/>
          </a:xfrm>
          <a:prstGeom prst="rect">
            <a:avLst/>
          </a:prstGeom>
        </p:spPr>
        <p:txBody>
          <a:bodyPr vert="horz" lIns="91427" tIns="45713" rIns="91427" bIns="45713"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225"/>
            <a:r>
              <a:rPr lang="en-US" sz="2000" dirty="0">
                <a:latin typeface="Segoe UI" panose="020B0502040204020203" pitchFamily="34" charset="0"/>
                <a:cs typeface="Segoe UI" panose="020B0502040204020203" pitchFamily="34" charset="0"/>
              </a:rPr>
              <a:t>A helper service for IoT Hub that enables zero-touch, just-in-time provisioning to the right IoT hub without requiring human intervention.</a:t>
            </a:r>
          </a:p>
        </p:txBody>
      </p:sp>
      <p:sp>
        <p:nvSpPr>
          <p:cNvPr id="31" name="TextBox 30">
            <a:extLst>
              <a:ext uri="{FF2B5EF4-FFF2-40B4-BE49-F238E27FC236}">
                <a16:creationId xmlns:a16="http://schemas.microsoft.com/office/drawing/2014/main" id="{0205AD3B-0AE8-4DC0-9181-32EE997B240F}"/>
              </a:ext>
            </a:extLst>
          </p:cNvPr>
          <p:cNvSpPr txBox="1"/>
          <p:nvPr/>
        </p:nvSpPr>
        <p:spPr>
          <a:xfrm>
            <a:off x="2749327" y="4042014"/>
            <a:ext cx="1412357" cy="343443"/>
          </a:xfrm>
          <a:prstGeom prst="rect">
            <a:avLst/>
          </a:prstGeom>
        </p:spPr>
        <p:txBody>
          <a:bodyPr wrap="square" rtlCol="0">
            <a:spAutoFit/>
          </a:bodyPr>
          <a:lstStyle/>
          <a:p>
            <a:pPr algn="ctr" defTabSz="914192">
              <a:defRPr/>
            </a:pPr>
            <a:r>
              <a:rPr lang="en-US" sz="1600" dirty="0">
                <a:latin typeface="Segoe UI Semibold"/>
              </a:rPr>
              <a:t>IoT Devices</a:t>
            </a:r>
          </a:p>
        </p:txBody>
      </p:sp>
      <p:sp>
        <p:nvSpPr>
          <p:cNvPr id="33" name="chip" title="Icon of a computer chip">
            <a:extLst>
              <a:ext uri="{FF2B5EF4-FFF2-40B4-BE49-F238E27FC236}">
                <a16:creationId xmlns:a16="http://schemas.microsoft.com/office/drawing/2014/main" id="{92BB6794-9527-4E73-BBE3-ADE0E1B878EA}"/>
              </a:ext>
            </a:extLst>
          </p:cNvPr>
          <p:cNvSpPr>
            <a:spLocks noChangeAspect="1" noEditPoints="1"/>
          </p:cNvSpPr>
          <p:nvPr/>
        </p:nvSpPr>
        <p:spPr bwMode="auto">
          <a:xfrm>
            <a:off x="3007453" y="3066689"/>
            <a:ext cx="836025" cy="8529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34" name="TextBox 33">
            <a:extLst>
              <a:ext uri="{FF2B5EF4-FFF2-40B4-BE49-F238E27FC236}">
                <a16:creationId xmlns:a16="http://schemas.microsoft.com/office/drawing/2014/main" id="{C164D5C3-CA19-46CD-8C6B-00802E63FCDD}"/>
              </a:ext>
            </a:extLst>
          </p:cNvPr>
          <p:cNvSpPr txBox="1"/>
          <p:nvPr/>
        </p:nvSpPr>
        <p:spPr>
          <a:xfrm>
            <a:off x="7590990" y="3995910"/>
            <a:ext cx="2006109" cy="343443"/>
          </a:xfrm>
          <a:prstGeom prst="rect">
            <a:avLst/>
          </a:prstGeom>
        </p:spPr>
        <p:txBody>
          <a:bodyPr wrap="square" rtlCol="0">
            <a:spAutoFit/>
          </a:bodyPr>
          <a:lstStyle/>
          <a:p>
            <a:pPr algn="ctr" defTabSz="914192">
              <a:defRPr/>
            </a:pPr>
            <a:r>
              <a:rPr lang="en-US" sz="1600" dirty="0">
                <a:latin typeface="Segoe UI Semibold"/>
              </a:rPr>
              <a:t>IoT Hub</a:t>
            </a:r>
          </a:p>
        </p:txBody>
      </p:sp>
      <p:pic>
        <p:nvPicPr>
          <p:cNvPr id="35" name="Picture 34" descr="A picture containing clock&#10;&#10;Description automatically generated">
            <a:extLst>
              <a:ext uri="{FF2B5EF4-FFF2-40B4-BE49-F238E27FC236}">
                <a16:creationId xmlns:a16="http://schemas.microsoft.com/office/drawing/2014/main" id="{74496F2E-EE08-4AD7-84EA-F7079EF7570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3955" y="3106497"/>
            <a:ext cx="780180" cy="780180"/>
          </a:xfrm>
          <a:prstGeom prst="rect">
            <a:avLst/>
          </a:prstGeom>
        </p:spPr>
      </p:pic>
      <p:pic>
        <p:nvPicPr>
          <p:cNvPr id="24" name="Graphic 23">
            <a:extLst>
              <a:ext uri="{FF2B5EF4-FFF2-40B4-BE49-F238E27FC236}">
                <a16:creationId xmlns:a16="http://schemas.microsoft.com/office/drawing/2014/main" id="{6D282410-8D07-4836-BD43-D2C024551C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69274" y="3081541"/>
            <a:ext cx="780180" cy="813178"/>
          </a:xfrm>
          <a:prstGeom prst="rect">
            <a:avLst/>
          </a:prstGeom>
        </p:spPr>
      </p:pic>
      <p:sp>
        <p:nvSpPr>
          <p:cNvPr id="36" name="TextBox 35">
            <a:extLst>
              <a:ext uri="{FF2B5EF4-FFF2-40B4-BE49-F238E27FC236}">
                <a16:creationId xmlns:a16="http://schemas.microsoft.com/office/drawing/2014/main" id="{BD3956DC-9590-4A1C-BA1B-002E5208E799}"/>
              </a:ext>
            </a:extLst>
          </p:cNvPr>
          <p:cNvSpPr txBox="1"/>
          <p:nvPr/>
        </p:nvSpPr>
        <p:spPr>
          <a:xfrm>
            <a:off x="5033607" y="4042015"/>
            <a:ext cx="2006109" cy="830997"/>
          </a:xfrm>
          <a:prstGeom prst="rect">
            <a:avLst/>
          </a:prstGeom>
        </p:spPr>
        <p:txBody>
          <a:bodyPr wrap="square" rtlCol="0">
            <a:spAutoFit/>
          </a:bodyPr>
          <a:lstStyle/>
          <a:p>
            <a:pPr algn="ctr" defTabSz="914192">
              <a:defRPr/>
            </a:pPr>
            <a:r>
              <a:rPr lang="en-US" sz="1600" dirty="0">
                <a:latin typeface="Segoe UI Semibold"/>
              </a:rPr>
              <a:t>IoT Hub Device Provisioning Service</a:t>
            </a:r>
          </a:p>
        </p:txBody>
      </p:sp>
      <p:cxnSp>
        <p:nvCxnSpPr>
          <p:cNvPr id="38" name="Straight Arrow Connector 37">
            <a:extLst>
              <a:ext uri="{FF2B5EF4-FFF2-40B4-BE49-F238E27FC236}">
                <a16:creationId xmlns:a16="http://schemas.microsoft.com/office/drawing/2014/main" id="{72EB37C6-E94A-4B18-9CA9-3D4226637C8C}"/>
              </a:ext>
            </a:extLst>
          </p:cNvPr>
          <p:cNvCxnSpPr>
            <a:cxnSpLocks/>
          </p:cNvCxnSpPr>
          <p:nvPr/>
        </p:nvCxnSpPr>
        <p:spPr>
          <a:xfrm flipH="1">
            <a:off x="3959290" y="3523756"/>
            <a:ext cx="1594170"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0937E7A4-0F47-4AE9-A28C-889391BB1CD1}"/>
              </a:ext>
            </a:extLst>
          </p:cNvPr>
          <p:cNvCxnSpPr>
            <a:cxnSpLocks/>
          </p:cNvCxnSpPr>
          <p:nvPr/>
        </p:nvCxnSpPr>
        <p:spPr>
          <a:xfrm flipH="1">
            <a:off x="6531795" y="3523756"/>
            <a:ext cx="1594170"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341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D15601A-0DD7-4067-88A8-B3A4F2536376}"/>
              </a:ext>
            </a:extLst>
          </p:cNvPr>
          <p:cNvGrpSpPr/>
          <p:nvPr/>
        </p:nvGrpSpPr>
        <p:grpSpPr>
          <a:xfrm>
            <a:off x="6087936" y="2025129"/>
            <a:ext cx="3702012" cy="2522286"/>
            <a:chOff x="6443863" y="169652"/>
            <a:chExt cx="3703063" cy="2523002"/>
          </a:xfrm>
          <a:solidFill>
            <a:srgbClr val="00B0F0"/>
          </a:solidFill>
        </p:grpSpPr>
        <p:sp>
          <p:nvSpPr>
            <p:cNvPr id="27" name="Rectangle 26">
              <a:extLst>
                <a:ext uri="{FF2B5EF4-FFF2-40B4-BE49-F238E27FC236}">
                  <a16:creationId xmlns:a16="http://schemas.microsoft.com/office/drawing/2014/main" id="{B7E96807-417B-4853-823C-2CA2C160C939}"/>
                </a:ext>
              </a:extLst>
            </p:cNvPr>
            <p:cNvSpPr/>
            <p:nvPr/>
          </p:nvSpPr>
          <p:spPr>
            <a:xfrm>
              <a:off x="8108231" y="169652"/>
              <a:ext cx="2038695" cy="1305098"/>
            </a:xfrm>
            <a:prstGeom prst="rect">
              <a:avLst/>
            </a:prstGeom>
            <a:grp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t"/>
            <a:lstStyle/>
            <a:p>
              <a:pPr algn="r" defTabSz="914192"/>
              <a:r>
                <a:rPr lang="en-US" sz="1600" dirty="0">
                  <a:solidFill>
                    <a:schemeClr val="tx1"/>
                  </a:solidFill>
                  <a:latin typeface="Segoe UI (Body)"/>
                  <a:cs typeface="Segoe UI bold" panose="020B0802040204020203" pitchFamily="34" charset="0"/>
                </a:rPr>
                <a:t>IoT Hub</a:t>
              </a:r>
            </a:p>
          </p:txBody>
        </p:sp>
        <p:sp>
          <p:nvSpPr>
            <p:cNvPr id="28" name="Rectangle 27">
              <a:extLst>
                <a:ext uri="{FF2B5EF4-FFF2-40B4-BE49-F238E27FC236}">
                  <a16:creationId xmlns:a16="http://schemas.microsoft.com/office/drawing/2014/main" id="{9D397BBE-DC6E-4BBE-A994-BB1730A23EE0}"/>
                </a:ext>
              </a:extLst>
            </p:cNvPr>
            <p:cNvSpPr/>
            <p:nvPr/>
          </p:nvSpPr>
          <p:spPr>
            <a:xfrm>
              <a:off x="7589820" y="566960"/>
              <a:ext cx="2038695" cy="1305098"/>
            </a:xfrm>
            <a:prstGeom prst="rect">
              <a:avLst/>
            </a:prstGeom>
            <a:grp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t"/>
            <a:lstStyle/>
            <a:p>
              <a:pPr algn="r" defTabSz="914192"/>
              <a:r>
                <a:rPr lang="en-US" sz="1600">
                  <a:solidFill>
                    <a:schemeClr val="tx1"/>
                  </a:solidFill>
                  <a:latin typeface="Segoe UI (Body)"/>
                  <a:cs typeface="Segoe UI bold" panose="020B0802040204020203" pitchFamily="34" charset="0"/>
                </a:rPr>
                <a:t>IoT Hub</a:t>
              </a:r>
            </a:p>
          </p:txBody>
        </p:sp>
        <p:sp>
          <p:nvSpPr>
            <p:cNvPr id="30" name="Rectangle 29">
              <a:extLst>
                <a:ext uri="{FF2B5EF4-FFF2-40B4-BE49-F238E27FC236}">
                  <a16:creationId xmlns:a16="http://schemas.microsoft.com/office/drawing/2014/main" id="{DF11C572-FA63-45A4-9E4D-25E892EE9F3E}"/>
                </a:ext>
              </a:extLst>
            </p:cNvPr>
            <p:cNvSpPr/>
            <p:nvPr/>
          </p:nvSpPr>
          <p:spPr>
            <a:xfrm>
              <a:off x="7035155" y="985205"/>
              <a:ext cx="2038695" cy="1305098"/>
            </a:xfrm>
            <a:prstGeom prst="rect">
              <a:avLst/>
            </a:prstGeom>
            <a:grp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t"/>
            <a:lstStyle/>
            <a:p>
              <a:pPr algn="r" defTabSz="914192"/>
              <a:r>
                <a:rPr lang="en-US" sz="1600">
                  <a:solidFill>
                    <a:schemeClr val="tx1"/>
                  </a:solidFill>
                  <a:latin typeface="Segoe UI (Body)"/>
                  <a:cs typeface="Segoe UI bold" panose="020B0802040204020203" pitchFamily="34" charset="0"/>
                </a:rPr>
                <a:t>IoT Hub</a:t>
              </a:r>
            </a:p>
          </p:txBody>
        </p:sp>
        <p:sp>
          <p:nvSpPr>
            <p:cNvPr id="31" name="Rectangle 30">
              <a:extLst>
                <a:ext uri="{FF2B5EF4-FFF2-40B4-BE49-F238E27FC236}">
                  <a16:creationId xmlns:a16="http://schemas.microsoft.com/office/drawing/2014/main" id="{417F5E8E-A339-453A-98CD-A5F92D008A86}"/>
                </a:ext>
              </a:extLst>
            </p:cNvPr>
            <p:cNvSpPr/>
            <p:nvPr/>
          </p:nvSpPr>
          <p:spPr>
            <a:xfrm>
              <a:off x="6443863" y="1387556"/>
              <a:ext cx="2038695" cy="1305098"/>
            </a:xfrm>
            <a:prstGeom prst="rect">
              <a:avLst/>
            </a:prstGeom>
            <a:grp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t"/>
            <a:lstStyle/>
            <a:p>
              <a:pPr algn="r" defTabSz="914192"/>
              <a:r>
                <a:rPr lang="en-US" sz="1600">
                  <a:solidFill>
                    <a:schemeClr val="tx1"/>
                  </a:solidFill>
                  <a:latin typeface="Segoe UI (Body)"/>
                  <a:cs typeface="Segoe UI bold" panose="020B0802040204020203" pitchFamily="34" charset="0"/>
                </a:rPr>
                <a:t>IoT Hub</a:t>
              </a:r>
            </a:p>
          </p:txBody>
        </p:sp>
      </p:grpSp>
      <p:sp>
        <p:nvSpPr>
          <p:cNvPr id="2" name="Title 1">
            <a:extLst>
              <a:ext uri="{FF2B5EF4-FFF2-40B4-BE49-F238E27FC236}">
                <a16:creationId xmlns:a16="http://schemas.microsoft.com/office/drawing/2014/main" id="{0CC86FF5-28E4-458A-8D30-A9F042ACA464}"/>
              </a:ext>
            </a:extLst>
          </p:cNvPr>
          <p:cNvSpPr>
            <a:spLocks noGrp="1"/>
          </p:cNvSpPr>
          <p:nvPr>
            <p:ph type="title"/>
          </p:nvPr>
        </p:nvSpPr>
        <p:spPr/>
        <p:txBody>
          <a:bodyPr>
            <a:normAutofit/>
          </a:bodyPr>
          <a:lstStyle/>
          <a:p>
            <a:r>
              <a:rPr lang="en-US"/>
              <a:t>Provisioning with IoT Hub Device Provisioning Service</a:t>
            </a:r>
          </a:p>
        </p:txBody>
      </p:sp>
      <p:sp>
        <p:nvSpPr>
          <p:cNvPr id="5" name="Rectangle 4">
            <a:extLst>
              <a:ext uri="{FF2B5EF4-FFF2-40B4-BE49-F238E27FC236}">
                <a16:creationId xmlns:a16="http://schemas.microsoft.com/office/drawing/2014/main" id="{8DD5B9B0-A1DC-44EE-8847-4C74B17A7EC8}"/>
              </a:ext>
            </a:extLst>
          </p:cNvPr>
          <p:cNvSpPr/>
          <p:nvPr/>
        </p:nvSpPr>
        <p:spPr>
          <a:xfrm>
            <a:off x="5606415" y="3651169"/>
            <a:ext cx="2038117" cy="1304727"/>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sz="1600">
                <a:solidFill>
                  <a:schemeClr val="tx1"/>
                </a:solidFill>
                <a:latin typeface="Segoe UI (Body)"/>
                <a:cs typeface="Segoe UI Light" panose="020B0502040204020203" pitchFamily="34" charset="0"/>
              </a:rPr>
              <a:t>IoT Hub</a:t>
            </a:r>
          </a:p>
        </p:txBody>
      </p:sp>
      <p:sp>
        <p:nvSpPr>
          <p:cNvPr id="6" name="Rectangle 5">
            <a:extLst>
              <a:ext uri="{FF2B5EF4-FFF2-40B4-BE49-F238E27FC236}">
                <a16:creationId xmlns:a16="http://schemas.microsoft.com/office/drawing/2014/main" id="{95C10FCC-AFE6-40FD-ACE9-D58DF8AECBCD}"/>
              </a:ext>
            </a:extLst>
          </p:cNvPr>
          <p:cNvSpPr/>
          <p:nvPr/>
        </p:nvSpPr>
        <p:spPr>
          <a:xfrm>
            <a:off x="1167040" y="4589657"/>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192"/>
            <a:r>
              <a:rPr lang="en-US" sz="1600">
                <a:solidFill>
                  <a:schemeClr val="tx1"/>
                </a:solidFill>
                <a:latin typeface="Segoe UI (Body)"/>
                <a:cs typeface="Segoe UI Light" panose="020B0502040204020203" pitchFamily="34" charset="0"/>
              </a:rPr>
              <a:t>Device</a:t>
            </a:r>
          </a:p>
        </p:txBody>
      </p:sp>
      <p:sp>
        <p:nvSpPr>
          <p:cNvPr id="8" name="Rectangle 7">
            <a:extLst>
              <a:ext uri="{FF2B5EF4-FFF2-40B4-BE49-F238E27FC236}">
                <a16:creationId xmlns:a16="http://schemas.microsoft.com/office/drawing/2014/main" id="{77020A9B-E694-49AD-A013-864E87BF9714}"/>
              </a:ext>
            </a:extLst>
          </p:cNvPr>
          <p:cNvSpPr/>
          <p:nvPr/>
        </p:nvSpPr>
        <p:spPr>
          <a:xfrm>
            <a:off x="1795947" y="2594848"/>
            <a:ext cx="2344772" cy="704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sz="1600">
                <a:solidFill>
                  <a:schemeClr val="tx1"/>
                </a:solidFill>
                <a:latin typeface="Segoe UI (Body)"/>
                <a:cs typeface="Segoe UI Light" panose="020B0502040204020203" pitchFamily="34" charset="0"/>
              </a:rPr>
              <a:t>Device Provisioning Service</a:t>
            </a:r>
          </a:p>
        </p:txBody>
      </p:sp>
      <p:sp>
        <p:nvSpPr>
          <p:cNvPr id="10" name="Cloud 9">
            <a:extLst>
              <a:ext uri="{FF2B5EF4-FFF2-40B4-BE49-F238E27FC236}">
                <a16:creationId xmlns:a16="http://schemas.microsoft.com/office/drawing/2014/main" id="{58B43924-238F-4046-8A35-257C35D294E1}"/>
              </a:ext>
            </a:extLst>
          </p:cNvPr>
          <p:cNvSpPr/>
          <p:nvPr/>
        </p:nvSpPr>
        <p:spPr>
          <a:xfrm>
            <a:off x="8939247" y="3382938"/>
            <a:ext cx="2413063" cy="1791882"/>
          </a:xfrm>
          <a:prstGeom prst="cloud">
            <a:avLst/>
          </a:prstGeom>
          <a:solidFill>
            <a:schemeClr val="tx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192"/>
            <a:r>
              <a:rPr lang="en-US" sz="1765" b="1" dirty="0">
                <a:solidFill>
                  <a:sysClr val="windowText" lastClr="000000"/>
                </a:solidFill>
                <a:latin typeface="Segoe UI Light" panose="020B0502040204020203" pitchFamily="34" charset="0"/>
                <a:cs typeface="Segoe UI Light" panose="020B0502040204020203" pitchFamily="34" charset="0"/>
              </a:rPr>
              <a:t>Business logic</a:t>
            </a:r>
          </a:p>
        </p:txBody>
      </p:sp>
      <p:cxnSp>
        <p:nvCxnSpPr>
          <p:cNvPr id="11" name="Straight Arrow Connector 10">
            <a:extLst>
              <a:ext uri="{FF2B5EF4-FFF2-40B4-BE49-F238E27FC236}">
                <a16:creationId xmlns:a16="http://schemas.microsoft.com/office/drawing/2014/main" id="{21AE8F44-B3FD-40FA-B29C-DB56E5211A21}"/>
              </a:ext>
            </a:extLst>
          </p:cNvPr>
          <p:cNvCxnSpPr>
            <a:cxnSpLocks/>
            <a:stCxn id="5" idx="3"/>
            <a:endCxn id="10" idx="2"/>
          </p:cNvCxnSpPr>
          <p:nvPr/>
        </p:nvCxnSpPr>
        <p:spPr>
          <a:xfrm flipV="1">
            <a:off x="7644533" y="4278878"/>
            <a:ext cx="1302198" cy="24655"/>
          </a:xfrm>
          <a:prstGeom prst="straightConnector1">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 name="Connector: Curved 31">
            <a:extLst>
              <a:ext uri="{FF2B5EF4-FFF2-40B4-BE49-F238E27FC236}">
                <a16:creationId xmlns:a16="http://schemas.microsoft.com/office/drawing/2014/main" id="{7042A24E-1330-436F-B474-46FA1A478EEB}"/>
              </a:ext>
            </a:extLst>
          </p:cNvPr>
          <p:cNvCxnSpPr>
            <a:cxnSpLocks/>
            <a:stCxn id="6" idx="0"/>
            <a:endCxn id="8" idx="2"/>
          </p:cNvCxnSpPr>
          <p:nvPr/>
        </p:nvCxnSpPr>
        <p:spPr>
          <a:xfrm rot="5400000" flipH="1" flipV="1">
            <a:off x="1736969" y="3358293"/>
            <a:ext cx="1290342" cy="1172386"/>
          </a:xfrm>
          <a:prstGeom prst="curvedConnector3">
            <a:avLst>
              <a:gd name="adj1" fmla="val 55313"/>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5" name="Connector: Curved 34">
            <a:extLst>
              <a:ext uri="{FF2B5EF4-FFF2-40B4-BE49-F238E27FC236}">
                <a16:creationId xmlns:a16="http://schemas.microsoft.com/office/drawing/2014/main" id="{B612B17F-CC58-42C7-9BE9-C4D26BDD52FB}"/>
              </a:ext>
            </a:extLst>
          </p:cNvPr>
          <p:cNvCxnSpPr>
            <a:cxnSpLocks/>
            <a:stCxn id="8" idx="3"/>
            <a:endCxn id="5" idx="0"/>
          </p:cNvCxnSpPr>
          <p:nvPr/>
        </p:nvCxnSpPr>
        <p:spPr>
          <a:xfrm>
            <a:off x="4140719" y="2947082"/>
            <a:ext cx="2484756" cy="704089"/>
          </a:xfrm>
          <a:prstGeom prst="curvedConnector2">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Connector: Curved 37">
            <a:extLst>
              <a:ext uri="{FF2B5EF4-FFF2-40B4-BE49-F238E27FC236}">
                <a16:creationId xmlns:a16="http://schemas.microsoft.com/office/drawing/2014/main" id="{4E37C41D-A347-450F-AC99-28EDF24A4B0B}"/>
              </a:ext>
            </a:extLst>
          </p:cNvPr>
          <p:cNvCxnSpPr>
            <a:cxnSpLocks/>
            <a:stCxn id="5" idx="0"/>
            <a:endCxn id="8" idx="3"/>
          </p:cNvCxnSpPr>
          <p:nvPr/>
        </p:nvCxnSpPr>
        <p:spPr>
          <a:xfrm rot="16200000" flipV="1">
            <a:off x="5031053" y="2056748"/>
            <a:ext cx="704089" cy="2484756"/>
          </a:xfrm>
          <a:prstGeom prst="curvedConnector2">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5" name="Connector: Curved 44">
            <a:extLst>
              <a:ext uri="{FF2B5EF4-FFF2-40B4-BE49-F238E27FC236}">
                <a16:creationId xmlns:a16="http://schemas.microsoft.com/office/drawing/2014/main" id="{440AB167-BAD3-46D8-92F6-E8AAB963C4CE}"/>
              </a:ext>
            </a:extLst>
          </p:cNvPr>
          <p:cNvCxnSpPr>
            <a:cxnSpLocks/>
            <a:stCxn id="8" idx="2"/>
            <a:endCxn id="6" idx="0"/>
          </p:cNvCxnSpPr>
          <p:nvPr/>
        </p:nvCxnSpPr>
        <p:spPr>
          <a:xfrm rot="5400000">
            <a:off x="1736970" y="3358293"/>
            <a:ext cx="1290342" cy="1172386"/>
          </a:xfrm>
          <a:prstGeom prst="curvedConnector3">
            <a:avLst>
              <a:gd name="adj1" fmla="val 58856"/>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2" name="Connector: Curved 51">
            <a:extLst>
              <a:ext uri="{FF2B5EF4-FFF2-40B4-BE49-F238E27FC236}">
                <a16:creationId xmlns:a16="http://schemas.microsoft.com/office/drawing/2014/main" id="{B9A758EE-6063-4553-95C6-725798228B87}"/>
              </a:ext>
            </a:extLst>
          </p:cNvPr>
          <p:cNvCxnSpPr>
            <a:cxnSpLocks/>
            <a:stCxn id="6" idx="3"/>
            <a:endCxn id="5" idx="1"/>
          </p:cNvCxnSpPr>
          <p:nvPr/>
        </p:nvCxnSpPr>
        <p:spPr>
          <a:xfrm flipV="1">
            <a:off x="2424854" y="4303533"/>
            <a:ext cx="3181564" cy="589453"/>
          </a:xfrm>
          <a:prstGeom prst="curvedConnector3">
            <a:avLst>
              <a:gd name="adj1" fmla="val 41380"/>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Connector: Curved 55">
            <a:extLst>
              <a:ext uri="{FF2B5EF4-FFF2-40B4-BE49-F238E27FC236}">
                <a16:creationId xmlns:a16="http://schemas.microsoft.com/office/drawing/2014/main" id="{09D99A7F-5694-41F8-B357-7F7E5300082D}"/>
              </a:ext>
            </a:extLst>
          </p:cNvPr>
          <p:cNvCxnSpPr>
            <a:cxnSpLocks/>
            <a:stCxn id="5" idx="1"/>
            <a:endCxn id="6" idx="3"/>
          </p:cNvCxnSpPr>
          <p:nvPr/>
        </p:nvCxnSpPr>
        <p:spPr>
          <a:xfrm rot="10800000" flipV="1">
            <a:off x="2424854" y="4303533"/>
            <a:ext cx="3181564" cy="589453"/>
          </a:xfrm>
          <a:prstGeom prst="curvedConnector3">
            <a:avLst>
              <a:gd name="adj1" fmla="val 36352"/>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2" name="Rectangle: Folded Corner 71">
            <a:extLst>
              <a:ext uri="{FF2B5EF4-FFF2-40B4-BE49-F238E27FC236}">
                <a16:creationId xmlns:a16="http://schemas.microsoft.com/office/drawing/2014/main" id="{10344EAF-05F0-4750-85A2-145921D5FDE9}"/>
              </a:ext>
            </a:extLst>
          </p:cNvPr>
          <p:cNvSpPr/>
          <p:nvPr/>
        </p:nvSpPr>
        <p:spPr>
          <a:xfrm>
            <a:off x="1468000" y="3749581"/>
            <a:ext cx="1828282" cy="411946"/>
          </a:xfrm>
          <a:prstGeom prst="foldedCorner">
            <a:avLst>
              <a:gd name="adj" fmla="val 2666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Light" panose="020B0502040204020203" pitchFamily="34" charset="0"/>
              </a:rPr>
              <a:t>“where do I go”</a:t>
            </a:r>
          </a:p>
        </p:txBody>
      </p:sp>
      <p:sp>
        <p:nvSpPr>
          <p:cNvPr id="73" name="Rectangle: Folded Corner 72">
            <a:extLst>
              <a:ext uri="{FF2B5EF4-FFF2-40B4-BE49-F238E27FC236}">
                <a16:creationId xmlns:a16="http://schemas.microsoft.com/office/drawing/2014/main" id="{8E5AB058-BEC1-4968-87E6-3E6C2CD0892A}"/>
              </a:ext>
            </a:extLst>
          </p:cNvPr>
          <p:cNvSpPr/>
          <p:nvPr/>
        </p:nvSpPr>
        <p:spPr>
          <a:xfrm>
            <a:off x="1468000" y="3560540"/>
            <a:ext cx="1828282" cy="606657"/>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bold" panose="020B0802040204020203" pitchFamily="34" charset="0"/>
              </a:rPr>
              <a:t>Device authentication</a:t>
            </a:r>
          </a:p>
        </p:txBody>
      </p:sp>
      <p:sp>
        <p:nvSpPr>
          <p:cNvPr id="74" name="Rectangle: Folded Corner 73">
            <a:extLst>
              <a:ext uri="{FF2B5EF4-FFF2-40B4-BE49-F238E27FC236}">
                <a16:creationId xmlns:a16="http://schemas.microsoft.com/office/drawing/2014/main" id="{8B35449B-3B60-4D1D-AFE8-1C11332990BB}"/>
              </a:ext>
            </a:extLst>
          </p:cNvPr>
          <p:cNvSpPr/>
          <p:nvPr/>
        </p:nvSpPr>
        <p:spPr>
          <a:xfrm>
            <a:off x="839692" y="1461464"/>
            <a:ext cx="2016114" cy="695891"/>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dirty="0">
                <a:solidFill>
                  <a:schemeClr val="tx1"/>
                </a:solidFill>
                <a:latin typeface="Segoe UI (Body)"/>
                <a:cs typeface="Segoe UI bold" panose="020B0802040204020203" pitchFamily="34" charset="0"/>
              </a:rPr>
              <a:t>Pre-register device enrollment info</a:t>
            </a:r>
          </a:p>
        </p:txBody>
      </p:sp>
      <p:sp>
        <p:nvSpPr>
          <p:cNvPr id="75" name="Rectangle: Folded Corner 74">
            <a:extLst>
              <a:ext uri="{FF2B5EF4-FFF2-40B4-BE49-F238E27FC236}">
                <a16:creationId xmlns:a16="http://schemas.microsoft.com/office/drawing/2014/main" id="{8D02624A-5B6C-4752-806F-1D9A59C901C1}"/>
              </a:ext>
            </a:extLst>
          </p:cNvPr>
          <p:cNvSpPr/>
          <p:nvPr/>
        </p:nvSpPr>
        <p:spPr>
          <a:xfrm>
            <a:off x="4626207" y="2444855"/>
            <a:ext cx="1828282" cy="952573"/>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dirty="0">
                <a:solidFill>
                  <a:schemeClr val="tx1"/>
                </a:solidFill>
                <a:latin typeface="Segoe UI (Body)"/>
                <a:cs typeface="Segoe UI bold" panose="020B0802040204020203" pitchFamily="34" charset="0"/>
              </a:rPr>
              <a:t>Register new device, populate initial config</a:t>
            </a:r>
          </a:p>
        </p:txBody>
      </p:sp>
      <p:sp>
        <p:nvSpPr>
          <p:cNvPr id="76" name="Rectangle: Folded Corner 75">
            <a:extLst>
              <a:ext uri="{FF2B5EF4-FFF2-40B4-BE49-F238E27FC236}">
                <a16:creationId xmlns:a16="http://schemas.microsoft.com/office/drawing/2014/main" id="{CD0DF124-E93C-4DF8-A3CA-6CC94790FC9B}"/>
              </a:ext>
            </a:extLst>
          </p:cNvPr>
          <p:cNvSpPr/>
          <p:nvPr/>
        </p:nvSpPr>
        <p:spPr>
          <a:xfrm>
            <a:off x="4626207" y="2840449"/>
            <a:ext cx="1828282" cy="620125"/>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bold" panose="020B0802040204020203" pitchFamily="34" charset="0"/>
              </a:rPr>
              <a:t>IoT Hub Connection String</a:t>
            </a:r>
          </a:p>
        </p:txBody>
      </p:sp>
      <p:sp>
        <p:nvSpPr>
          <p:cNvPr id="77" name="Rectangle: Folded Corner 76">
            <a:extLst>
              <a:ext uri="{FF2B5EF4-FFF2-40B4-BE49-F238E27FC236}">
                <a16:creationId xmlns:a16="http://schemas.microsoft.com/office/drawing/2014/main" id="{59F900C3-1802-4F3A-8CF0-ED479855B2D8}"/>
              </a:ext>
            </a:extLst>
          </p:cNvPr>
          <p:cNvSpPr/>
          <p:nvPr/>
        </p:nvSpPr>
        <p:spPr>
          <a:xfrm>
            <a:off x="1468310" y="3558686"/>
            <a:ext cx="1828282" cy="614556"/>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dirty="0">
                <a:solidFill>
                  <a:schemeClr val="tx1"/>
                </a:solidFill>
                <a:latin typeface="Segoe UI (Body)"/>
                <a:cs typeface="Segoe UI bold" panose="020B0802040204020203" pitchFamily="34" charset="0"/>
              </a:rPr>
              <a:t>IoT Hub Connection String</a:t>
            </a:r>
          </a:p>
        </p:txBody>
      </p:sp>
      <p:sp>
        <p:nvSpPr>
          <p:cNvPr id="78" name="Rectangle: Folded Corner 77">
            <a:extLst>
              <a:ext uri="{FF2B5EF4-FFF2-40B4-BE49-F238E27FC236}">
                <a16:creationId xmlns:a16="http://schemas.microsoft.com/office/drawing/2014/main" id="{41726772-ECBD-494A-8F02-8340A1EB50E3}"/>
              </a:ext>
            </a:extLst>
          </p:cNvPr>
          <p:cNvSpPr/>
          <p:nvPr/>
        </p:nvSpPr>
        <p:spPr>
          <a:xfrm>
            <a:off x="3101495" y="4294711"/>
            <a:ext cx="1828282" cy="411946"/>
          </a:xfrm>
          <a:prstGeom prst="foldedCorner">
            <a:avLst>
              <a:gd name="adj" fmla="val 2666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Light" panose="020B0502040204020203" pitchFamily="34" charset="0"/>
              </a:rPr>
              <a:t>Establish connection</a:t>
            </a:r>
          </a:p>
        </p:txBody>
      </p:sp>
      <p:sp>
        <p:nvSpPr>
          <p:cNvPr id="79" name="Rectangle: Folded Corner 78">
            <a:extLst>
              <a:ext uri="{FF2B5EF4-FFF2-40B4-BE49-F238E27FC236}">
                <a16:creationId xmlns:a16="http://schemas.microsoft.com/office/drawing/2014/main" id="{41D5C8D9-0BBC-45A3-AF29-18E21B19FD52}"/>
              </a:ext>
            </a:extLst>
          </p:cNvPr>
          <p:cNvSpPr/>
          <p:nvPr/>
        </p:nvSpPr>
        <p:spPr>
          <a:xfrm>
            <a:off x="3312743" y="4589656"/>
            <a:ext cx="1828282" cy="411946"/>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bold" panose="020B0802040204020203" pitchFamily="34" charset="0"/>
              </a:rPr>
              <a:t>Initial configuration</a:t>
            </a:r>
          </a:p>
        </p:txBody>
      </p:sp>
      <p:sp>
        <p:nvSpPr>
          <p:cNvPr id="80" name="Rectangle: Folded Corner 79">
            <a:extLst>
              <a:ext uri="{FF2B5EF4-FFF2-40B4-BE49-F238E27FC236}">
                <a16:creationId xmlns:a16="http://schemas.microsoft.com/office/drawing/2014/main" id="{D84A4F77-E75E-4978-92E3-B2843077B17A}"/>
              </a:ext>
            </a:extLst>
          </p:cNvPr>
          <p:cNvSpPr/>
          <p:nvPr/>
        </p:nvSpPr>
        <p:spPr>
          <a:xfrm>
            <a:off x="6868221" y="3685614"/>
            <a:ext cx="1828282" cy="411946"/>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600">
                <a:solidFill>
                  <a:schemeClr val="tx1"/>
                </a:solidFill>
                <a:latin typeface="Segoe UI (Body)"/>
                <a:cs typeface="Segoe UI bold" panose="020B0802040204020203" pitchFamily="34" charset="0"/>
              </a:rPr>
              <a:t>Device telemetry</a:t>
            </a:r>
          </a:p>
        </p:txBody>
      </p:sp>
      <p:sp>
        <p:nvSpPr>
          <p:cNvPr id="81" name="Rectangle: Folded Corner 80">
            <a:extLst>
              <a:ext uri="{FF2B5EF4-FFF2-40B4-BE49-F238E27FC236}">
                <a16:creationId xmlns:a16="http://schemas.microsoft.com/office/drawing/2014/main" id="{F00D6A06-3366-4793-991A-F20836A6015C}"/>
              </a:ext>
            </a:extLst>
          </p:cNvPr>
          <p:cNvSpPr/>
          <p:nvPr/>
        </p:nvSpPr>
        <p:spPr>
          <a:xfrm>
            <a:off x="9231638" y="4589656"/>
            <a:ext cx="1828282" cy="467658"/>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600" dirty="0">
                <a:solidFill>
                  <a:schemeClr val="tx1"/>
                </a:solidFill>
                <a:latin typeface="Segoe UI (Body)"/>
                <a:cs typeface="Segoe UI bold" panose="020B0802040204020203" pitchFamily="34" charset="0"/>
              </a:rPr>
              <a:t>Insights</a:t>
            </a:r>
          </a:p>
        </p:txBody>
      </p:sp>
      <p:sp>
        <p:nvSpPr>
          <p:cNvPr id="25" name="Rectangle: Folded Corner 24">
            <a:extLst>
              <a:ext uri="{FF2B5EF4-FFF2-40B4-BE49-F238E27FC236}">
                <a16:creationId xmlns:a16="http://schemas.microsoft.com/office/drawing/2014/main" id="{F8562333-19CE-4BF7-896C-87CEEA54E190}"/>
              </a:ext>
            </a:extLst>
          </p:cNvPr>
          <p:cNvSpPr/>
          <p:nvPr/>
        </p:nvSpPr>
        <p:spPr>
          <a:xfrm>
            <a:off x="3101494" y="4289041"/>
            <a:ext cx="1828282" cy="411946"/>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bold" panose="020B0802040204020203" pitchFamily="34" charset="0"/>
              </a:rPr>
              <a:t>Device telemetry</a:t>
            </a:r>
          </a:p>
        </p:txBody>
      </p:sp>
      <p:sp>
        <p:nvSpPr>
          <p:cNvPr id="26" name="Rectangle: Folded Corner 25">
            <a:extLst>
              <a:ext uri="{FF2B5EF4-FFF2-40B4-BE49-F238E27FC236}">
                <a16:creationId xmlns:a16="http://schemas.microsoft.com/office/drawing/2014/main" id="{7996EABC-3C9D-49DB-8477-763D4830F3ED}"/>
              </a:ext>
            </a:extLst>
          </p:cNvPr>
          <p:cNvSpPr/>
          <p:nvPr/>
        </p:nvSpPr>
        <p:spPr>
          <a:xfrm>
            <a:off x="5747833" y="4531063"/>
            <a:ext cx="1828282" cy="411946"/>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bold" panose="020B0802040204020203" pitchFamily="34" charset="0"/>
              </a:rPr>
              <a:t>…</a:t>
            </a:r>
            <a:r>
              <a:rPr lang="en-US" sz="1400" err="1">
                <a:solidFill>
                  <a:schemeClr val="tx1"/>
                </a:solidFill>
                <a:latin typeface="Segoe UI (Body)"/>
                <a:cs typeface="Segoe UI bold" panose="020B0802040204020203" pitchFamily="34" charset="0"/>
              </a:rPr>
              <a:t>etc</a:t>
            </a:r>
            <a:endParaRPr lang="en-US" sz="1400">
              <a:solidFill>
                <a:schemeClr val="tx1"/>
              </a:solidFill>
              <a:latin typeface="Segoe UI (Body)"/>
              <a:cs typeface="Segoe UI bold" panose="020B0802040204020203" pitchFamily="34" charset="0"/>
            </a:endParaRPr>
          </a:p>
        </p:txBody>
      </p:sp>
      <p:sp>
        <p:nvSpPr>
          <p:cNvPr id="12" name="chip" title="Icon of a computer chip">
            <a:extLst>
              <a:ext uri="{FF2B5EF4-FFF2-40B4-BE49-F238E27FC236}">
                <a16:creationId xmlns:a16="http://schemas.microsoft.com/office/drawing/2014/main" id="{DEDF25D9-922F-419A-9AB9-880EC9B149C6}"/>
              </a:ext>
            </a:extLst>
          </p:cNvPr>
          <p:cNvSpPr>
            <a:spLocks noChangeAspect="1" noEditPoints="1"/>
          </p:cNvSpPr>
          <p:nvPr/>
        </p:nvSpPr>
        <p:spPr bwMode="auto">
          <a:xfrm>
            <a:off x="658707" y="4691137"/>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pic>
        <p:nvPicPr>
          <p:cNvPr id="17" name="Picture 16" descr="A picture containing clock&#10;&#10;Description automatically generated">
            <a:extLst>
              <a:ext uri="{FF2B5EF4-FFF2-40B4-BE49-F238E27FC236}">
                <a16:creationId xmlns:a16="http://schemas.microsoft.com/office/drawing/2014/main" id="{ECAFF572-5875-4589-AD8D-4C494A15611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25632" y="4154851"/>
            <a:ext cx="314983" cy="314983"/>
          </a:xfrm>
          <a:prstGeom prst="rect">
            <a:avLst/>
          </a:prstGeom>
        </p:spPr>
      </p:pic>
      <p:pic>
        <p:nvPicPr>
          <p:cNvPr id="18" name="Graphic 17">
            <a:extLst>
              <a:ext uri="{FF2B5EF4-FFF2-40B4-BE49-F238E27FC236}">
                <a16:creationId xmlns:a16="http://schemas.microsoft.com/office/drawing/2014/main" id="{C9C2D03A-0724-4807-9A0C-0B89B7B56F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88836" y="2677493"/>
            <a:ext cx="558328" cy="581943"/>
          </a:xfrm>
          <a:prstGeom prst="rect">
            <a:avLst/>
          </a:prstGeom>
        </p:spPr>
      </p:pic>
    </p:spTree>
    <p:extLst>
      <p:ext uri="{BB962C8B-B14F-4D97-AF65-F5344CB8AC3E}">
        <p14:creationId xmlns:p14="http://schemas.microsoft.com/office/powerpoint/2010/main" val="87628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3"/>
                                        </p:tgtEl>
                                        <p:attrNameLst>
                                          <p:attrName>style.visibility</p:attrName>
                                        </p:attrNameLst>
                                      </p:cBhvr>
                                      <p:to>
                                        <p:strVal val="hidden"/>
                                      </p:to>
                                    </p:set>
                                  </p:childTnLst>
                                </p:cTn>
                              </p:par>
                              <p:par>
                                <p:cTn id="9" presetID="37" presetClass="path" presetSubtype="0" accel="50000" decel="50000" fill="hold" grpId="0" nodeType="withEffect">
                                  <p:stCondLst>
                                    <p:cond delay="0"/>
                                  </p:stCondLst>
                                  <p:childTnLst>
                                    <p:animMotion origin="layout" path="M -0.03294 -0.05278 L 0.02058 -0.03611 C 0.03164 -0.03195 0.04453 -0.01898 0.05625 -0.00116 C 0.06914 0.01944 0.07696 0.04074 0.07995 0.06018 L 0.09571 0.15139 " pathEditMode="relative" rAng="2520000" ptsTypes="AAAAA">
                                      <p:cBhvr>
                                        <p:cTn id="10" dur="2000" fill="hold"/>
                                        <p:tgtEl>
                                          <p:spTgt spid="74"/>
                                        </p:tgtEl>
                                        <p:attrNameLst>
                                          <p:attrName>ppt_x</p:attrName>
                                          <p:attrName>ppt_y</p:attrName>
                                        </p:attrNameLst>
                                      </p:cBhvr>
                                      <p:rCtr x="7682" y="7731"/>
                                    </p:animMotion>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xit" presetSubtype="0" fill="hold" grpId="2" nodeType="withEffect">
                                  <p:stCondLst>
                                    <p:cond delay="0"/>
                                  </p:stCondLst>
                                  <p:childTnLst>
                                    <p:set>
                                      <p:cBhvr>
                                        <p:cTn id="18" dur="1" fill="hold">
                                          <p:stCondLst>
                                            <p:cond delay="0"/>
                                          </p:stCondLst>
                                        </p:cTn>
                                        <p:tgtEl>
                                          <p:spTgt spid="74"/>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3"/>
                                        </p:tgtEl>
                                        <p:attrNameLst>
                                          <p:attrName>style.visibility</p:attrName>
                                        </p:attrNameLst>
                                      </p:cBhvr>
                                      <p:to>
                                        <p:strVal val="visible"/>
                                      </p:to>
                                    </p:set>
                                  </p:childTnLst>
                                </p:cTn>
                              </p:par>
                              <p:par>
                                <p:cTn id="23" presetID="0" presetClass="path" presetSubtype="0" accel="50000" decel="50000" fill="hold" grpId="2" nodeType="withEffect">
                                  <p:stCondLst>
                                    <p:cond delay="0"/>
                                  </p:stCondLst>
                                  <p:childTnLst>
                                    <p:animMotion origin="layout" path="M 0.03503 -0.09051 L 0.03503 -0.09028 C 0.03412 -0.08658 0.03347 -0.08264 0.03255 -0.07871 C 0.0319 -0.07639 0.03099 -0.07454 0.03021 -0.07223 C 0.02956 -0.07061 0.0293 -0.06852 0.02852 -0.0669 C 0.02787 -0.06551 0.02696 -0.06459 0.02617 -0.06297 C 0.02513 -0.06042 0.02435 -0.05764 0.02305 -0.0551 C 0.02071 -0.05024 0.0181 -0.04584 0.01602 -0.04051 C 0.01498 -0.03797 0.01407 -0.03519 0.01289 -0.03264 C 0.01224 -0.03125 0.0112 -0.03033 0.01055 -0.02871 C 0.00886 -0.02524 0.00703 -0.02199 0.00573 -0.01829 C 0.00469 -0.01505 0.00391 -0.01181 0.00261 -0.00903 C 0.00143 -0.00649 -0.00039 -0.0051 -0.0013 -0.00232 C -0.00182 -0.0007 -0.00234 0.00115 -0.00286 0.00301 C -0.00338 0.00416 -0.00403 0.00532 -0.00442 0.00694 C -0.00755 0.01689 -0.00195 0.00324 -0.00755 0.01597 C -0.00911 0.02407 -0.00742 0.01597 -0.00989 0.02384 C -0.01107 0.02754 -0.01315 0.03449 -0.01315 0.03472 C -0.01471 0.0456 -0.01276 0.03472 -0.01549 0.04375 C -0.01588 0.0449 -0.01588 0.04652 -0.01627 0.04768 C -0.02148 0.06319 -0.01562 0.04166 -0.02096 0.05949 C -0.02135 0.06088 -0.02135 0.06226 -0.02187 0.06342 C -0.02278 0.0662 -0.02383 0.06875 -0.025 0.07129 L -0.02812 0.07916 C -0.02838 0.08055 -0.02838 0.08194 -0.0289 0.08333 C -0.02982 0.08588 -0.03151 0.08819 -0.03203 0.0912 C -0.03346 0.09838 -0.0319 0.09189 -0.03437 0.09907 C -0.03841 0.11064 -0.03372 0.09861 -0.0375 0.10833 C -0.03945 0.11759 -0.03672 0.10648 -0.04062 0.1162 C -0.04114 0.11736 -0.04101 0.11921 -0.0414 0.12013 C -0.04205 0.12129 -0.0431 0.12176 -0.04375 0.12268 C -0.04935 0.13009 -0.04049 0.1199 -0.04765 0.12824 C -0.05247 0.12523 -0.05078 0.12777 -0.04843 0.11342 C -0.04661 0.10162 -0.04804 0.11088 -0.04531 0.10439 C -0.04127 0.09375 -0.04661 0.1037 -0.0414 0.09513 C -0.03997 0.08773 -0.04153 0.09444 -0.03906 0.08726 C -0.03854 0.08541 -0.03802 0.08379 -0.0375 0.08194 C -0.03711 0.08055 -0.03646 0.07939 -0.03593 0.07801 C -0.03476 0.07453 -0.03398 0.07083 -0.03281 0.06736 C -0.03125 0.06319 -0.02942 0.05879 -0.02812 0.05439 C -0.02539 0.04537 -0.0276 0.05231 -0.025 0.04513 C -0.02409 0.04282 -0.02343 0.04051 -0.02265 0.03865 C -0.0207 0.03379 -0.02057 0.03379 -0.01862 0.03055 C -0.01836 0.0287 -0.01836 0.02685 -0.01784 0.02523 C -0.01718 0.02338 -0.01627 0.02199 -0.01549 0.0199 C -0.01484 0.01875 -0.01445 0.01736 -0.01393 0.01597 C -0.01315 0.01412 -0.01224 0.01273 -0.01159 0.01088 C -0.01093 0.00902 -0.01054 0.00717 -0.00989 0.00555 C -0.0095 0.00416 -0.00898 0.00301 -0.00833 0.00162 C -0.0069 -0.00602 -0.00872 0.00115 -0.00521 -0.00625 C -0.00416 -0.0088 -0.00312 -0.01158 -0.00208 -0.01436 L -0.00052 -0.01829 C -2.5E-6 -0.01945 0.00078 -0.02061 0.00104 -0.02223 C 0.00235 -0.02848 0.00235 -0.02987 0.00417 -0.03519 C 0.00469 -0.03658 0.00534 -0.03797 0.00573 -0.03912 C 0.00612 -0.04051 0.00612 -0.04213 0.00651 -0.04306 C 0.00755 -0.04607 0.00886 -0.04815 0.00977 -0.05093 C 0.01016 -0.05278 0.01055 -0.05487 0.01133 -0.05649 C 0.01224 -0.05834 0.01328 -0.05973 0.01446 -0.06181 L 0.01602 -0.06436 C 0.01654 -0.06505 0.01719 -0.06574 0.01758 -0.0669 C 0.0181 -0.06829 0.01849 -0.06968 0.01914 -0.07084 C 0.02018 -0.07269 0.02149 -0.07408 0.02227 -0.07616 L 0.02539 -0.08403 C 0.02604 -0.08542 0.02617 -0.08727 0.02696 -0.08797 L 0.0293 -0.09051 C 0.02995 -0.0919 0.03021 -0.09352 0.03099 -0.09445 C 0.03164 -0.09537 0.03255 -0.09514 0.03334 -0.09584 C 0.0336 -0.09607 0.03386 -0.09676 0.03412 -0.09699 L 0.03503 -0.09051 Z " pathEditMode="relative" rAng="0" ptsTypes="AAAAAAAAAAAAAAAAAAAAAAAAAAAAAAAAAAAAAAAAAAAAAAAAAAAAAAAAAAAAAAAAAAAAAA">
                                      <p:cBhvr>
                                        <p:cTn id="24" dur="2000" fill="hold"/>
                                        <p:tgtEl>
                                          <p:spTgt spid="73"/>
                                        </p:tgtEl>
                                        <p:attrNameLst>
                                          <p:attrName>ppt_x</p:attrName>
                                          <p:attrName>ppt_y</p:attrName>
                                        </p:attrNameLst>
                                      </p:cBhvr>
                                      <p:rCtr x="-4297" y="10602"/>
                                    </p:animMotion>
                                  </p:childTnLst>
                                </p:cTn>
                              </p:par>
                              <p:par>
                                <p:cTn id="25" presetID="1" presetClass="exit" presetSubtype="0" fill="hold" grpId="1" nodeType="withEffect">
                                  <p:stCondLst>
                                    <p:cond delay="0"/>
                                  </p:stCondLst>
                                  <p:childTnLst>
                                    <p:set>
                                      <p:cBhvr>
                                        <p:cTn id="26" dur="1" fill="hold">
                                          <p:stCondLst>
                                            <p:cond delay="0"/>
                                          </p:stCondLst>
                                        </p:cTn>
                                        <p:tgtEl>
                                          <p:spTgt spid="7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xit" presetSubtype="0" fill="hold" grpId="1" nodeType="withEffect">
                                  <p:stCondLst>
                                    <p:cond delay="0"/>
                                  </p:stCondLst>
                                  <p:childTnLst>
                                    <p:set>
                                      <p:cBhvr>
                                        <p:cTn id="32" dur="1" fill="hold">
                                          <p:stCondLst>
                                            <p:cond delay="0"/>
                                          </p:stCondLst>
                                        </p:cTn>
                                        <p:tgtEl>
                                          <p:spTgt spid="73"/>
                                        </p:tgtEl>
                                        <p:attrNameLst>
                                          <p:attrName>style.visibility</p:attrName>
                                        </p:attrNameLst>
                                      </p:cBhvr>
                                      <p:to>
                                        <p:strVal val="hidden"/>
                                      </p:to>
                                    </p:set>
                                  </p:childTnLst>
                                </p:cTn>
                              </p:par>
                              <p:par>
                                <p:cTn id="33" presetID="1" presetClass="entr" presetSubtype="0" fill="hold" grpId="0" nodeType="withEffect">
                                  <p:stCondLst>
                                    <p:cond delay="0"/>
                                  </p:stCondLst>
                                  <p:childTnLst>
                                    <p:set>
                                      <p:cBhvr>
                                        <p:cTn id="34" dur="1" fill="hold">
                                          <p:stCondLst>
                                            <p:cond delay="0"/>
                                          </p:stCondLst>
                                        </p:cTn>
                                        <p:tgtEl>
                                          <p:spTgt spid="7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8"/>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75"/>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76"/>
                                        </p:tgtEl>
                                        <p:attrNameLst>
                                          <p:attrName>style.visibility</p:attrName>
                                        </p:attrNameLst>
                                      </p:cBhvr>
                                      <p:to>
                                        <p:strVal val="visible"/>
                                      </p:to>
                                    </p:set>
                                  </p:childTnLst>
                                </p:cTn>
                              </p:par>
                              <p:par>
                                <p:cTn id="43" presetID="1" presetClass="exit" presetSubtype="0" fill="hold" nodeType="withEffect">
                                  <p:stCondLst>
                                    <p:cond delay="0"/>
                                  </p:stCondLst>
                                  <p:childTnLst>
                                    <p:set>
                                      <p:cBhvr>
                                        <p:cTn id="44" dur="1" fill="hold">
                                          <p:stCondLst>
                                            <p:cond delay="0"/>
                                          </p:stCondLst>
                                        </p:cTn>
                                        <p:tgtEl>
                                          <p:spTgt spid="35"/>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5"/>
                                        </p:tgtEl>
                                        <p:attrNameLst>
                                          <p:attrName>style.visibility</p:attrName>
                                        </p:attrNameLst>
                                      </p:cBhvr>
                                      <p:to>
                                        <p:strVal val="visible"/>
                                      </p:to>
                                    </p:set>
                                  </p:childTnLst>
                                </p:cTn>
                              </p:par>
                              <p:par>
                                <p:cTn id="49" presetID="1" presetClass="exit" presetSubtype="0" fill="hold" grpId="1" nodeType="withEffect">
                                  <p:stCondLst>
                                    <p:cond delay="0"/>
                                  </p:stCondLst>
                                  <p:childTnLst>
                                    <p:set>
                                      <p:cBhvr>
                                        <p:cTn id="50" dur="1" fill="hold">
                                          <p:stCondLst>
                                            <p:cond delay="0"/>
                                          </p:stCondLst>
                                        </p:cTn>
                                        <p:tgtEl>
                                          <p:spTgt spid="76"/>
                                        </p:tgtEl>
                                        <p:attrNameLst>
                                          <p:attrName>style.visibility</p:attrName>
                                        </p:attrNameLst>
                                      </p:cBhvr>
                                      <p:to>
                                        <p:strVal val="hidden"/>
                                      </p:to>
                                    </p:set>
                                  </p:childTnLst>
                                </p:cTn>
                              </p:par>
                              <p:par>
                                <p:cTn id="51" presetID="1" presetClass="entr" presetSubtype="0" fill="hold" grpId="0" nodeType="withEffect">
                                  <p:stCondLst>
                                    <p:cond delay="0"/>
                                  </p:stCondLst>
                                  <p:childTnLst>
                                    <p:set>
                                      <p:cBhvr>
                                        <p:cTn id="52" dur="1" fill="hold">
                                          <p:stCondLst>
                                            <p:cond delay="0"/>
                                          </p:stCondLst>
                                        </p:cTn>
                                        <p:tgtEl>
                                          <p:spTgt spid="77"/>
                                        </p:tgtEl>
                                        <p:attrNameLst>
                                          <p:attrName>style.visibility</p:attrName>
                                        </p:attrNameLst>
                                      </p:cBhvr>
                                      <p:to>
                                        <p:strVal val="visible"/>
                                      </p:to>
                                    </p:set>
                                  </p:childTnLst>
                                </p:cTn>
                              </p:par>
                              <p:par>
                                <p:cTn id="53" presetID="1" presetClass="exit" presetSubtype="0" fill="hold" nodeType="withEffect">
                                  <p:stCondLst>
                                    <p:cond delay="0"/>
                                  </p:stCondLst>
                                  <p:childTnLst>
                                    <p:set>
                                      <p:cBhvr>
                                        <p:cTn id="54" dur="1" fill="hold">
                                          <p:stCondLst>
                                            <p:cond delay="0"/>
                                          </p:stCondLst>
                                        </p:cTn>
                                        <p:tgtEl>
                                          <p:spTgt spid="32"/>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5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8"/>
                                        </p:tgtEl>
                                        <p:attrNameLst>
                                          <p:attrName>style.visibility</p:attrName>
                                        </p:attrNameLst>
                                      </p:cBhvr>
                                      <p:to>
                                        <p:strVal val="visible"/>
                                      </p:to>
                                    </p:set>
                                  </p:childTnLst>
                                </p:cTn>
                              </p:par>
                              <p:par>
                                <p:cTn id="61" presetID="1" presetClass="exit" presetSubtype="0" fill="hold" grpId="1" nodeType="withEffect">
                                  <p:stCondLst>
                                    <p:cond delay="0"/>
                                  </p:stCondLst>
                                  <p:childTnLst>
                                    <p:set>
                                      <p:cBhvr>
                                        <p:cTn id="62" dur="1" fill="hold">
                                          <p:stCondLst>
                                            <p:cond delay="0"/>
                                          </p:stCondLst>
                                        </p:cTn>
                                        <p:tgtEl>
                                          <p:spTgt spid="77"/>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5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9"/>
                                        </p:tgtEl>
                                        <p:attrNameLst>
                                          <p:attrName>style.visibility</p:attrName>
                                        </p:attrNameLst>
                                      </p:cBhvr>
                                      <p:to>
                                        <p:strVal val="visible"/>
                                      </p:to>
                                    </p:set>
                                  </p:childTnLst>
                                </p:cTn>
                              </p:par>
                              <p:par>
                                <p:cTn id="69" presetID="1" presetClass="exit" presetSubtype="0" fill="hold" grpId="1" nodeType="withEffect">
                                  <p:stCondLst>
                                    <p:cond delay="0"/>
                                  </p:stCondLst>
                                  <p:childTnLst>
                                    <p:set>
                                      <p:cBhvr>
                                        <p:cTn id="70" dur="1" fill="hold">
                                          <p:stCondLst>
                                            <p:cond delay="0"/>
                                          </p:stCondLst>
                                        </p:cTn>
                                        <p:tgtEl>
                                          <p:spTgt spid="78"/>
                                        </p:tgtEl>
                                        <p:attrNameLst>
                                          <p:attrName>style.visibility</p:attrName>
                                        </p:attrNameLst>
                                      </p:cBhvr>
                                      <p:to>
                                        <p:strVal val="hidden"/>
                                      </p:to>
                                    </p:set>
                                  </p:childTnLst>
                                </p:cTn>
                              </p:par>
                              <p:par>
                                <p:cTn id="71" presetID="1" presetClass="exit" presetSubtype="0" fill="hold" nodeType="withEffect">
                                  <p:stCondLst>
                                    <p:cond delay="0"/>
                                  </p:stCondLst>
                                  <p:childTnLst>
                                    <p:set>
                                      <p:cBhvr>
                                        <p:cTn id="72" dur="1" fill="hold">
                                          <p:stCondLst>
                                            <p:cond delay="0"/>
                                          </p:stCondLst>
                                        </p:cTn>
                                        <p:tgtEl>
                                          <p:spTgt spid="52"/>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5"/>
                                        </p:tgtEl>
                                        <p:attrNameLst>
                                          <p:attrName>style.visibility</p:attrName>
                                        </p:attrNameLst>
                                      </p:cBhvr>
                                      <p:to>
                                        <p:strVal val="visible"/>
                                      </p:to>
                                    </p:set>
                                  </p:childTnLst>
                                </p:cTn>
                              </p:par>
                              <p:par>
                                <p:cTn id="77" presetID="1" presetClass="exit" presetSubtype="0" fill="hold" grpId="2" nodeType="withEffect">
                                  <p:stCondLst>
                                    <p:cond delay="0"/>
                                  </p:stCondLst>
                                  <p:childTnLst>
                                    <p:set>
                                      <p:cBhvr>
                                        <p:cTn id="78" dur="1" fill="hold">
                                          <p:stCondLst>
                                            <p:cond delay="0"/>
                                          </p:stCondLst>
                                        </p:cTn>
                                        <p:tgtEl>
                                          <p:spTgt spid="79"/>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56"/>
                                        </p:tgtEl>
                                        <p:attrNameLst>
                                          <p:attrName>style.visibility</p:attrName>
                                        </p:attrNameLst>
                                      </p:cBhvr>
                                      <p:to>
                                        <p:strVal val="hidden"/>
                                      </p:to>
                                    </p:set>
                                  </p:childTnLst>
                                </p:cTn>
                              </p:par>
                              <p:par>
                                <p:cTn id="81" presetID="1" presetClass="entr" presetSubtype="0" fill="hold" nodeType="withEffect">
                                  <p:stCondLst>
                                    <p:cond delay="0"/>
                                  </p:stCondLst>
                                  <p:childTnLst>
                                    <p:set>
                                      <p:cBhvr>
                                        <p:cTn id="82" dur="1" fill="hold">
                                          <p:stCondLst>
                                            <p:cond delay="0"/>
                                          </p:stCondLst>
                                        </p:cTn>
                                        <p:tgtEl>
                                          <p:spTgt spid="52"/>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11"/>
                                        </p:tgtEl>
                                        <p:attrNameLst>
                                          <p:attrName>style.visibility</p:attrName>
                                        </p:attrNameLst>
                                      </p:cBhvr>
                                      <p:to>
                                        <p:strVal val="visible"/>
                                      </p:to>
                                    </p:set>
                                  </p:childTnLst>
                                </p:cTn>
                              </p:par>
                              <p:par>
                                <p:cTn id="87" presetID="1" presetClass="exit" presetSubtype="0" fill="hold" grpId="1" nodeType="withEffect">
                                  <p:stCondLst>
                                    <p:cond delay="0"/>
                                  </p:stCondLst>
                                  <p:childTnLst>
                                    <p:set>
                                      <p:cBhvr>
                                        <p:cTn id="88" dur="1" fill="hold">
                                          <p:stCondLst>
                                            <p:cond delay="0"/>
                                          </p:stCondLst>
                                        </p:cTn>
                                        <p:tgtEl>
                                          <p:spTgt spid="25"/>
                                        </p:tgtEl>
                                        <p:attrNameLst>
                                          <p:attrName>style.visibility</p:attrName>
                                        </p:attrNameLst>
                                      </p:cBhvr>
                                      <p:to>
                                        <p:strVal val="hidden"/>
                                      </p:to>
                                    </p:set>
                                  </p:childTnLst>
                                </p:cTn>
                              </p:par>
                              <p:par>
                                <p:cTn id="89" presetID="1" presetClass="exit" presetSubtype="0" fill="hold" grpId="1" nodeType="withEffect">
                                  <p:stCondLst>
                                    <p:cond delay="0"/>
                                  </p:stCondLst>
                                  <p:childTnLst>
                                    <p:set>
                                      <p:cBhvr>
                                        <p:cTn id="90" dur="1" fill="hold">
                                          <p:stCondLst>
                                            <p:cond delay="0"/>
                                          </p:stCondLst>
                                        </p:cTn>
                                        <p:tgtEl>
                                          <p:spTgt spid="79"/>
                                        </p:tgtEl>
                                        <p:attrNameLst>
                                          <p:attrName>style.visibility</p:attrName>
                                        </p:attrNameLst>
                                      </p:cBhvr>
                                      <p:to>
                                        <p:strVal val="hidden"/>
                                      </p:to>
                                    </p:set>
                                  </p:childTnLst>
                                </p:cTn>
                              </p:par>
                              <p:par>
                                <p:cTn id="91" presetID="1" presetClass="entr" presetSubtype="0" fill="hold" grpId="2" nodeType="withEffect">
                                  <p:stCondLst>
                                    <p:cond delay="0"/>
                                  </p:stCondLst>
                                  <p:childTnLst>
                                    <p:set>
                                      <p:cBhvr>
                                        <p:cTn id="92" dur="1" fill="hold">
                                          <p:stCondLst>
                                            <p:cond delay="0"/>
                                          </p:stCondLst>
                                        </p:cTn>
                                        <p:tgtEl>
                                          <p:spTgt spid="80"/>
                                        </p:tgtEl>
                                        <p:attrNameLst>
                                          <p:attrName>style.visibility</p:attrName>
                                        </p:attrNameLst>
                                      </p:cBhvr>
                                      <p:to>
                                        <p:strVal val="visible"/>
                                      </p:to>
                                    </p:set>
                                  </p:childTnLst>
                                </p:cTn>
                              </p:par>
                              <p:par>
                                <p:cTn id="93" presetID="37" presetClass="path" presetSubtype="0" accel="50000" decel="50000" fill="hold" grpId="0" nodeType="withEffect">
                                  <p:stCondLst>
                                    <p:cond delay="0"/>
                                  </p:stCondLst>
                                  <p:childTnLst>
                                    <p:animMotion origin="layout" path="M -0.02956 0.0588 L 0.00391 0.02199 C 0.01094 0.01366 0.02136 0.00949 0.03242 0.00949 C 0.04492 0.00949 0.05495 0.01366 0.06185 0.02199 L 0.09544 0.0588 " pathEditMode="relative" rAng="0" ptsTypes="AAAAA">
                                      <p:cBhvr>
                                        <p:cTn id="94" dur="1500" fill="hold"/>
                                        <p:tgtEl>
                                          <p:spTgt spid="80"/>
                                        </p:tgtEl>
                                        <p:attrNameLst>
                                          <p:attrName>ppt_x</p:attrName>
                                          <p:attrName>ppt_y</p:attrName>
                                        </p:attrNameLst>
                                      </p:cBhvr>
                                      <p:rCtr x="6250" y="-2477"/>
                                    </p:animMotion>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1" nodeType="clickEffect">
                                  <p:stCondLst>
                                    <p:cond delay="0"/>
                                  </p:stCondLst>
                                  <p:childTnLst>
                                    <p:set>
                                      <p:cBhvr>
                                        <p:cTn id="98" dur="1" fill="hold">
                                          <p:stCondLst>
                                            <p:cond delay="0"/>
                                          </p:stCondLst>
                                        </p:cTn>
                                        <p:tgtEl>
                                          <p:spTgt spid="81"/>
                                        </p:tgtEl>
                                        <p:attrNameLst>
                                          <p:attrName>style.visibility</p:attrName>
                                        </p:attrNameLst>
                                      </p:cBhvr>
                                      <p:to>
                                        <p:strVal val="visible"/>
                                      </p:to>
                                    </p:set>
                                  </p:childTnLst>
                                </p:cTn>
                              </p:par>
                              <p:par>
                                <p:cTn id="99" presetID="0" presetClass="path" presetSubtype="0" accel="50000" decel="50000" fill="hold" grpId="0" nodeType="withEffect">
                                  <p:stCondLst>
                                    <p:cond delay="0"/>
                                  </p:stCondLst>
                                  <p:childTnLst>
                                    <p:animMotion origin="layout" path="M -0.02917 -0.08125 C -0.16627 -0.08704 -0.30338 -0.09282 -0.38945 -0.07824 C -0.47552 -0.06366 -0.5056 -0.00926 -0.54635 0.00556 C -0.58685 0.02037 -0.6194 0.00926 -0.63346 0.01019 " pathEditMode="relative" rAng="0" ptsTypes="AAAA">
                                      <p:cBhvr>
                                        <p:cTn id="100" dur="2000" fill="hold"/>
                                        <p:tgtEl>
                                          <p:spTgt spid="81"/>
                                        </p:tgtEl>
                                        <p:attrNameLst>
                                          <p:attrName>ppt_x</p:attrName>
                                          <p:attrName>ppt_y</p:attrName>
                                        </p:attrNameLst>
                                      </p:cBhvr>
                                      <p:rCtr x="-30221" y="4398"/>
                                    </p:animMotion>
                                  </p:childTnLst>
                                </p:cTn>
                              </p:par>
                              <p:par>
                                <p:cTn id="101" presetID="1" presetClass="exit" presetSubtype="0" fill="hold" grpId="1" nodeType="withEffect">
                                  <p:stCondLst>
                                    <p:cond delay="0"/>
                                  </p:stCondLst>
                                  <p:childTnLst>
                                    <p:set>
                                      <p:cBhvr>
                                        <p:cTn id="102" dur="1" fill="hold">
                                          <p:stCondLst>
                                            <p:cond delay="0"/>
                                          </p:stCondLst>
                                        </p:cTn>
                                        <p:tgtEl>
                                          <p:spTgt spid="80"/>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2" grpId="1" animBg="1"/>
      <p:bldP spid="73" grpId="0" animBg="1"/>
      <p:bldP spid="73" grpId="1" animBg="1"/>
      <p:bldP spid="73" grpId="2" animBg="1"/>
      <p:bldP spid="74" grpId="0" animBg="1"/>
      <p:bldP spid="74" grpId="1" animBg="1"/>
      <p:bldP spid="74" grpId="2" animBg="1"/>
      <p:bldP spid="75" grpId="0" animBg="1"/>
      <p:bldP spid="75" grpId="1" animBg="1"/>
      <p:bldP spid="76" grpId="0" animBg="1"/>
      <p:bldP spid="76" grpId="1" animBg="1"/>
      <p:bldP spid="77" grpId="0" animBg="1"/>
      <p:bldP spid="77" grpId="1" animBg="1"/>
      <p:bldP spid="78" grpId="0" animBg="1"/>
      <p:bldP spid="78" grpId="1" animBg="1"/>
      <p:bldP spid="79" grpId="0" animBg="1"/>
      <p:bldP spid="79" grpId="1" animBg="1"/>
      <p:bldP spid="79" grpId="2" animBg="1"/>
      <p:bldP spid="80" grpId="0" animBg="1"/>
      <p:bldP spid="80" grpId="1" animBg="1"/>
      <p:bldP spid="80" grpId="2" animBg="1"/>
      <p:bldP spid="81" grpId="0" animBg="1"/>
      <p:bldP spid="81" grpId="1" animBg="1"/>
      <p:bldP spid="25" grpId="0" animBg="1"/>
      <p:bldP spid="25" grpId="1" animBg="1"/>
      <p:bldP spid="26"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2EEE5B88-A321-4AA6-8DB2-1147656F758A}"/>
              </a:ext>
            </a:extLst>
          </p:cNvPr>
          <p:cNvSpPr/>
          <p:nvPr/>
        </p:nvSpPr>
        <p:spPr bwMode="auto">
          <a:xfrm>
            <a:off x="-1" y="0"/>
            <a:ext cx="12436476" cy="6858000"/>
          </a:xfrm>
          <a:prstGeom prst="ellipse">
            <a:avLst/>
          </a:prstGeom>
          <a:gradFill flip="none" rotWithShape="1">
            <a:gsLst>
              <a:gs pos="0">
                <a:srgbClr val="0078D3">
                  <a:lumMod val="50000"/>
                  <a:alpha val="44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075664E4-29BF-4AFB-B9F1-7C0F409FC1E1}"/>
              </a:ext>
            </a:extLst>
          </p:cNvPr>
          <p:cNvSpPr/>
          <p:nvPr/>
        </p:nvSpPr>
        <p:spPr>
          <a:xfrm>
            <a:off x="978992" y="1915305"/>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Device</a:t>
            </a:r>
          </a:p>
        </p:txBody>
      </p:sp>
      <p:sp>
        <p:nvSpPr>
          <p:cNvPr id="9" name="Rectangle 8">
            <a:extLst>
              <a:ext uri="{FF2B5EF4-FFF2-40B4-BE49-F238E27FC236}">
                <a16:creationId xmlns:a16="http://schemas.microsoft.com/office/drawing/2014/main" id="{921CDE13-5037-4F60-BB1E-7E2F4E9F2847}"/>
              </a:ext>
            </a:extLst>
          </p:cNvPr>
          <p:cNvSpPr/>
          <p:nvPr/>
        </p:nvSpPr>
        <p:spPr>
          <a:xfrm>
            <a:off x="9120109" y="1664774"/>
            <a:ext cx="2344772" cy="704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IoT Hub </a:t>
            </a:r>
          </a:p>
          <a:p>
            <a:pPr algn="ctr" defTabSz="914225">
              <a:defRPr/>
            </a:pPr>
            <a:r>
              <a:rPr lang="en-US" sz="1600">
                <a:solidFill>
                  <a:srgbClr val="FFFFFF"/>
                </a:solidFill>
                <a:latin typeface="Segoe UI Light" panose="020B0502040204020203" pitchFamily="34" charset="0"/>
                <a:cs typeface="Segoe UI Light" panose="020B0502040204020203" pitchFamily="34" charset="0"/>
              </a:rPr>
              <a:t>East US</a:t>
            </a:r>
          </a:p>
        </p:txBody>
      </p:sp>
      <p:sp>
        <p:nvSpPr>
          <p:cNvPr id="10" name="Rectangle 9">
            <a:extLst>
              <a:ext uri="{FF2B5EF4-FFF2-40B4-BE49-F238E27FC236}">
                <a16:creationId xmlns:a16="http://schemas.microsoft.com/office/drawing/2014/main" id="{903486DD-037A-48BD-B88D-CFEA7E29FE8A}"/>
              </a:ext>
            </a:extLst>
          </p:cNvPr>
          <p:cNvSpPr/>
          <p:nvPr/>
        </p:nvSpPr>
        <p:spPr>
          <a:xfrm>
            <a:off x="9120109" y="2814309"/>
            <a:ext cx="2344772" cy="704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IoT Hub </a:t>
            </a:r>
          </a:p>
          <a:p>
            <a:pPr algn="ctr" defTabSz="914225">
              <a:defRPr/>
            </a:pPr>
            <a:r>
              <a:rPr lang="en-US" sz="1600">
                <a:solidFill>
                  <a:srgbClr val="FFFFFF"/>
                </a:solidFill>
                <a:latin typeface="Segoe UI Light" panose="020B0502040204020203" pitchFamily="34" charset="0"/>
                <a:cs typeface="Segoe UI Light" panose="020B0502040204020203" pitchFamily="34" charset="0"/>
              </a:rPr>
              <a:t>West US</a:t>
            </a:r>
          </a:p>
        </p:txBody>
      </p:sp>
      <p:sp>
        <p:nvSpPr>
          <p:cNvPr id="11" name="Rectangle 10">
            <a:extLst>
              <a:ext uri="{FF2B5EF4-FFF2-40B4-BE49-F238E27FC236}">
                <a16:creationId xmlns:a16="http://schemas.microsoft.com/office/drawing/2014/main" id="{BCC6056B-F3A4-44B6-A785-709FA06869E8}"/>
              </a:ext>
            </a:extLst>
          </p:cNvPr>
          <p:cNvSpPr/>
          <p:nvPr/>
        </p:nvSpPr>
        <p:spPr>
          <a:xfrm>
            <a:off x="9120109" y="3916087"/>
            <a:ext cx="2344772" cy="704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IoT Hub </a:t>
            </a:r>
          </a:p>
          <a:p>
            <a:pPr algn="ctr" defTabSz="914225">
              <a:defRPr/>
            </a:pPr>
            <a:r>
              <a:rPr lang="en-US" sz="1600">
                <a:solidFill>
                  <a:srgbClr val="FFFFFF"/>
                </a:solidFill>
                <a:latin typeface="Segoe UI Light" panose="020B0502040204020203" pitchFamily="34" charset="0"/>
                <a:cs typeface="Segoe UI Light" panose="020B0502040204020203" pitchFamily="34" charset="0"/>
              </a:rPr>
              <a:t>East Europe</a:t>
            </a:r>
          </a:p>
        </p:txBody>
      </p:sp>
      <p:sp>
        <p:nvSpPr>
          <p:cNvPr id="12" name="Rectangle 11">
            <a:extLst>
              <a:ext uri="{FF2B5EF4-FFF2-40B4-BE49-F238E27FC236}">
                <a16:creationId xmlns:a16="http://schemas.microsoft.com/office/drawing/2014/main" id="{4D2D61CA-0B49-4CD7-8CE9-DF62BEE671CE}"/>
              </a:ext>
            </a:extLst>
          </p:cNvPr>
          <p:cNvSpPr/>
          <p:nvPr/>
        </p:nvSpPr>
        <p:spPr>
          <a:xfrm>
            <a:off x="9120109" y="5017864"/>
            <a:ext cx="2344772" cy="704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IoT Hub </a:t>
            </a:r>
          </a:p>
          <a:p>
            <a:pPr algn="ctr" defTabSz="914225">
              <a:defRPr/>
            </a:pPr>
            <a:r>
              <a:rPr lang="en-US" sz="1600">
                <a:solidFill>
                  <a:srgbClr val="FFFFFF"/>
                </a:solidFill>
                <a:latin typeface="Segoe UI Light" panose="020B0502040204020203" pitchFamily="34" charset="0"/>
                <a:cs typeface="Segoe UI Light" panose="020B0502040204020203" pitchFamily="34" charset="0"/>
              </a:rPr>
              <a:t>West Europe</a:t>
            </a:r>
          </a:p>
        </p:txBody>
      </p:sp>
      <p:sp>
        <p:nvSpPr>
          <p:cNvPr id="13" name="TextBox 12">
            <a:extLst>
              <a:ext uri="{FF2B5EF4-FFF2-40B4-BE49-F238E27FC236}">
                <a16:creationId xmlns:a16="http://schemas.microsoft.com/office/drawing/2014/main" id="{8F2C1CEE-2E1D-473F-BEA7-FD3C18E07839}"/>
              </a:ext>
            </a:extLst>
          </p:cNvPr>
          <p:cNvSpPr txBox="1"/>
          <p:nvPr/>
        </p:nvSpPr>
        <p:spPr>
          <a:xfrm>
            <a:off x="1060623" y="5862844"/>
            <a:ext cx="1730583" cy="276999"/>
          </a:xfrm>
          <a:prstGeom prst="rect">
            <a:avLst/>
          </a:prstGeom>
        </p:spPr>
        <p:txBody>
          <a:bodyPr wrap="square" lIns="0" tIns="0" rIns="0" bIns="0" rtlCol="0" anchor="t" anchorCtr="0">
            <a:spAutoFit/>
          </a:bodyPr>
          <a:lstStyle/>
          <a:p>
            <a:pPr defTabSz="914225">
              <a:defRPr/>
            </a:pPr>
            <a:r>
              <a:rPr lang="en-US">
                <a:solidFill>
                  <a:srgbClr val="FFFFFF"/>
                </a:solidFill>
                <a:latin typeface="Segoe UI"/>
              </a:rPr>
              <a:t>……millions</a:t>
            </a:r>
          </a:p>
        </p:txBody>
      </p:sp>
      <p:sp>
        <p:nvSpPr>
          <p:cNvPr id="14" name="Rectangle: Folded Corner 13">
            <a:extLst>
              <a:ext uri="{FF2B5EF4-FFF2-40B4-BE49-F238E27FC236}">
                <a16:creationId xmlns:a16="http://schemas.microsoft.com/office/drawing/2014/main" id="{8C6A0DFB-904A-474E-8C6A-621D6D1FFD26}"/>
              </a:ext>
            </a:extLst>
          </p:cNvPr>
          <p:cNvSpPr/>
          <p:nvPr/>
        </p:nvSpPr>
        <p:spPr>
          <a:xfrm>
            <a:off x="4760377" y="2505127"/>
            <a:ext cx="2344772" cy="1513179"/>
          </a:xfrm>
          <a:prstGeom prst="foldedCorner">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defRPr/>
            </a:pPr>
            <a:r>
              <a:rPr lang="en-US" sz="2000" dirty="0">
                <a:solidFill>
                  <a:srgbClr val="FFFFFF"/>
                </a:solidFill>
                <a:latin typeface="Segoe UI (Body)"/>
                <a:cs typeface="Segoe UI Light" panose="020B0502040204020203" pitchFamily="34" charset="0"/>
              </a:rPr>
              <a:t>Devices assigned to IoT Hub East US</a:t>
            </a:r>
          </a:p>
        </p:txBody>
      </p:sp>
      <p:cxnSp>
        <p:nvCxnSpPr>
          <p:cNvPr id="18" name="Straight Arrow Connector 17">
            <a:extLst>
              <a:ext uri="{FF2B5EF4-FFF2-40B4-BE49-F238E27FC236}">
                <a16:creationId xmlns:a16="http://schemas.microsoft.com/office/drawing/2014/main" id="{117B6E9B-2E26-407E-A9FD-F2D3C28C36FA}"/>
              </a:ext>
            </a:extLst>
          </p:cNvPr>
          <p:cNvCxnSpPr>
            <a:cxnSpLocks/>
            <a:stCxn id="4" idx="3"/>
          </p:cNvCxnSpPr>
          <p:nvPr/>
        </p:nvCxnSpPr>
        <p:spPr>
          <a:xfrm>
            <a:off x="2236806" y="2218634"/>
            <a:ext cx="2523571" cy="9479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889C7E4-E385-4633-AE7E-3A893A7F82B6}"/>
              </a:ext>
            </a:extLst>
          </p:cNvPr>
          <p:cNvCxnSpPr>
            <a:cxnSpLocks/>
            <a:endCxn id="9" idx="1"/>
          </p:cNvCxnSpPr>
          <p:nvPr/>
        </p:nvCxnSpPr>
        <p:spPr>
          <a:xfrm flipV="1">
            <a:off x="7105150" y="2017009"/>
            <a:ext cx="2014959" cy="11495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4A06319-DB6B-4A5D-A564-020A7B35EA17}"/>
              </a:ext>
            </a:extLst>
          </p:cNvPr>
          <p:cNvSpPr txBox="1"/>
          <p:nvPr/>
        </p:nvSpPr>
        <p:spPr>
          <a:xfrm>
            <a:off x="2869684" y="1868701"/>
            <a:ext cx="1257813" cy="553998"/>
          </a:xfrm>
          <a:prstGeom prst="rect">
            <a:avLst/>
          </a:prstGeom>
        </p:spPr>
        <p:txBody>
          <a:bodyPr wrap="square" lIns="0" tIns="0" rIns="0" bIns="0" rtlCol="0" anchor="t" anchorCtr="0">
            <a:spAutoFit/>
          </a:bodyPr>
          <a:lstStyle/>
          <a:p>
            <a:pPr defTabSz="914225">
              <a:defRPr/>
            </a:pPr>
            <a:r>
              <a:rPr lang="en-US" dirty="0">
                <a:solidFill>
                  <a:srgbClr val="FFFFFF"/>
                </a:solidFill>
                <a:latin typeface="Segoe UI"/>
              </a:rPr>
              <a:t>Provisioning request </a:t>
            </a:r>
          </a:p>
        </p:txBody>
      </p:sp>
      <p:sp>
        <p:nvSpPr>
          <p:cNvPr id="22" name="Rectangle 21">
            <a:extLst>
              <a:ext uri="{FF2B5EF4-FFF2-40B4-BE49-F238E27FC236}">
                <a16:creationId xmlns:a16="http://schemas.microsoft.com/office/drawing/2014/main" id="{95C142BC-5687-4C0A-9DD8-FDB1272D65F8}"/>
              </a:ext>
            </a:extLst>
          </p:cNvPr>
          <p:cNvSpPr/>
          <p:nvPr/>
        </p:nvSpPr>
        <p:spPr>
          <a:xfrm>
            <a:off x="978992" y="2708325"/>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Device</a:t>
            </a:r>
            <a:endParaRPr lang="en-US" sz="800">
              <a:solidFill>
                <a:srgbClr val="FFFFFF"/>
              </a:solidFill>
              <a:latin typeface="Segoe UI Light" panose="020B0502040204020203" pitchFamily="34" charset="0"/>
              <a:cs typeface="Segoe UI Light" panose="020B0502040204020203" pitchFamily="34" charset="0"/>
            </a:endParaRPr>
          </a:p>
        </p:txBody>
      </p:sp>
      <p:sp>
        <p:nvSpPr>
          <p:cNvPr id="23" name="Rectangle 22">
            <a:extLst>
              <a:ext uri="{FF2B5EF4-FFF2-40B4-BE49-F238E27FC236}">
                <a16:creationId xmlns:a16="http://schemas.microsoft.com/office/drawing/2014/main" id="{974809B9-B8E8-4EC7-98FF-A10C43EE05DE}"/>
              </a:ext>
            </a:extLst>
          </p:cNvPr>
          <p:cNvSpPr/>
          <p:nvPr/>
        </p:nvSpPr>
        <p:spPr>
          <a:xfrm>
            <a:off x="978992" y="3512849"/>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Device</a:t>
            </a:r>
            <a:endParaRPr lang="en-US" sz="800">
              <a:solidFill>
                <a:srgbClr val="FFFFFF"/>
              </a:solidFill>
              <a:latin typeface="Segoe UI Light" panose="020B0502040204020203" pitchFamily="34" charset="0"/>
              <a:cs typeface="Segoe UI Light" panose="020B0502040204020203" pitchFamily="34" charset="0"/>
            </a:endParaRPr>
          </a:p>
        </p:txBody>
      </p:sp>
      <p:sp>
        <p:nvSpPr>
          <p:cNvPr id="24" name="Rectangle 23">
            <a:extLst>
              <a:ext uri="{FF2B5EF4-FFF2-40B4-BE49-F238E27FC236}">
                <a16:creationId xmlns:a16="http://schemas.microsoft.com/office/drawing/2014/main" id="{34884F81-0600-49F0-8100-247248F5D23D}"/>
              </a:ext>
            </a:extLst>
          </p:cNvPr>
          <p:cNvSpPr/>
          <p:nvPr/>
        </p:nvSpPr>
        <p:spPr>
          <a:xfrm>
            <a:off x="978992" y="4309493"/>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Device</a:t>
            </a:r>
            <a:endParaRPr lang="en-US" sz="800">
              <a:solidFill>
                <a:srgbClr val="FFFFFF"/>
              </a:solidFill>
              <a:latin typeface="Segoe UI Light" panose="020B0502040204020203" pitchFamily="34" charset="0"/>
              <a:cs typeface="Segoe UI Light" panose="020B0502040204020203" pitchFamily="34" charset="0"/>
            </a:endParaRPr>
          </a:p>
        </p:txBody>
      </p:sp>
      <p:sp>
        <p:nvSpPr>
          <p:cNvPr id="25" name="Rectangle 24">
            <a:extLst>
              <a:ext uri="{FF2B5EF4-FFF2-40B4-BE49-F238E27FC236}">
                <a16:creationId xmlns:a16="http://schemas.microsoft.com/office/drawing/2014/main" id="{36E42846-1B4D-4AE1-B18D-540197A0F3CB}"/>
              </a:ext>
            </a:extLst>
          </p:cNvPr>
          <p:cNvSpPr/>
          <p:nvPr/>
        </p:nvSpPr>
        <p:spPr>
          <a:xfrm>
            <a:off x="978992" y="5114017"/>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Device</a:t>
            </a:r>
            <a:endParaRPr lang="en-US" sz="800">
              <a:solidFill>
                <a:srgbClr val="FFFFFF"/>
              </a:solidFill>
              <a:latin typeface="Segoe UI Light" panose="020B0502040204020203" pitchFamily="34" charset="0"/>
              <a:cs typeface="Segoe UI Light" panose="020B0502040204020203" pitchFamily="34" charset="0"/>
            </a:endParaRPr>
          </a:p>
        </p:txBody>
      </p:sp>
      <p:sp>
        <p:nvSpPr>
          <p:cNvPr id="26" name="Title 2">
            <a:extLst>
              <a:ext uri="{FF2B5EF4-FFF2-40B4-BE49-F238E27FC236}">
                <a16:creationId xmlns:a16="http://schemas.microsoft.com/office/drawing/2014/main" id="{6E84AF00-F29D-4B01-874E-D3C1507D76DE}"/>
              </a:ext>
            </a:extLst>
          </p:cNvPr>
          <p:cNvSpPr>
            <a:spLocks noGrp="1"/>
          </p:cNvSpPr>
          <p:nvPr>
            <p:ph type="title"/>
          </p:nvPr>
        </p:nvSpPr>
        <p:spPr/>
        <p:txBody>
          <a:bodyPr/>
          <a:lstStyle/>
          <a:p>
            <a:r>
              <a:rPr lang="en-US" dirty="0"/>
              <a:t>Re-Provisioning at Scale</a:t>
            </a:r>
          </a:p>
        </p:txBody>
      </p:sp>
      <p:pic>
        <p:nvPicPr>
          <p:cNvPr id="27" name="Graphic 26">
            <a:extLst>
              <a:ext uri="{FF2B5EF4-FFF2-40B4-BE49-F238E27FC236}">
                <a16:creationId xmlns:a16="http://schemas.microsoft.com/office/drawing/2014/main" id="{B9B79EBC-08E1-4AE1-8288-F697575DE3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42672" y="1472038"/>
            <a:ext cx="780180" cy="813178"/>
          </a:xfrm>
          <a:prstGeom prst="rect">
            <a:avLst/>
          </a:prstGeom>
        </p:spPr>
      </p:pic>
      <p:cxnSp>
        <p:nvCxnSpPr>
          <p:cNvPr id="33" name="Straight Arrow Connector 32">
            <a:extLst>
              <a:ext uri="{FF2B5EF4-FFF2-40B4-BE49-F238E27FC236}">
                <a16:creationId xmlns:a16="http://schemas.microsoft.com/office/drawing/2014/main" id="{F1E3FEEE-FC60-4267-BE9F-30FDF22DFD9C}"/>
              </a:ext>
            </a:extLst>
          </p:cNvPr>
          <p:cNvCxnSpPr>
            <a:cxnSpLocks/>
            <a:stCxn id="22" idx="3"/>
          </p:cNvCxnSpPr>
          <p:nvPr/>
        </p:nvCxnSpPr>
        <p:spPr>
          <a:xfrm>
            <a:off x="2236806" y="3011653"/>
            <a:ext cx="2523571" cy="154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9DA3C75-6FF8-43C7-AC37-7083F05A9BC0}"/>
              </a:ext>
            </a:extLst>
          </p:cNvPr>
          <p:cNvCxnSpPr>
            <a:cxnSpLocks/>
            <a:stCxn id="23" idx="3"/>
          </p:cNvCxnSpPr>
          <p:nvPr/>
        </p:nvCxnSpPr>
        <p:spPr>
          <a:xfrm flipV="1">
            <a:off x="2236806" y="3166542"/>
            <a:ext cx="2523571" cy="6496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C904477D-9199-40AF-A039-1BAA93CE9AD9}"/>
              </a:ext>
            </a:extLst>
          </p:cNvPr>
          <p:cNvCxnSpPr>
            <a:cxnSpLocks/>
            <a:stCxn id="24" idx="3"/>
          </p:cNvCxnSpPr>
          <p:nvPr/>
        </p:nvCxnSpPr>
        <p:spPr>
          <a:xfrm flipV="1">
            <a:off x="2236806" y="3166541"/>
            <a:ext cx="2523571" cy="14462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F5ACB20-F0C9-4513-A0E4-7E84613F48D1}"/>
              </a:ext>
            </a:extLst>
          </p:cNvPr>
          <p:cNvCxnSpPr>
            <a:cxnSpLocks/>
            <a:stCxn id="25" idx="3"/>
          </p:cNvCxnSpPr>
          <p:nvPr/>
        </p:nvCxnSpPr>
        <p:spPr>
          <a:xfrm flipV="1">
            <a:off x="2236806" y="3166541"/>
            <a:ext cx="2523571" cy="22508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263F91C2-71FA-43EA-88F1-8C20CF89914B}"/>
              </a:ext>
            </a:extLst>
          </p:cNvPr>
          <p:cNvCxnSpPr>
            <a:cxnSpLocks/>
            <a:endCxn id="10" idx="1"/>
          </p:cNvCxnSpPr>
          <p:nvPr/>
        </p:nvCxnSpPr>
        <p:spPr>
          <a:xfrm>
            <a:off x="7105150" y="3166542"/>
            <a:ext cx="201495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Rectangle: Folded Corner 27">
            <a:extLst>
              <a:ext uri="{FF2B5EF4-FFF2-40B4-BE49-F238E27FC236}">
                <a16:creationId xmlns:a16="http://schemas.microsoft.com/office/drawing/2014/main" id="{7E33F454-2922-485D-846C-BD424626E0AA}"/>
              </a:ext>
            </a:extLst>
          </p:cNvPr>
          <p:cNvSpPr/>
          <p:nvPr/>
        </p:nvSpPr>
        <p:spPr>
          <a:xfrm>
            <a:off x="4760377" y="2513171"/>
            <a:ext cx="2344772" cy="1513179"/>
          </a:xfrm>
          <a:prstGeom prst="foldedCorner">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defRPr/>
            </a:pPr>
            <a:r>
              <a:rPr lang="en-US" sz="2000" dirty="0">
                <a:solidFill>
                  <a:srgbClr val="FFFFFF"/>
                </a:solidFill>
                <a:latin typeface="Segoe UI (Body)"/>
                <a:cs typeface="Segoe UI Light" panose="020B0502040204020203" pitchFamily="34" charset="0"/>
              </a:rPr>
              <a:t>Change devices assignments to IoT Hub West US</a:t>
            </a:r>
          </a:p>
        </p:txBody>
      </p:sp>
      <p:sp>
        <p:nvSpPr>
          <p:cNvPr id="6" name="chip" title="Icon of a computer chip">
            <a:extLst>
              <a:ext uri="{FF2B5EF4-FFF2-40B4-BE49-F238E27FC236}">
                <a16:creationId xmlns:a16="http://schemas.microsoft.com/office/drawing/2014/main" id="{D1B92A81-314F-4393-8B0C-6D8B5ED65EAC}"/>
              </a:ext>
            </a:extLst>
          </p:cNvPr>
          <p:cNvSpPr>
            <a:spLocks noChangeAspect="1" noEditPoints="1"/>
          </p:cNvSpPr>
          <p:nvPr/>
        </p:nvSpPr>
        <p:spPr bwMode="auto">
          <a:xfrm>
            <a:off x="446610" y="1955781"/>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7" name="chip" title="Icon of a computer chip">
            <a:extLst>
              <a:ext uri="{FF2B5EF4-FFF2-40B4-BE49-F238E27FC236}">
                <a16:creationId xmlns:a16="http://schemas.microsoft.com/office/drawing/2014/main" id="{39C2BD80-1734-4B3A-A171-CAB7BDF70315}"/>
              </a:ext>
            </a:extLst>
          </p:cNvPr>
          <p:cNvSpPr>
            <a:spLocks noChangeAspect="1" noEditPoints="1"/>
          </p:cNvSpPr>
          <p:nvPr/>
        </p:nvSpPr>
        <p:spPr bwMode="auto">
          <a:xfrm>
            <a:off x="459123" y="2791333"/>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8" name="chip" title="Icon of a computer chip">
            <a:extLst>
              <a:ext uri="{FF2B5EF4-FFF2-40B4-BE49-F238E27FC236}">
                <a16:creationId xmlns:a16="http://schemas.microsoft.com/office/drawing/2014/main" id="{0C77B414-7F7D-457D-B7AE-9F18B19345A3}"/>
              </a:ext>
            </a:extLst>
          </p:cNvPr>
          <p:cNvSpPr>
            <a:spLocks noChangeAspect="1" noEditPoints="1"/>
          </p:cNvSpPr>
          <p:nvPr/>
        </p:nvSpPr>
        <p:spPr bwMode="auto">
          <a:xfrm>
            <a:off x="434097" y="3621923"/>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15" name="chip" title="Icon of a computer chip">
            <a:extLst>
              <a:ext uri="{FF2B5EF4-FFF2-40B4-BE49-F238E27FC236}">
                <a16:creationId xmlns:a16="http://schemas.microsoft.com/office/drawing/2014/main" id="{43B82A2E-22B0-406A-B852-6C8BC429039B}"/>
              </a:ext>
            </a:extLst>
          </p:cNvPr>
          <p:cNvSpPr>
            <a:spLocks noChangeAspect="1" noEditPoints="1"/>
          </p:cNvSpPr>
          <p:nvPr/>
        </p:nvSpPr>
        <p:spPr bwMode="auto">
          <a:xfrm>
            <a:off x="446610" y="4436209"/>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16" name="chip" title="Icon of a computer chip">
            <a:extLst>
              <a:ext uri="{FF2B5EF4-FFF2-40B4-BE49-F238E27FC236}">
                <a16:creationId xmlns:a16="http://schemas.microsoft.com/office/drawing/2014/main" id="{BE2B0110-AC16-40E8-890B-BF33AF666FCD}"/>
              </a:ext>
            </a:extLst>
          </p:cNvPr>
          <p:cNvSpPr>
            <a:spLocks noChangeAspect="1" noEditPoints="1"/>
          </p:cNvSpPr>
          <p:nvPr/>
        </p:nvSpPr>
        <p:spPr bwMode="auto">
          <a:xfrm>
            <a:off x="446610" y="5227026"/>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pic>
        <p:nvPicPr>
          <p:cNvPr id="17" name="Picture 16" descr="A picture containing clock&#10;&#10;Description automatically generated">
            <a:extLst>
              <a:ext uri="{FF2B5EF4-FFF2-40B4-BE49-F238E27FC236}">
                <a16:creationId xmlns:a16="http://schemas.microsoft.com/office/drawing/2014/main" id="{4D65344C-A454-4092-BB4B-787167F171D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67259" y="1740007"/>
            <a:ext cx="553999" cy="553999"/>
          </a:xfrm>
          <a:prstGeom prst="rect">
            <a:avLst/>
          </a:prstGeom>
        </p:spPr>
      </p:pic>
      <p:pic>
        <p:nvPicPr>
          <p:cNvPr id="19" name="Picture 18" descr="A picture containing clock&#10;&#10;Description automatically generated">
            <a:extLst>
              <a:ext uri="{FF2B5EF4-FFF2-40B4-BE49-F238E27FC236}">
                <a16:creationId xmlns:a16="http://schemas.microsoft.com/office/drawing/2014/main" id="{C62A05DD-AD29-4DA7-A3BF-861092142CB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71211" y="2875001"/>
            <a:ext cx="553999" cy="553999"/>
          </a:xfrm>
          <a:prstGeom prst="rect">
            <a:avLst/>
          </a:prstGeom>
        </p:spPr>
      </p:pic>
      <p:pic>
        <p:nvPicPr>
          <p:cNvPr id="41" name="Picture 40" descr="A picture containing clock&#10;&#10;Description automatically generated">
            <a:extLst>
              <a:ext uri="{FF2B5EF4-FFF2-40B4-BE49-F238E27FC236}">
                <a16:creationId xmlns:a16="http://schemas.microsoft.com/office/drawing/2014/main" id="{A95EB283-8B12-4574-BC3D-DF7F9E7144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39751" y="3900387"/>
            <a:ext cx="553999" cy="553999"/>
          </a:xfrm>
          <a:prstGeom prst="rect">
            <a:avLst/>
          </a:prstGeom>
        </p:spPr>
      </p:pic>
      <p:pic>
        <p:nvPicPr>
          <p:cNvPr id="47" name="Picture 46" descr="A picture containing clock&#10;&#10;Description automatically generated">
            <a:extLst>
              <a:ext uri="{FF2B5EF4-FFF2-40B4-BE49-F238E27FC236}">
                <a16:creationId xmlns:a16="http://schemas.microsoft.com/office/drawing/2014/main" id="{BA1DFE4E-AA10-4CC8-B95B-FBAC81CBE5A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43703" y="5035381"/>
            <a:ext cx="553999" cy="553999"/>
          </a:xfrm>
          <a:prstGeom prst="rect">
            <a:avLst/>
          </a:prstGeom>
        </p:spPr>
      </p:pic>
    </p:spTree>
    <p:extLst>
      <p:ext uri="{BB962C8B-B14F-4D97-AF65-F5344CB8AC3E}">
        <p14:creationId xmlns:p14="http://schemas.microsoft.com/office/powerpoint/2010/main" val="228799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par>
                                <p:cTn id="8" presetID="22" presetClass="entr" presetSubtype="8"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500"/>
                                        <p:tgtEl>
                                          <p:spTgt spid="33"/>
                                        </p:tgtEl>
                                      </p:cBhvr>
                                    </p:animEffect>
                                  </p:childTnLst>
                                </p:cTn>
                              </p:par>
                              <p:par>
                                <p:cTn id="11" presetID="22" presetClass="entr" presetSubtype="8"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wipe(left)">
                                      <p:cBhvr>
                                        <p:cTn id="13" dur="500"/>
                                        <p:tgtEl>
                                          <p:spTgt spid="36"/>
                                        </p:tgtEl>
                                      </p:cBhvr>
                                    </p:animEffect>
                                  </p:childTnLst>
                                </p:cTn>
                              </p:par>
                              <p:par>
                                <p:cTn id="14" presetID="22" presetClass="entr" presetSubtype="8" fill="hold"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wipe(left)">
                                      <p:cBhvr>
                                        <p:cTn id="16" dur="500"/>
                                        <p:tgtEl>
                                          <p:spTgt spid="39"/>
                                        </p:tgtEl>
                                      </p:cBhvr>
                                    </p:animEffect>
                                  </p:childTnLst>
                                </p:cTn>
                              </p:par>
                              <p:par>
                                <p:cTn id="17" presetID="22" presetClass="entr" presetSubtype="8" fill="hold"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wipe(left)">
                                      <p:cBhvr>
                                        <p:cTn id="19" dur="500"/>
                                        <p:tgtEl>
                                          <p:spTgt spid="42"/>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20"/>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28"/>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500"/>
                                        <p:tgtEl>
                                          <p:spTgt spid="18"/>
                                        </p:tgtEl>
                                      </p:cBhvr>
                                    </p:animEffect>
                                  </p:childTnLst>
                                </p:cTn>
                              </p:par>
                              <p:par>
                                <p:cTn id="35" presetID="22" presetClass="entr" presetSubtype="8" fill="hold" nodeType="with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wipe(left)">
                                      <p:cBhvr>
                                        <p:cTn id="37" dur="500"/>
                                        <p:tgtEl>
                                          <p:spTgt spid="33"/>
                                        </p:tgtEl>
                                      </p:cBhvr>
                                    </p:animEffect>
                                  </p:childTnLst>
                                </p:cTn>
                              </p:par>
                              <p:par>
                                <p:cTn id="38" presetID="22" presetClass="entr" presetSubtype="8" fill="hold" nodeType="with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wipe(left)">
                                      <p:cBhvr>
                                        <p:cTn id="40" dur="500"/>
                                        <p:tgtEl>
                                          <p:spTgt spid="36"/>
                                        </p:tgtEl>
                                      </p:cBhvr>
                                    </p:animEffect>
                                  </p:childTnLst>
                                </p:cTn>
                              </p:par>
                              <p:par>
                                <p:cTn id="41" presetID="22" presetClass="entr" presetSubtype="8"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wipe(left)">
                                      <p:cBhvr>
                                        <p:cTn id="43" dur="500"/>
                                        <p:tgtEl>
                                          <p:spTgt spid="39"/>
                                        </p:tgtEl>
                                      </p:cBhvr>
                                    </p:animEffect>
                                  </p:childTnLst>
                                </p:cTn>
                              </p:par>
                              <p:par>
                                <p:cTn id="44" presetID="22" presetClass="entr" presetSubtype="8"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wipe(left)">
                                      <p:cBhvr>
                                        <p:cTn id="46" dur="500"/>
                                        <p:tgtEl>
                                          <p:spTgt spid="42"/>
                                        </p:tgtEl>
                                      </p:cBhvr>
                                    </p:animEffect>
                                  </p:childTnLst>
                                </p:cTn>
                              </p:par>
                              <p:par>
                                <p:cTn id="47" presetID="22" presetClass="entr" presetSubtype="8" fill="hold" grpId="1" nodeType="with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wipe(left)">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20"/>
                                        </p:tgtEl>
                                        <p:attrNameLst>
                                          <p:attrName>style.visibility</p:attrName>
                                        </p:attrNameLst>
                                      </p:cBhvr>
                                      <p:to>
                                        <p:strVal val="hidden"/>
                                      </p:to>
                                    </p:set>
                                  </p:childTnLst>
                                </p:cTn>
                              </p:par>
                              <p:par>
                                <p:cTn id="54" presetID="1" presetClass="entr" presetSubtype="0" fill="hold" nodeType="withEffect">
                                  <p:stCondLst>
                                    <p:cond delay="0"/>
                                  </p:stCondLst>
                                  <p:childTnLst>
                                    <p:set>
                                      <p:cBhvr>
                                        <p:cTn id="55"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2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DED4601D-B6B4-42F1-AF49-22AC28D56546}"/>
              </a:ext>
            </a:extLst>
          </p:cNvPr>
          <p:cNvSpPr/>
          <p:nvPr/>
        </p:nvSpPr>
        <p:spPr bwMode="auto">
          <a:xfrm>
            <a:off x="-1" y="0"/>
            <a:ext cx="12436476" cy="6858000"/>
          </a:xfrm>
          <a:prstGeom prst="ellipse">
            <a:avLst/>
          </a:prstGeom>
          <a:gradFill flip="none" rotWithShape="1">
            <a:gsLst>
              <a:gs pos="0">
                <a:srgbClr val="0078D3">
                  <a:lumMod val="50000"/>
                  <a:alpha val="9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99C204A1-0B4A-4957-8EF9-0838586F1FC3}"/>
              </a:ext>
            </a:extLst>
          </p:cNvPr>
          <p:cNvSpPr>
            <a:spLocks noGrp="1"/>
          </p:cNvSpPr>
          <p:nvPr>
            <p:ph type="title"/>
          </p:nvPr>
        </p:nvSpPr>
        <p:spPr/>
        <p:txBody>
          <a:bodyPr/>
          <a:lstStyle/>
          <a:p>
            <a:r>
              <a:rPr lang="en-US" dirty="0"/>
              <a:t>IoT Hub &amp; Device Provisioning Service Support </a:t>
            </a:r>
          </a:p>
        </p:txBody>
      </p:sp>
      <p:sp>
        <p:nvSpPr>
          <p:cNvPr id="5" name="TextBox 4">
            <a:extLst>
              <a:ext uri="{FF2B5EF4-FFF2-40B4-BE49-F238E27FC236}">
                <a16:creationId xmlns:a16="http://schemas.microsoft.com/office/drawing/2014/main" id="{36DDDBDC-718C-4F86-A827-45AB9BFD48F9}"/>
              </a:ext>
            </a:extLst>
          </p:cNvPr>
          <p:cNvSpPr txBox="1"/>
          <p:nvPr/>
        </p:nvSpPr>
        <p:spPr>
          <a:xfrm>
            <a:off x="7524750" y="1692642"/>
            <a:ext cx="4287891" cy="2819193"/>
          </a:xfrm>
          <a:prstGeom prst="rect">
            <a:avLst/>
          </a:prstGeom>
          <a:noFill/>
        </p:spPr>
        <p:txBody>
          <a:bodyPr wrap="square" lIns="182854" tIns="146284" rIns="182854" bIns="146284" rtlCol="0">
            <a:spAutoFit/>
          </a:bodyPr>
          <a:lstStyle/>
          <a:p>
            <a:pPr defTabSz="914367">
              <a:lnSpc>
                <a:spcPct val="90000"/>
              </a:lnSpc>
              <a:spcAft>
                <a:spcPts val="600"/>
              </a:spcAft>
            </a:pPr>
            <a:r>
              <a:rPr lang="en-US" sz="2000" dirty="0">
                <a:latin typeface="Segoe UI" panose="020B0502040204020203" pitchFamily="34" charset="0"/>
                <a:cs typeface="Segoe UI" panose="020B0502040204020203" pitchFamily="34" charset="0"/>
              </a:rPr>
              <a:t>Azure IoT Hub</a:t>
            </a:r>
          </a:p>
          <a:p>
            <a:pPr marL="342834" indent="-342834" defTabSz="914367">
              <a:lnSpc>
                <a:spcPct val="90000"/>
              </a:lnSpc>
              <a:spcAft>
                <a:spcPts val="600"/>
              </a:spcAft>
              <a:buFont typeface="Arial" panose="020B0604020202020204" pitchFamily="34" charset="0"/>
              <a:buChar char="•"/>
            </a:pPr>
            <a:r>
              <a:rPr lang="en-US" sz="2000" dirty="0">
                <a:latin typeface="Segoe UI" panose="020B0502040204020203" pitchFamily="34" charset="0"/>
                <a:cs typeface="Segoe UI" panose="020B0502040204020203" pitchFamily="34" charset="0"/>
              </a:rPr>
              <a:t>Easy upgrade from basic to standard tier.</a:t>
            </a:r>
          </a:p>
          <a:p>
            <a:pPr marL="342834" indent="-342834" defTabSz="914367">
              <a:lnSpc>
                <a:spcPct val="90000"/>
              </a:lnSpc>
              <a:spcAft>
                <a:spcPts val="600"/>
              </a:spcAft>
              <a:buFont typeface="Arial" panose="020B0604020202020204" pitchFamily="34" charset="0"/>
              <a:buChar char="•"/>
            </a:pPr>
            <a:r>
              <a:rPr lang="en-US" sz="2000" dirty="0">
                <a:latin typeface="Segoe UI" panose="020B0502040204020203" pitchFamily="34" charset="0"/>
                <a:cs typeface="Segoe UI" panose="020B0502040204020203" pitchFamily="34" charset="0"/>
              </a:rPr>
              <a:t>Only standard allows cloud-to-device commands, device twin operations and IoT Edge</a:t>
            </a:r>
          </a:p>
          <a:p>
            <a:pPr marL="342834" indent="-342834" defTabSz="914367">
              <a:lnSpc>
                <a:spcPct val="90000"/>
              </a:lnSpc>
              <a:spcAft>
                <a:spcPts val="600"/>
              </a:spcAft>
              <a:buFont typeface="Arial" panose="020B0604020202020204" pitchFamily="34" charset="0"/>
              <a:buChar char="•"/>
            </a:pPr>
            <a:endParaRPr lang="en-US" sz="2000" dirty="0">
              <a:latin typeface="Segoe UI" panose="020B0502040204020203" pitchFamily="34" charset="0"/>
              <a:cs typeface="Segoe UI" panose="020B0502040204020203" pitchFamily="34" charset="0"/>
            </a:endParaRPr>
          </a:p>
          <a:p>
            <a:pPr marL="342834" indent="-342834" defTabSz="914367">
              <a:lnSpc>
                <a:spcPct val="90000"/>
              </a:lnSpc>
              <a:spcAft>
                <a:spcPts val="600"/>
              </a:spcAft>
              <a:buFont typeface="Arial" panose="020B0604020202020204" pitchFamily="34" charset="0"/>
              <a:buChar char="•"/>
            </a:pPr>
            <a:r>
              <a:rPr lang="en-US" sz="2000" dirty="0">
                <a:solidFill>
                  <a:srgbClr val="00B0F0"/>
                </a:solidFill>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Learn about IoT Hub scaling</a:t>
            </a:r>
            <a:endParaRPr lang="en-US" sz="2000" dirty="0">
              <a:solidFill>
                <a:srgbClr val="00B0F0"/>
              </a:solidFill>
              <a:latin typeface="Segoe UI" panose="020B0502040204020203" pitchFamily="34" charset="0"/>
              <a:cs typeface="Segoe UI" panose="020B0502040204020203" pitchFamily="34" charset="0"/>
            </a:endParaRPr>
          </a:p>
        </p:txBody>
      </p:sp>
      <p:pic>
        <p:nvPicPr>
          <p:cNvPr id="6" name="Picture 5">
            <a:extLst>
              <a:ext uri="{FF2B5EF4-FFF2-40B4-BE49-F238E27FC236}">
                <a16:creationId xmlns:a16="http://schemas.microsoft.com/office/drawing/2014/main" id="{8650D1EA-0510-44E5-98A4-94D9A8AC0CE0}"/>
              </a:ext>
            </a:extLst>
          </p:cNvPr>
          <p:cNvPicPr>
            <a:picLocks noChangeAspect="1"/>
          </p:cNvPicPr>
          <p:nvPr/>
        </p:nvPicPr>
        <p:blipFill>
          <a:blip r:embed="rId4"/>
          <a:stretch>
            <a:fillRect/>
          </a:stretch>
        </p:blipFill>
        <p:spPr>
          <a:xfrm>
            <a:off x="495300" y="1254052"/>
            <a:ext cx="6923932" cy="3851222"/>
          </a:xfrm>
          <a:prstGeom prst="rect">
            <a:avLst/>
          </a:prstGeom>
        </p:spPr>
      </p:pic>
      <p:pic>
        <p:nvPicPr>
          <p:cNvPr id="7" name="Picture 6">
            <a:extLst>
              <a:ext uri="{FF2B5EF4-FFF2-40B4-BE49-F238E27FC236}">
                <a16:creationId xmlns:a16="http://schemas.microsoft.com/office/drawing/2014/main" id="{518283BE-C787-4A95-9012-8FB909916CE2}"/>
              </a:ext>
            </a:extLst>
          </p:cNvPr>
          <p:cNvPicPr>
            <a:picLocks noChangeAspect="1"/>
          </p:cNvPicPr>
          <p:nvPr/>
        </p:nvPicPr>
        <p:blipFill>
          <a:blip r:embed="rId5"/>
          <a:stretch>
            <a:fillRect/>
          </a:stretch>
        </p:blipFill>
        <p:spPr>
          <a:xfrm>
            <a:off x="495301" y="5306540"/>
            <a:ext cx="6923932" cy="1415176"/>
          </a:xfrm>
          <a:prstGeom prst="rect">
            <a:avLst/>
          </a:prstGeom>
        </p:spPr>
      </p:pic>
      <p:sp>
        <p:nvSpPr>
          <p:cNvPr id="9" name="TextBox 8">
            <a:extLst>
              <a:ext uri="{FF2B5EF4-FFF2-40B4-BE49-F238E27FC236}">
                <a16:creationId xmlns:a16="http://schemas.microsoft.com/office/drawing/2014/main" id="{4D49D03A-9EA4-49A1-855B-C19B303C8777}"/>
              </a:ext>
            </a:extLst>
          </p:cNvPr>
          <p:cNvSpPr txBox="1"/>
          <p:nvPr/>
        </p:nvSpPr>
        <p:spPr>
          <a:xfrm>
            <a:off x="7686675" y="5441704"/>
            <a:ext cx="4287891" cy="572424"/>
          </a:xfrm>
          <a:prstGeom prst="rect">
            <a:avLst/>
          </a:prstGeom>
          <a:noFill/>
        </p:spPr>
        <p:txBody>
          <a:bodyPr wrap="square" lIns="182854" tIns="146284" rIns="182854" bIns="146284" rtlCol="0">
            <a:spAutoFit/>
          </a:bodyPr>
          <a:lstStyle/>
          <a:p>
            <a:pPr defTabSz="914367">
              <a:lnSpc>
                <a:spcPct val="90000"/>
              </a:lnSpc>
              <a:spcAft>
                <a:spcPts val="600"/>
              </a:spcAft>
            </a:pPr>
            <a:r>
              <a:rPr lang="en-US" sz="2000" dirty="0">
                <a:latin typeface="Segoe UI" panose="020B0502040204020203" pitchFamily="34" charset="0"/>
                <a:cs typeface="Segoe UI" panose="020B0502040204020203" pitchFamily="34" charset="0"/>
              </a:rPr>
              <a:t>Device Provisioning Service</a:t>
            </a:r>
            <a:endParaRPr lang="en-US" sz="2000" dirty="0">
              <a:solidFill>
                <a:srgbClr val="00B0F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8166551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22154-BB3B-4F39-8AA8-6E65C5EA422B}"/>
              </a:ext>
            </a:extLst>
          </p:cNvPr>
          <p:cNvSpPr>
            <a:spLocks noGrp="1"/>
          </p:cNvSpPr>
          <p:nvPr>
            <p:ph type="title"/>
          </p:nvPr>
        </p:nvSpPr>
        <p:spPr>
          <a:xfrm>
            <a:off x="589699" y="457201"/>
            <a:ext cx="11015651" cy="492443"/>
          </a:xfrm>
        </p:spPr>
        <p:txBody>
          <a:bodyPr/>
          <a:lstStyle/>
          <a:p>
            <a:r>
              <a:rPr lang="en-US" sz="3200"/>
              <a:t>Simplifying IoT with developer tools</a:t>
            </a:r>
          </a:p>
        </p:txBody>
      </p:sp>
      <p:sp>
        <p:nvSpPr>
          <p:cNvPr id="3" name="TextBox 2">
            <a:extLst>
              <a:ext uri="{FF2B5EF4-FFF2-40B4-BE49-F238E27FC236}">
                <a16:creationId xmlns:a16="http://schemas.microsoft.com/office/drawing/2014/main" id="{ABDFC5DA-3A20-42F4-8A44-6C1D75F06D65}"/>
              </a:ext>
            </a:extLst>
          </p:cNvPr>
          <p:cNvSpPr txBox="1"/>
          <p:nvPr/>
        </p:nvSpPr>
        <p:spPr>
          <a:xfrm>
            <a:off x="1511015" y="905814"/>
            <a:ext cx="3942108" cy="6862648"/>
          </a:xfrm>
          <a:prstGeom prst="rect">
            <a:avLst/>
          </a:prstGeom>
          <a:noFill/>
        </p:spPr>
        <p:txBody>
          <a:bodyPr wrap="square">
            <a:spAutoFit/>
          </a:bodyPr>
          <a:lstStyle/>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399" b="0" i="0" u="sng" strike="noStrike" kern="1200" cap="none" spc="0" normalizeH="0" baseline="0" noProof="0" dirty="0">
              <a:ln>
                <a:noFill/>
              </a:ln>
              <a:solidFill>
                <a:srgbClr val="0070C0"/>
              </a:solidFill>
              <a:effectLst/>
              <a:uLnTx/>
              <a:uFillTx/>
              <a:latin typeface="Segoe UI Semibold" panose="020B07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Azure IoT Explorer</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Graphical tool for interacting with and testing your IoT devices </a:t>
            </a: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VS Code</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zure IoT Tools Extension Pack</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Visual Studio</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zure IoT Hub &amp; IoT Edge Support</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Azure IoT CLI extension</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Open-source cross platform command-line tool for managing Azure resources such as IoT Hub</a:t>
            </a:r>
          </a:p>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1999" b="0" i="0" u="none" strike="noStrike" kern="1200" cap="none" spc="0" normalizeH="0" baseline="0" noProof="0" dirty="0">
                <a:ln>
                  <a:noFill/>
                </a:ln>
                <a:solidFill>
                  <a:srgbClr val="0070C0"/>
                </a:solidFill>
                <a:effectLst/>
                <a:uLnTx/>
                <a:uFillTx/>
                <a:latin typeface="Segoe UI Semibold" panose="020B0702040204020203" pitchFamily="34" charset="0"/>
                <a:ea typeface="+mn-ea"/>
                <a:cs typeface="+mn-cs"/>
              </a:rPr>
              <a:t>	</a:t>
            </a:r>
          </a:p>
        </p:txBody>
      </p:sp>
      <p:sp>
        <p:nvSpPr>
          <p:cNvPr id="10" name="TextBox 9">
            <a:extLst>
              <a:ext uri="{FF2B5EF4-FFF2-40B4-BE49-F238E27FC236}">
                <a16:creationId xmlns:a16="http://schemas.microsoft.com/office/drawing/2014/main" id="{EA576C40-A7A3-45F3-B975-04E16DE23C3E}"/>
              </a:ext>
            </a:extLst>
          </p:cNvPr>
          <p:cNvSpPr txBox="1"/>
          <p:nvPr/>
        </p:nvSpPr>
        <p:spPr>
          <a:xfrm>
            <a:off x="5900574" y="1259332"/>
            <a:ext cx="5329126" cy="1077090"/>
          </a:xfrm>
          <a:prstGeom prst="rect">
            <a:avLst/>
          </a:prstGeom>
          <a:noFill/>
        </p:spPr>
        <p:txBody>
          <a:bodyPr wrap="square">
            <a:spAutoFit/>
          </a:bodyPr>
          <a:lstStyle/>
          <a:p>
            <a:pPr marL="0" marR="0" lvl="0" indent="0"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Vendor Tooling</a:t>
            </a:r>
          </a:p>
          <a:p>
            <a:pPr marL="0" marR="0" lvl="0" indent="0" defTabSz="609443"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Samples with Azure RTOS, Embedded C SDK, IoT Plug and Play</a:t>
            </a:r>
          </a:p>
        </p:txBody>
      </p:sp>
      <p:pic>
        <p:nvPicPr>
          <p:cNvPr id="1026" name="Picture 2" descr="MPLAB X IDE Badge">
            <a:extLst>
              <a:ext uri="{FF2B5EF4-FFF2-40B4-BE49-F238E27FC236}">
                <a16:creationId xmlns:a16="http://schemas.microsoft.com/office/drawing/2014/main" id="{61C25743-5D92-4901-A01F-D6FE79B886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6932" y="2456356"/>
            <a:ext cx="1156638" cy="115663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Visual Studio Code">
            <a:extLst>
              <a:ext uri="{FF2B5EF4-FFF2-40B4-BE49-F238E27FC236}">
                <a16:creationId xmlns:a16="http://schemas.microsoft.com/office/drawing/2014/main" id="{382B76B9-3FEB-419F-B19C-D29200B6E1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834" y="2406784"/>
            <a:ext cx="1022128" cy="10221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E2874FD4-C54B-4BD3-9FA1-735114D7FC60}"/>
              </a:ext>
            </a:extLst>
          </p:cNvPr>
          <p:cNvPicPr>
            <a:picLocks noChangeAspect="1"/>
          </p:cNvPicPr>
          <p:nvPr/>
        </p:nvPicPr>
        <p:blipFill>
          <a:blip r:embed="rId5"/>
          <a:stretch>
            <a:fillRect/>
          </a:stretch>
        </p:blipFill>
        <p:spPr>
          <a:xfrm>
            <a:off x="371367" y="1286016"/>
            <a:ext cx="860541" cy="761903"/>
          </a:xfrm>
          <a:prstGeom prst="rect">
            <a:avLst/>
          </a:prstGeom>
        </p:spPr>
      </p:pic>
      <p:pic>
        <p:nvPicPr>
          <p:cNvPr id="4" name="Picture 2" descr="See the source image">
            <a:extLst>
              <a:ext uri="{FF2B5EF4-FFF2-40B4-BE49-F238E27FC236}">
                <a16:creationId xmlns:a16="http://schemas.microsoft.com/office/drawing/2014/main" id="{3BB27F74-1133-4869-A6FA-518AF9305C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8539" y="3514992"/>
            <a:ext cx="1228718" cy="92153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MPLAB XC Compilers Badge">
            <a:extLst>
              <a:ext uri="{FF2B5EF4-FFF2-40B4-BE49-F238E27FC236}">
                <a16:creationId xmlns:a16="http://schemas.microsoft.com/office/drawing/2014/main" id="{36ABD393-8682-4F9A-B470-B0DA124E56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32230" y="3209134"/>
            <a:ext cx="1421882" cy="129746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AC6F57B7-092E-42BE-A81C-A62EB9C366E3}"/>
              </a:ext>
            </a:extLst>
          </p:cNvPr>
          <p:cNvPicPr>
            <a:picLocks noChangeAspect="1"/>
          </p:cNvPicPr>
          <p:nvPr/>
        </p:nvPicPr>
        <p:blipFill>
          <a:blip r:embed="rId8"/>
          <a:stretch>
            <a:fillRect/>
          </a:stretch>
        </p:blipFill>
        <p:spPr>
          <a:xfrm>
            <a:off x="7234737" y="3689704"/>
            <a:ext cx="1421882" cy="965111"/>
          </a:xfrm>
          <a:prstGeom prst="rect">
            <a:avLst/>
          </a:prstGeom>
        </p:spPr>
      </p:pic>
      <p:pic>
        <p:nvPicPr>
          <p:cNvPr id="15" name="Picture 14">
            <a:extLst>
              <a:ext uri="{FF2B5EF4-FFF2-40B4-BE49-F238E27FC236}">
                <a16:creationId xmlns:a16="http://schemas.microsoft.com/office/drawing/2014/main" id="{80E68328-4644-4424-B1C2-55F088C85532}"/>
              </a:ext>
            </a:extLst>
          </p:cNvPr>
          <p:cNvPicPr>
            <a:picLocks noChangeAspect="1"/>
          </p:cNvPicPr>
          <p:nvPr/>
        </p:nvPicPr>
        <p:blipFill>
          <a:blip r:embed="rId9"/>
          <a:stretch>
            <a:fillRect/>
          </a:stretch>
        </p:blipFill>
        <p:spPr>
          <a:xfrm>
            <a:off x="281834" y="4781411"/>
            <a:ext cx="1104900" cy="790575"/>
          </a:xfrm>
          <a:prstGeom prst="rect">
            <a:avLst/>
          </a:prstGeom>
        </p:spPr>
      </p:pic>
      <p:grpSp>
        <p:nvGrpSpPr>
          <p:cNvPr id="18" name="Group 17">
            <a:extLst>
              <a:ext uri="{FF2B5EF4-FFF2-40B4-BE49-F238E27FC236}">
                <a16:creationId xmlns:a16="http://schemas.microsoft.com/office/drawing/2014/main" id="{99A9EB65-7289-4D06-B8F6-41D6BEA5D3AD}"/>
              </a:ext>
            </a:extLst>
          </p:cNvPr>
          <p:cNvGrpSpPr/>
          <p:nvPr/>
        </p:nvGrpSpPr>
        <p:grpSpPr>
          <a:xfrm>
            <a:off x="8619693" y="2472684"/>
            <a:ext cx="3229740" cy="2280619"/>
            <a:chOff x="5142735" y="1148380"/>
            <a:chExt cx="7049265" cy="4561239"/>
          </a:xfrm>
        </p:grpSpPr>
        <p:pic>
          <p:nvPicPr>
            <p:cNvPr id="19" name="Picture 18" descr="A close up of a logo&#10;&#10;Description automatically generated">
              <a:extLst>
                <a:ext uri="{FF2B5EF4-FFF2-40B4-BE49-F238E27FC236}">
                  <a16:creationId xmlns:a16="http://schemas.microsoft.com/office/drawing/2014/main" id="{13BDEBE7-A79C-4108-B146-1C8578E4B834}"/>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66703" y="1167657"/>
              <a:ext cx="1872660" cy="415395"/>
            </a:xfrm>
            <a:prstGeom prst="rect">
              <a:avLst/>
            </a:prstGeom>
          </p:spPr>
        </p:pic>
        <p:pic>
          <p:nvPicPr>
            <p:cNvPr id="20" name="Picture 19" descr="A picture containing drawing&#10;&#10;Description automatically generated">
              <a:extLst>
                <a:ext uri="{FF2B5EF4-FFF2-40B4-BE49-F238E27FC236}">
                  <a16:creationId xmlns:a16="http://schemas.microsoft.com/office/drawing/2014/main" id="{9C0E6839-AA17-4331-BA68-9180206FD15B}"/>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40492"/>
            <a:stretch/>
          </p:blipFill>
          <p:spPr>
            <a:xfrm>
              <a:off x="5498494" y="2218856"/>
              <a:ext cx="1193482" cy="501890"/>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D5D9AB31-E766-4B4B-9FAD-E874F7F1AFF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580750" y="2042308"/>
              <a:ext cx="1604527" cy="854987"/>
            </a:xfrm>
            <a:prstGeom prst="rect">
              <a:avLst/>
            </a:prstGeom>
          </p:spPr>
        </p:pic>
        <p:pic>
          <p:nvPicPr>
            <p:cNvPr id="22" name="Picture 21" descr="IAR Systems">
              <a:extLst>
                <a:ext uri="{FF2B5EF4-FFF2-40B4-BE49-F238E27FC236}">
                  <a16:creationId xmlns:a16="http://schemas.microsoft.com/office/drawing/2014/main" id="{4D61D181-7FFB-4970-8F28-C901A23B1353}"/>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5301863" y="3545500"/>
              <a:ext cx="1586745" cy="110305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RM Keil Microcontroller Tools – L-Tek">
              <a:extLst>
                <a:ext uri="{FF2B5EF4-FFF2-40B4-BE49-F238E27FC236}">
                  <a16:creationId xmlns:a16="http://schemas.microsoft.com/office/drawing/2014/main" id="{6D9871D0-8ECE-4CF7-9539-14F0E8C5EA05}"/>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7240319" y="3552343"/>
              <a:ext cx="2285388" cy="108936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Cortex-M3 processors">
              <a:extLst>
                <a:ext uri="{FF2B5EF4-FFF2-40B4-BE49-F238E27FC236}">
                  <a16:creationId xmlns:a16="http://schemas.microsoft.com/office/drawing/2014/main" id="{424AABEF-3BE5-48DA-8D3D-191E91646E91}"/>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7603479" y="5015833"/>
              <a:ext cx="1559068" cy="69378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A picture containing drawing&#10;&#10;Description automatically generated">
              <a:extLst>
                <a:ext uri="{FF2B5EF4-FFF2-40B4-BE49-F238E27FC236}">
                  <a16:creationId xmlns:a16="http://schemas.microsoft.com/office/drawing/2014/main" id="{56EA4D9D-60F0-47E3-B476-8820CAA832B1}"/>
                </a:ext>
              </a:extLst>
            </p:cNvPr>
            <p:cNvPicPr>
              <a:picLocks noChangeAspect="1"/>
            </p:cNvPicPr>
            <p:nvPr/>
          </p:nvPicPr>
          <p:blipFill rotWithShape="1">
            <a:blip r:embed="rId16">
              <a:extLst>
                <a:ext uri="{28A0092B-C50C-407E-A947-70E740481C1C}">
                  <a14:useLocalDpi xmlns:a14="http://schemas.microsoft.com/office/drawing/2010/main" val="0"/>
                </a:ext>
              </a:extLst>
            </a:blip>
            <a:srcRect l="10335" t="29526" r="11006" b="27371"/>
            <a:stretch/>
          </p:blipFill>
          <p:spPr>
            <a:xfrm>
              <a:off x="5921914" y="1148380"/>
              <a:ext cx="2149006" cy="449792"/>
            </a:xfrm>
            <a:prstGeom prst="rect">
              <a:avLst/>
            </a:prstGeom>
          </p:spPr>
        </p:pic>
        <p:pic>
          <p:nvPicPr>
            <p:cNvPr id="26" name="Picture 25" descr="Eclipse IDE">
              <a:extLst>
                <a:ext uri="{FF2B5EF4-FFF2-40B4-BE49-F238E27FC236}">
                  <a16:creationId xmlns:a16="http://schemas.microsoft.com/office/drawing/2014/main" id="{0D7EF26C-F49F-40FE-8268-3ACC926EE2C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3033" y="3858395"/>
              <a:ext cx="2045423" cy="47726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B2A94D53-7601-4D32-B9CF-3EA6F222AF97}"/>
                </a:ext>
              </a:extLst>
            </p:cNvPr>
            <p:cNvPicPr>
              <a:picLocks noChangeAspect="1"/>
            </p:cNvPicPr>
            <p:nvPr/>
          </p:nvPicPr>
          <p:blipFill>
            <a:blip r:embed="rId18"/>
            <a:stretch>
              <a:fillRect/>
            </a:stretch>
          </p:blipFill>
          <p:spPr>
            <a:xfrm>
              <a:off x="10238753" y="5263837"/>
              <a:ext cx="1373982" cy="197778"/>
            </a:xfrm>
            <a:prstGeom prst="rect">
              <a:avLst/>
            </a:prstGeom>
          </p:spPr>
        </p:pic>
        <p:pic>
          <p:nvPicPr>
            <p:cNvPr id="28" name="Picture 27" descr="A picture containing clock, meter&#10;&#10;Description generated with very high confidence">
              <a:extLst>
                <a:ext uri="{FF2B5EF4-FFF2-40B4-BE49-F238E27FC236}">
                  <a16:creationId xmlns:a16="http://schemas.microsoft.com/office/drawing/2014/main" id="{B2BB721D-3A35-4B81-BFF1-A91044BCB036}"/>
                </a:ext>
              </a:extLst>
            </p:cNvPr>
            <p:cNvPicPr>
              <a:picLocks noChangeAspect="1"/>
            </p:cNvPicPr>
            <p:nvPr/>
          </p:nvPicPr>
          <p:blipFill>
            <a:blip r:embed="rId19"/>
            <a:stretch>
              <a:fillRect/>
            </a:stretch>
          </p:blipFill>
          <p:spPr>
            <a:xfrm>
              <a:off x="5142735" y="5038281"/>
              <a:ext cx="1905001" cy="648891"/>
            </a:xfrm>
            <a:prstGeom prst="rect">
              <a:avLst/>
            </a:prstGeom>
          </p:spPr>
        </p:pic>
        <p:pic>
          <p:nvPicPr>
            <p:cNvPr id="29" name="Picture 28" descr="A picture containing light&#10;&#10;Description automatically generated">
              <a:extLst>
                <a:ext uri="{FF2B5EF4-FFF2-40B4-BE49-F238E27FC236}">
                  <a16:creationId xmlns:a16="http://schemas.microsoft.com/office/drawing/2014/main" id="{83F647F2-9836-4567-B3F3-1F9E3037FEB0}"/>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659487" y="2062787"/>
              <a:ext cx="2532513" cy="966960"/>
            </a:xfrm>
            <a:prstGeom prst="rect">
              <a:avLst/>
            </a:prstGeom>
          </p:spPr>
        </p:pic>
      </p:grpSp>
    </p:spTree>
    <p:extLst>
      <p:ext uri="{BB962C8B-B14F-4D97-AF65-F5344CB8AC3E}">
        <p14:creationId xmlns:p14="http://schemas.microsoft.com/office/powerpoint/2010/main" val="229351680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66154" y="553547"/>
            <a:ext cx="11360086" cy="1580053"/>
          </a:xfrm>
        </p:spPr>
        <p:txBody>
          <a:bodyPr/>
          <a:lstStyle/>
          <a:p>
            <a:r>
              <a:rPr lang="en-US" sz="4400" dirty="0">
                <a:gradFill>
                  <a:gsLst>
                    <a:gs pos="0">
                      <a:schemeClr val="accent5"/>
                    </a:gs>
                    <a:gs pos="100000">
                      <a:schemeClr val="accent4"/>
                    </a:gs>
                  </a:gsLst>
                  <a:lin ang="2700000" scaled="1"/>
                </a:gradFill>
              </a:rPr>
              <a:t>Demo: Cheese Cave </a:t>
            </a:r>
            <a:br>
              <a:rPr lang="en-US" sz="4400" dirty="0">
                <a:gradFill>
                  <a:gsLst>
                    <a:gs pos="0">
                      <a:schemeClr val="accent5"/>
                    </a:gs>
                    <a:gs pos="100000">
                      <a:schemeClr val="accent4"/>
                    </a:gs>
                  </a:gsLst>
                  <a:lin ang="2700000" scaled="1"/>
                </a:gradFill>
              </a:rPr>
            </a:br>
            <a:r>
              <a:rPr lang="en-US" sz="2800" dirty="0">
                <a:solidFill>
                  <a:schemeClr val="tx1"/>
                </a:solidFill>
              </a:rPr>
              <a:t>Provisioning devices to monitor and control temperature &amp; humidity</a:t>
            </a:r>
            <a:endParaRPr lang="en-US" sz="4400" dirty="0">
              <a:solidFill>
                <a:schemeClr val="tx1"/>
              </a:solidFill>
            </a:endParaRPr>
          </a:p>
        </p:txBody>
      </p:sp>
      <p:grpSp>
        <p:nvGrpSpPr>
          <p:cNvPr id="33" name="Group 32">
            <a:extLst>
              <a:ext uri="{FF2B5EF4-FFF2-40B4-BE49-F238E27FC236}">
                <a16:creationId xmlns:a16="http://schemas.microsoft.com/office/drawing/2014/main" id="{F732CC32-D6FC-4969-840C-88F9200A7D8B}"/>
              </a:ext>
            </a:extLst>
          </p:cNvPr>
          <p:cNvGrpSpPr/>
          <p:nvPr/>
        </p:nvGrpSpPr>
        <p:grpSpPr>
          <a:xfrm>
            <a:off x="2118201" y="3191443"/>
            <a:ext cx="4973897" cy="3040822"/>
            <a:chOff x="435432" y="2038965"/>
            <a:chExt cx="4973897" cy="3040822"/>
          </a:xfrm>
        </p:grpSpPr>
        <p:grpSp>
          <p:nvGrpSpPr>
            <p:cNvPr id="6" name="Group 5">
              <a:extLst>
                <a:ext uri="{FF2B5EF4-FFF2-40B4-BE49-F238E27FC236}">
                  <a16:creationId xmlns:a16="http://schemas.microsoft.com/office/drawing/2014/main" id="{8C6BB845-65C6-498D-93A1-D6D7ABA5B2FB}"/>
                </a:ext>
              </a:extLst>
            </p:cNvPr>
            <p:cNvGrpSpPr/>
            <p:nvPr/>
          </p:nvGrpSpPr>
          <p:grpSpPr>
            <a:xfrm>
              <a:off x="1121652" y="2642571"/>
              <a:ext cx="326931" cy="338042"/>
              <a:chOff x="1308100" y="3205163"/>
              <a:chExt cx="327025" cy="338138"/>
            </a:xfrm>
          </p:grpSpPr>
          <p:sp>
            <p:nvSpPr>
              <p:cNvPr id="7" name="Freeform 123">
                <a:extLst>
                  <a:ext uri="{FF2B5EF4-FFF2-40B4-BE49-F238E27FC236}">
                    <a16:creationId xmlns:a16="http://schemas.microsoft.com/office/drawing/2014/main" id="{077370ED-289A-483F-87DC-C502F8BBB45E}"/>
                  </a:ext>
                </a:extLst>
              </p:cNvPr>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sp>
            <p:nvSpPr>
              <p:cNvPr id="8" name="Freeform 124">
                <a:extLst>
                  <a:ext uri="{FF2B5EF4-FFF2-40B4-BE49-F238E27FC236}">
                    <a16:creationId xmlns:a16="http://schemas.microsoft.com/office/drawing/2014/main" id="{E14688BD-8D65-4940-BDD5-F213769C8C5C}"/>
                  </a:ext>
                </a:extLst>
              </p:cNvPr>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sp>
            <p:nvSpPr>
              <p:cNvPr id="9" name="Freeform 125">
                <a:extLst>
                  <a:ext uri="{FF2B5EF4-FFF2-40B4-BE49-F238E27FC236}">
                    <a16:creationId xmlns:a16="http://schemas.microsoft.com/office/drawing/2014/main" id="{2C24BE36-BBAA-4581-BB7A-8FB2234577E2}"/>
                  </a:ext>
                </a:extLst>
              </p:cNvPr>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grpSp>
        <p:sp>
          <p:nvSpPr>
            <p:cNvPr id="10" name="TextBox 9">
              <a:extLst>
                <a:ext uri="{FF2B5EF4-FFF2-40B4-BE49-F238E27FC236}">
                  <a16:creationId xmlns:a16="http://schemas.microsoft.com/office/drawing/2014/main" id="{EEB83F37-39B7-4336-9D20-9649C9CAB24B}"/>
                </a:ext>
              </a:extLst>
            </p:cNvPr>
            <p:cNvSpPr txBox="1"/>
            <p:nvPr/>
          </p:nvSpPr>
          <p:spPr>
            <a:xfrm>
              <a:off x="435432" y="3017684"/>
              <a:ext cx="1545886" cy="2062103"/>
            </a:xfrm>
            <a:prstGeom prst="rect">
              <a:avLst/>
            </a:prstGeom>
          </p:spPr>
          <p:txBody>
            <a:bodyPr wrap="square" rtlCol="0">
              <a:spAutoFit/>
            </a:bodyPr>
            <a:lstStyle/>
            <a:p>
              <a:pPr algn="ctr" defTabSz="914192">
                <a:defRPr/>
              </a:pPr>
              <a:r>
                <a:rPr lang="en-US" sz="1600" u="sng" dirty="0">
                  <a:latin typeface="Segoe UI Semibold"/>
                </a:rPr>
                <a:t>IoT Devices </a:t>
              </a:r>
              <a:r>
                <a:rPr lang="en-US" sz="1600" i="1" dirty="0">
                  <a:latin typeface="Segoe UI Semibold"/>
                </a:rPr>
                <a:t>Adding devices to monitor Cheese Caves</a:t>
              </a:r>
            </a:p>
            <a:p>
              <a:pPr algn="ctr" defTabSz="914192">
                <a:defRPr/>
              </a:pPr>
              <a:r>
                <a:rPr lang="en-US" sz="1600" i="1" dirty="0">
                  <a:latin typeface="Segoe UI Semibold"/>
                </a:rPr>
                <a:t>across different factories</a:t>
              </a:r>
            </a:p>
          </p:txBody>
        </p:sp>
        <p:sp>
          <p:nvSpPr>
            <p:cNvPr id="11" name="chip" title="Icon of a computer chip">
              <a:extLst>
                <a:ext uri="{FF2B5EF4-FFF2-40B4-BE49-F238E27FC236}">
                  <a16:creationId xmlns:a16="http://schemas.microsoft.com/office/drawing/2014/main" id="{03395094-AB74-4531-913C-F84D95D63FCB}"/>
                </a:ext>
              </a:extLst>
            </p:cNvPr>
            <p:cNvSpPr>
              <a:spLocks noChangeAspect="1" noEditPoints="1"/>
            </p:cNvSpPr>
            <p:nvPr/>
          </p:nvSpPr>
          <p:spPr bwMode="auto">
            <a:xfrm>
              <a:off x="827087" y="2042359"/>
              <a:ext cx="373636" cy="38120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dirty="0">
                <a:gradFill>
                  <a:gsLst>
                    <a:gs pos="0">
                      <a:srgbClr val="505050"/>
                    </a:gs>
                    <a:gs pos="100000">
                      <a:srgbClr val="505050"/>
                    </a:gs>
                  </a:gsLst>
                </a:gradFill>
                <a:latin typeface="Segoe UI"/>
              </a:endParaRPr>
            </a:p>
          </p:txBody>
        </p:sp>
        <p:sp>
          <p:nvSpPr>
            <p:cNvPr id="12" name="TextBox 11">
              <a:extLst>
                <a:ext uri="{FF2B5EF4-FFF2-40B4-BE49-F238E27FC236}">
                  <a16:creationId xmlns:a16="http://schemas.microsoft.com/office/drawing/2014/main" id="{543E0F1E-EBC1-4F71-8EDA-C458DE4F6284}"/>
                </a:ext>
              </a:extLst>
            </p:cNvPr>
            <p:cNvSpPr txBox="1"/>
            <p:nvPr/>
          </p:nvSpPr>
          <p:spPr>
            <a:xfrm>
              <a:off x="3403220" y="3019818"/>
              <a:ext cx="2006109" cy="343443"/>
            </a:xfrm>
            <a:prstGeom prst="rect">
              <a:avLst/>
            </a:prstGeom>
          </p:spPr>
          <p:txBody>
            <a:bodyPr wrap="square" rtlCol="0">
              <a:spAutoFit/>
            </a:bodyPr>
            <a:lstStyle/>
            <a:p>
              <a:pPr algn="ctr" defTabSz="914192">
                <a:defRPr/>
              </a:pPr>
              <a:r>
                <a:rPr lang="en-US" sz="1600" u="sng" dirty="0">
                  <a:latin typeface="Segoe UI Semibold"/>
                </a:rPr>
                <a:t>IoT Hub</a:t>
              </a:r>
            </a:p>
          </p:txBody>
        </p:sp>
        <p:pic>
          <p:nvPicPr>
            <p:cNvPr id="13" name="Picture 12" descr="A picture containing clock&#10;&#10;Description automatically generated">
              <a:extLst>
                <a:ext uri="{FF2B5EF4-FFF2-40B4-BE49-F238E27FC236}">
                  <a16:creationId xmlns:a16="http://schemas.microsoft.com/office/drawing/2014/main" id="{59CF27FC-C43E-4B84-8FA3-CC3335BD40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6185" y="2038965"/>
              <a:ext cx="780180" cy="780180"/>
            </a:xfrm>
            <a:prstGeom prst="rect">
              <a:avLst/>
            </a:prstGeom>
          </p:spPr>
        </p:pic>
        <p:pic>
          <p:nvPicPr>
            <p:cNvPr id="14" name="Graphic 13">
              <a:extLst>
                <a:ext uri="{FF2B5EF4-FFF2-40B4-BE49-F238E27FC236}">
                  <a16:creationId xmlns:a16="http://schemas.microsoft.com/office/drawing/2014/main" id="{E78BB6FE-1AF1-488C-9740-1C12EBB898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96990" y="2097407"/>
              <a:ext cx="780180" cy="813178"/>
            </a:xfrm>
            <a:prstGeom prst="rect">
              <a:avLst/>
            </a:prstGeom>
          </p:spPr>
        </p:pic>
        <p:sp>
          <p:nvSpPr>
            <p:cNvPr id="15" name="TextBox 14">
              <a:extLst>
                <a:ext uri="{FF2B5EF4-FFF2-40B4-BE49-F238E27FC236}">
                  <a16:creationId xmlns:a16="http://schemas.microsoft.com/office/drawing/2014/main" id="{16FCF99F-54DE-481A-A60F-43C73ECEBBC2}"/>
                </a:ext>
              </a:extLst>
            </p:cNvPr>
            <p:cNvSpPr txBox="1"/>
            <p:nvPr/>
          </p:nvSpPr>
          <p:spPr>
            <a:xfrm>
              <a:off x="1761323" y="3057881"/>
              <a:ext cx="2006109" cy="830997"/>
            </a:xfrm>
            <a:prstGeom prst="rect">
              <a:avLst/>
            </a:prstGeom>
          </p:spPr>
          <p:txBody>
            <a:bodyPr wrap="square" rtlCol="0">
              <a:spAutoFit/>
            </a:bodyPr>
            <a:lstStyle/>
            <a:p>
              <a:pPr algn="ctr" defTabSz="914192">
                <a:defRPr/>
              </a:pPr>
              <a:r>
                <a:rPr lang="en-US" sz="1600" u="sng" dirty="0">
                  <a:latin typeface="Segoe UI Semibold"/>
                </a:rPr>
                <a:t>IoT Hub Device Provisioning Service</a:t>
              </a:r>
            </a:p>
          </p:txBody>
        </p:sp>
        <p:cxnSp>
          <p:nvCxnSpPr>
            <p:cNvPr id="16" name="Straight Arrow Connector 15">
              <a:extLst>
                <a:ext uri="{FF2B5EF4-FFF2-40B4-BE49-F238E27FC236}">
                  <a16:creationId xmlns:a16="http://schemas.microsoft.com/office/drawing/2014/main" id="{177E58D7-63FB-4303-AB29-FB7831E9184C}"/>
                </a:ext>
              </a:extLst>
            </p:cNvPr>
            <p:cNvCxnSpPr>
              <a:cxnSpLocks/>
            </p:cNvCxnSpPr>
            <p:nvPr/>
          </p:nvCxnSpPr>
          <p:spPr>
            <a:xfrm flipH="1">
              <a:off x="1778924" y="2499426"/>
              <a:ext cx="541347"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ADEB0C0-D9BF-459C-8B42-DDF3BD95B651}"/>
                </a:ext>
              </a:extLst>
            </p:cNvPr>
            <p:cNvCxnSpPr>
              <a:cxnSpLocks/>
            </p:cNvCxnSpPr>
            <p:nvPr/>
          </p:nvCxnSpPr>
          <p:spPr>
            <a:xfrm flipH="1">
              <a:off x="3265152" y="2499426"/>
              <a:ext cx="670559"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0C6DADE2-3587-4E17-94C4-85B350ADAD33}"/>
              </a:ext>
            </a:extLst>
          </p:cNvPr>
          <p:cNvGrpSpPr/>
          <p:nvPr/>
        </p:nvGrpSpPr>
        <p:grpSpPr>
          <a:xfrm>
            <a:off x="-1" y="1926821"/>
            <a:ext cx="12105100" cy="807872"/>
            <a:chOff x="76016" y="1047480"/>
            <a:chExt cx="12105100" cy="807872"/>
          </a:xfrm>
        </p:grpSpPr>
        <p:sp>
          <p:nvSpPr>
            <p:cNvPr id="20" name="Arrow: Pentagon 19">
              <a:extLst>
                <a:ext uri="{FF2B5EF4-FFF2-40B4-BE49-F238E27FC236}">
                  <a16:creationId xmlns:a16="http://schemas.microsoft.com/office/drawing/2014/main" id="{1193AB41-94D9-47C5-AE4C-959B2265F496}"/>
                </a:ext>
              </a:extLst>
            </p:cNvPr>
            <p:cNvSpPr/>
            <p:nvPr/>
          </p:nvSpPr>
          <p:spPr bwMode="auto">
            <a:xfrm>
              <a:off x="8100147" y="1047480"/>
              <a:ext cx="4080969" cy="783368"/>
            </a:xfrm>
            <a:prstGeom prst="homePlat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21" name="Arrow: Pentagon 20">
              <a:extLst>
                <a:ext uri="{FF2B5EF4-FFF2-40B4-BE49-F238E27FC236}">
                  <a16:creationId xmlns:a16="http://schemas.microsoft.com/office/drawing/2014/main" id="{919D053E-683A-4A45-A688-8EBBAB9447A6}"/>
                </a:ext>
              </a:extLst>
            </p:cNvPr>
            <p:cNvSpPr/>
            <p:nvPr/>
          </p:nvSpPr>
          <p:spPr bwMode="auto">
            <a:xfrm>
              <a:off x="3426501" y="1048827"/>
              <a:ext cx="5397770" cy="784006"/>
            </a:xfrm>
            <a:prstGeom prst="homePlat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22" name="Arrow: Pentagon 21">
              <a:extLst>
                <a:ext uri="{FF2B5EF4-FFF2-40B4-BE49-F238E27FC236}">
                  <a16:creationId xmlns:a16="http://schemas.microsoft.com/office/drawing/2014/main" id="{AF6D561B-DF60-425C-9459-CE67F90AD438}"/>
                </a:ext>
              </a:extLst>
            </p:cNvPr>
            <p:cNvSpPr/>
            <p:nvPr/>
          </p:nvSpPr>
          <p:spPr bwMode="auto">
            <a:xfrm>
              <a:off x="76016" y="1048623"/>
              <a:ext cx="6944838" cy="806729"/>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grpSp>
          <p:nvGrpSpPr>
            <p:cNvPr id="23" name="Group 22">
              <a:extLst>
                <a:ext uri="{FF2B5EF4-FFF2-40B4-BE49-F238E27FC236}">
                  <a16:creationId xmlns:a16="http://schemas.microsoft.com/office/drawing/2014/main" id="{98AB4055-0B3B-4A22-84BF-1D8C62D4703B}"/>
                </a:ext>
              </a:extLst>
            </p:cNvPr>
            <p:cNvGrpSpPr/>
            <p:nvPr/>
          </p:nvGrpSpPr>
          <p:grpSpPr>
            <a:xfrm>
              <a:off x="8673895" y="1100729"/>
              <a:ext cx="3320220" cy="636925"/>
              <a:chOff x="7922517" y="4588193"/>
              <a:chExt cx="2892514" cy="636925"/>
            </a:xfrm>
          </p:grpSpPr>
          <p:sp>
            <p:nvSpPr>
              <p:cNvPr id="30" name="TextBox 29">
                <a:extLst>
                  <a:ext uri="{FF2B5EF4-FFF2-40B4-BE49-F238E27FC236}">
                    <a16:creationId xmlns:a16="http://schemas.microsoft.com/office/drawing/2014/main" id="{6D750378-6485-46BC-99D2-7E0BD770BC67}"/>
                  </a:ext>
                </a:extLst>
              </p:cNvPr>
              <p:cNvSpPr txBox="1"/>
              <p:nvPr/>
            </p:nvSpPr>
            <p:spPr>
              <a:xfrm>
                <a:off x="8053522" y="4837704"/>
                <a:ext cx="2576970" cy="38741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Optimize operations, increase profitability, &amp; create more compelling business models</a:t>
                </a:r>
              </a:p>
            </p:txBody>
          </p:sp>
          <p:sp>
            <p:nvSpPr>
              <p:cNvPr id="31" name="TextBox 30">
                <a:extLst>
                  <a:ext uri="{FF2B5EF4-FFF2-40B4-BE49-F238E27FC236}">
                    <a16:creationId xmlns:a16="http://schemas.microsoft.com/office/drawing/2014/main" id="{A16734D5-1672-41A0-9DE5-71421B78E2CE}"/>
                  </a:ext>
                </a:extLst>
              </p:cNvPr>
              <p:cNvSpPr txBox="1"/>
              <p:nvPr/>
            </p:nvSpPr>
            <p:spPr>
              <a:xfrm>
                <a:off x="7922517" y="4588193"/>
                <a:ext cx="2892514" cy="207942"/>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Semibold"/>
                  </a:rPr>
                  <a:t>ACTION</a:t>
                </a:r>
              </a:p>
            </p:txBody>
          </p:sp>
        </p:grpSp>
        <p:grpSp>
          <p:nvGrpSpPr>
            <p:cNvPr id="24" name="Group 23">
              <a:extLst>
                <a:ext uri="{FF2B5EF4-FFF2-40B4-BE49-F238E27FC236}">
                  <a16:creationId xmlns:a16="http://schemas.microsoft.com/office/drawing/2014/main" id="{FC0C5BA5-C0EB-4355-825D-1B7741283668}"/>
                </a:ext>
              </a:extLst>
            </p:cNvPr>
            <p:cNvGrpSpPr/>
            <p:nvPr/>
          </p:nvGrpSpPr>
          <p:grpSpPr>
            <a:xfrm>
              <a:off x="6876098" y="1099378"/>
              <a:ext cx="1800912" cy="581035"/>
              <a:chOff x="4109056" y="4589739"/>
              <a:chExt cx="1238812" cy="498583"/>
            </a:xfrm>
          </p:grpSpPr>
          <p:sp>
            <p:nvSpPr>
              <p:cNvPr id="28" name="TextBox 27">
                <a:extLst>
                  <a:ext uri="{FF2B5EF4-FFF2-40B4-BE49-F238E27FC236}">
                    <a16:creationId xmlns:a16="http://schemas.microsoft.com/office/drawing/2014/main" id="{39506AC9-C3A5-401E-AACE-9455A6323941}"/>
                  </a:ext>
                </a:extLst>
              </p:cNvPr>
              <p:cNvSpPr txBox="1"/>
              <p:nvPr/>
            </p:nvSpPr>
            <p:spPr>
              <a:xfrm>
                <a:off x="4109056" y="4755884"/>
                <a:ext cx="1238812" cy="332438"/>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Identify patterns in data, automate rules &amp; alerts </a:t>
                </a:r>
              </a:p>
            </p:txBody>
          </p:sp>
          <p:sp>
            <p:nvSpPr>
              <p:cNvPr id="29" name="TextBox 28">
                <a:extLst>
                  <a:ext uri="{FF2B5EF4-FFF2-40B4-BE49-F238E27FC236}">
                    <a16:creationId xmlns:a16="http://schemas.microsoft.com/office/drawing/2014/main" id="{3230D1DB-5426-4125-9F05-1D47FB0ACBC9}"/>
                  </a:ext>
                </a:extLst>
              </p:cNvPr>
              <p:cNvSpPr txBox="1"/>
              <p:nvPr/>
            </p:nvSpPr>
            <p:spPr>
              <a:xfrm>
                <a:off x="4309929" y="4589739"/>
                <a:ext cx="612857" cy="178434"/>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INSIGHTS</a:t>
                </a:r>
              </a:p>
            </p:txBody>
          </p:sp>
        </p:grpSp>
        <p:grpSp>
          <p:nvGrpSpPr>
            <p:cNvPr id="25" name="Group 24">
              <a:extLst>
                <a:ext uri="{FF2B5EF4-FFF2-40B4-BE49-F238E27FC236}">
                  <a16:creationId xmlns:a16="http://schemas.microsoft.com/office/drawing/2014/main" id="{BF0B953B-CEF7-446F-A166-5DB07A1CA2E8}"/>
                </a:ext>
              </a:extLst>
            </p:cNvPr>
            <p:cNvGrpSpPr/>
            <p:nvPr/>
          </p:nvGrpSpPr>
          <p:grpSpPr>
            <a:xfrm>
              <a:off x="181188" y="1102030"/>
              <a:ext cx="3540081" cy="646116"/>
              <a:chOff x="2333581" y="4589739"/>
              <a:chExt cx="2589205" cy="657187"/>
            </a:xfrm>
          </p:grpSpPr>
          <p:sp>
            <p:nvSpPr>
              <p:cNvPr id="26" name="TextBox 25">
                <a:extLst>
                  <a:ext uri="{FF2B5EF4-FFF2-40B4-BE49-F238E27FC236}">
                    <a16:creationId xmlns:a16="http://schemas.microsoft.com/office/drawing/2014/main" id="{38039994-BA4A-4098-9C9A-56EC6A9F8468}"/>
                  </a:ext>
                </a:extLst>
              </p:cNvPr>
              <p:cNvSpPr txBox="1"/>
              <p:nvPr/>
            </p:nvSpPr>
            <p:spPr>
              <a:xfrm>
                <a:off x="2748028" y="4852874"/>
                <a:ext cx="1764975" cy="394052"/>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Gain real time insights and improve business processes</a:t>
                </a:r>
              </a:p>
            </p:txBody>
          </p:sp>
          <p:sp>
            <p:nvSpPr>
              <p:cNvPr id="27" name="TextBox 26">
                <a:extLst>
                  <a:ext uri="{FF2B5EF4-FFF2-40B4-BE49-F238E27FC236}">
                    <a16:creationId xmlns:a16="http://schemas.microsoft.com/office/drawing/2014/main" id="{DDDDF47A-2F74-40DF-BCCE-BEB118E97059}"/>
                  </a:ext>
                </a:extLst>
              </p:cNvPr>
              <p:cNvSpPr txBox="1"/>
              <p:nvPr/>
            </p:nvSpPr>
            <p:spPr>
              <a:xfrm>
                <a:off x="2333581" y="4589739"/>
                <a:ext cx="2589205" cy="211505"/>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Semibold"/>
                  </a:rPr>
                  <a:t>THINGS</a:t>
                </a:r>
              </a:p>
            </p:txBody>
          </p:sp>
        </p:grpSp>
      </p:grpSp>
      <p:pic>
        <p:nvPicPr>
          <p:cNvPr id="32" name="Picture 31">
            <a:extLst>
              <a:ext uri="{FF2B5EF4-FFF2-40B4-BE49-F238E27FC236}">
                <a16:creationId xmlns:a16="http://schemas.microsoft.com/office/drawing/2014/main" id="{F8AE51F2-702C-49C6-BA99-4CACA533082C}"/>
              </a:ext>
            </a:extLst>
          </p:cNvPr>
          <p:cNvPicPr>
            <a:picLocks noChangeAspect="1"/>
          </p:cNvPicPr>
          <p:nvPr/>
        </p:nvPicPr>
        <p:blipFill>
          <a:blip r:embed="rId6"/>
          <a:stretch>
            <a:fillRect/>
          </a:stretch>
        </p:blipFill>
        <p:spPr>
          <a:xfrm>
            <a:off x="217762" y="3191443"/>
            <a:ext cx="1900438" cy="1460622"/>
          </a:xfrm>
          <a:prstGeom prst="rect">
            <a:avLst/>
          </a:prstGeom>
          <a:ln w="38100">
            <a:solidFill>
              <a:srgbClr val="0078D4"/>
            </a:solidFill>
          </a:ln>
        </p:spPr>
      </p:pic>
      <p:pic>
        <p:nvPicPr>
          <p:cNvPr id="34" name="Google Shape;2206;p17">
            <a:extLst>
              <a:ext uri="{FF2B5EF4-FFF2-40B4-BE49-F238E27FC236}">
                <a16:creationId xmlns:a16="http://schemas.microsoft.com/office/drawing/2014/main" id="{88C330F4-3778-4A36-B48C-EEDA08F930E0}"/>
              </a:ext>
            </a:extLst>
          </p:cNvPr>
          <p:cNvPicPr preferRelativeResize="0"/>
          <p:nvPr/>
        </p:nvPicPr>
        <p:blipFill rotWithShape="1">
          <a:blip r:embed="rId7">
            <a:alphaModFix/>
          </a:blip>
          <a:srcRect/>
          <a:stretch/>
        </p:blipFill>
        <p:spPr>
          <a:xfrm>
            <a:off x="2306619" y="3624782"/>
            <a:ext cx="648395" cy="554909"/>
          </a:xfrm>
          <a:prstGeom prst="rect">
            <a:avLst/>
          </a:prstGeom>
          <a:noFill/>
          <a:ln>
            <a:noFill/>
          </a:ln>
        </p:spPr>
      </p:pic>
      <p:sp>
        <p:nvSpPr>
          <p:cNvPr id="36" name="chip" title="Icon of a computer chip">
            <a:extLst>
              <a:ext uri="{FF2B5EF4-FFF2-40B4-BE49-F238E27FC236}">
                <a16:creationId xmlns:a16="http://schemas.microsoft.com/office/drawing/2014/main" id="{ED2BD218-7A3E-4D76-9832-21DB3E7774AB}"/>
              </a:ext>
            </a:extLst>
          </p:cNvPr>
          <p:cNvSpPr>
            <a:spLocks noChangeAspect="1" noEditPoints="1"/>
          </p:cNvSpPr>
          <p:nvPr/>
        </p:nvSpPr>
        <p:spPr bwMode="auto">
          <a:xfrm>
            <a:off x="3021024" y="3194837"/>
            <a:ext cx="373636" cy="38120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dirty="0">
              <a:gradFill>
                <a:gsLst>
                  <a:gs pos="0">
                    <a:srgbClr val="505050"/>
                  </a:gs>
                  <a:gs pos="100000">
                    <a:srgbClr val="505050"/>
                  </a:gs>
                </a:gsLst>
              </a:gradFill>
              <a:latin typeface="Segoe UI"/>
            </a:endParaRPr>
          </a:p>
        </p:txBody>
      </p:sp>
      <p:pic>
        <p:nvPicPr>
          <p:cNvPr id="40" name="Google Shape;2206;p17">
            <a:extLst>
              <a:ext uri="{FF2B5EF4-FFF2-40B4-BE49-F238E27FC236}">
                <a16:creationId xmlns:a16="http://schemas.microsoft.com/office/drawing/2014/main" id="{CC02C85F-1063-4985-AB7F-192BD346F4BD}"/>
              </a:ext>
            </a:extLst>
          </p:cNvPr>
          <p:cNvPicPr preferRelativeResize="0"/>
          <p:nvPr/>
        </p:nvPicPr>
        <p:blipFill rotWithShape="1">
          <a:blip r:embed="rId7">
            <a:alphaModFix/>
          </a:blip>
          <a:srcRect/>
          <a:stretch/>
        </p:blipFill>
        <p:spPr>
          <a:xfrm>
            <a:off x="2996857" y="3635351"/>
            <a:ext cx="648395" cy="554909"/>
          </a:xfrm>
          <a:prstGeom prst="rect">
            <a:avLst/>
          </a:prstGeom>
          <a:noFill/>
          <a:ln>
            <a:noFill/>
          </a:ln>
        </p:spPr>
      </p:pic>
      <p:grpSp>
        <p:nvGrpSpPr>
          <p:cNvPr id="53" name="Group 52">
            <a:extLst>
              <a:ext uri="{FF2B5EF4-FFF2-40B4-BE49-F238E27FC236}">
                <a16:creationId xmlns:a16="http://schemas.microsoft.com/office/drawing/2014/main" id="{C7D016C8-0222-4525-B2E5-F0398099D658}"/>
              </a:ext>
            </a:extLst>
          </p:cNvPr>
          <p:cNvGrpSpPr/>
          <p:nvPr/>
        </p:nvGrpSpPr>
        <p:grpSpPr>
          <a:xfrm>
            <a:off x="9294596" y="3305765"/>
            <a:ext cx="2077752" cy="846938"/>
            <a:chOff x="7164885" y="3900913"/>
            <a:chExt cx="2119415" cy="863921"/>
          </a:xfrm>
        </p:grpSpPr>
        <p:sp>
          <p:nvSpPr>
            <p:cNvPr id="54" name="Oval 53">
              <a:extLst>
                <a:ext uri="{FF2B5EF4-FFF2-40B4-BE49-F238E27FC236}">
                  <a16:creationId xmlns:a16="http://schemas.microsoft.com/office/drawing/2014/main" id="{FEC31AD9-8860-4040-B853-EAB4E7BC3AB0}"/>
                </a:ext>
              </a:extLst>
            </p:cNvPr>
            <p:cNvSpPr/>
            <p:nvPr/>
          </p:nvSpPr>
          <p:spPr bwMode="auto">
            <a:xfrm>
              <a:off x="7164885" y="4423871"/>
              <a:ext cx="2119415" cy="340963"/>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cs typeface="Segoe UI" pitchFamily="34" charset="0"/>
              </a:endParaRPr>
            </a:p>
          </p:txBody>
        </p:sp>
        <p:grpSp>
          <p:nvGrpSpPr>
            <p:cNvPr id="55" name="Group 54">
              <a:extLst>
                <a:ext uri="{FF2B5EF4-FFF2-40B4-BE49-F238E27FC236}">
                  <a16:creationId xmlns:a16="http://schemas.microsoft.com/office/drawing/2014/main" id="{715EFCA7-0C9C-495A-B5F2-C17147893095}"/>
                </a:ext>
              </a:extLst>
            </p:cNvPr>
            <p:cNvGrpSpPr/>
            <p:nvPr/>
          </p:nvGrpSpPr>
          <p:grpSpPr>
            <a:xfrm>
              <a:off x="7217081" y="3900913"/>
              <a:ext cx="1548757" cy="655191"/>
              <a:chOff x="7521253" y="4376819"/>
              <a:chExt cx="1548757" cy="655191"/>
            </a:xfrm>
          </p:grpSpPr>
          <p:grpSp>
            <p:nvGrpSpPr>
              <p:cNvPr id="56" name="laptop" descr=" laptop, data">
                <a:extLst>
                  <a:ext uri="{FF2B5EF4-FFF2-40B4-BE49-F238E27FC236}">
                    <a16:creationId xmlns:a16="http://schemas.microsoft.com/office/drawing/2014/main" id="{E4345E06-C615-48D2-AEC5-B9E04EF4872C}"/>
                  </a:ext>
                </a:extLst>
              </p:cNvPr>
              <p:cNvGrpSpPr/>
              <p:nvPr/>
            </p:nvGrpSpPr>
            <p:grpSpPr>
              <a:xfrm>
                <a:off x="7996068" y="4376819"/>
                <a:ext cx="1073942" cy="655191"/>
                <a:chOff x="615531" y="1287780"/>
                <a:chExt cx="547784" cy="334192"/>
              </a:xfrm>
            </p:grpSpPr>
            <p:sp>
              <p:nvSpPr>
                <p:cNvPr id="60" name="Rectangle 5">
                  <a:extLst>
                    <a:ext uri="{FF2B5EF4-FFF2-40B4-BE49-F238E27FC236}">
                      <a16:creationId xmlns:a16="http://schemas.microsoft.com/office/drawing/2014/main" id="{85724ABD-CB0D-459A-92BD-E54BBB7E28D2}"/>
                    </a:ext>
                  </a:extLst>
                </p:cNvPr>
                <p:cNvSpPr>
                  <a:spLocks noChangeArrowheads="1"/>
                </p:cNvSpPr>
                <p:nvPr/>
              </p:nvSpPr>
              <p:spPr bwMode="auto">
                <a:xfrm>
                  <a:off x="669292" y="1303763"/>
                  <a:ext cx="441714" cy="283337"/>
                </a:xfrm>
                <a:prstGeom prst="rect">
                  <a:avLst/>
                </a:prstGeom>
                <a:solidFill>
                  <a:srgbClr val="0078D4"/>
                </a:solidFill>
                <a:ln w="9525">
                  <a:noFill/>
                  <a:miter lim="800000"/>
                  <a:headEnd/>
                  <a:tailEnd/>
                </a:ln>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1" name="Rectangle 6">
                  <a:extLst>
                    <a:ext uri="{FF2B5EF4-FFF2-40B4-BE49-F238E27FC236}">
                      <a16:creationId xmlns:a16="http://schemas.microsoft.com/office/drawing/2014/main" id="{26E1809A-F740-42B4-A22A-BD4CBAE38059}"/>
                    </a:ext>
                  </a:extLst>
                </p:cNvPr>
                <p:cNvSpPr>
                  <a:spLocks noChangeArrowheads="1"/>
                </p:cNvSpPr>
                <p:nvPr/>
              </p:nvSpPr>
              <p:spPr bwMode="auto">
                <a:xfrm>
                  <a:off x="974424" y="1370601"/>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2" name="Rectangle 7">
                  <a:extLst>
                    <a:ext uri="{FF2B5EF4-FFF2-40B4-BE49-F238E27FC236}">
                      <a16:creationId xmlns:a16="http://schemas.microsoft.com/office/drawing/2014/main" id="{CD0BCE5B-270D-42BD-9C36-880A8B9AAE14}"/>
                    </a:ext>
                  </a:extLst>
                </p:cNvPr>
                <p:cNvSpPr>
                  <a:spLocks noChangeArrowheads="1"/>
                </p:cNvSpPr>
                <p:nvPr/>
              </p:nvSpPr>
              <p:spPr bwMode="auto">
                <a:xfrm>
                  <a:off x="974424" y="1438893"/>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3" name="Rectangle 8">
                  <a:extLst>
                    <a:ext uri="{FF2B5EF4-FFF2-40B4-BE49-F238E27FC236}">
                      <a16:creationId xmlns:a16="http://schemas.microsoft.com/office/drawing/2014/main" id="{90BC65B8-4FB1-46E9-A105-D47F5C718F4D}"/>
                    </a:ext>
                  </a:extLst>
                </p:cNvPr>
                <p:cNvSpPr>
                  <a:spLocks noChangeArrowheads="1"/>
                </p:cNvSpPr>
                <p:nvPr/>
              </p:nvSpPr>
              <p:spPr bwMode="auto">
                <a:xfrm>
                  <a:off x="974424" y="1510090"/>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4" name="Freeform 9">
                  <a:extLst>
                    <a:ext uri="{FF2B5EF4-FFF2-40B4-BE49-F238E27FC236}">
                      <a16:creationId xmlns:a16="http://schemas.microsoft.com/office/drawing/2014/main" id="{BC8B39AD-A2D0-4466-90F9-F3262568B276}"/>
                    </a:ext>
                  </a:extLst>
                </p:cNvPr>
                <p:cNvSpPr>
                  <a:spLocks/>
                </p:cNvSpPr>
                <p:nvPr/>
              </p:nvSpPr>
              <p:spPr bwMode="auto">
                <a:xfrm>
                  <a:off x="887243" y="1357524"/>
                  <a:ext cx="59573" cy="46496"/>
                </a:xfrm>
                <a:custGeom>
                  <a:avLst/>
                  <a:gdLst>
                    <a:gd name="T0" fmla="*/ 13 w 41"/>
                    <a:gd name="T1" fmla="*/ 32 h 32"/>
                    <a:gd name="T2" fmla="*/ 0 w 41"/>
                    <a:gd name="T3" fmla="*/ 19 h 32"/>
                    <a:gd name="T4" fmla="*/ 4 w 41"/>
                    <a:gd name="T5" fmla="*/ 14 h 32"/>
                    <a:gd name="T6" fmla="*/ 13 w 41"/>
                    <a:gd name="T7" fmla="*/ 23 h 32"/>
                    <a:gd name="T8" fmla="*/ 36 w 41"/>
                    <a:gd name="T9" fmla="*/ 0 h 32"/>
                    <a:gd name="T10" fmla="*/ 41 w 41"/>
                    <a:gd name="T11" fmla="*/ 4 h 32"/>
                    <a:gd name="T12" fmla="*/ 13 w 4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1" h="32">
                      <a:moveTo>
                        <a:pt x="13" y="32"/>
                      </a:moveTo>
                      <a:lnTo>
                        <a:pt x="0" y="19"/>
                      </a:lnTo>
                      <a:lnTo>
                        <a:pt x="4" y="14"/>
                      </a:lnTo>
                      <a:lnTo>
                        <a:pt x="13" y="23"/>
                      </a:lnTo>
                      <a:lnTo>
                        <a:pt x="36" y="0"/>
                      </a:lnTo>
                      <a:lnTo>
                        <a:pt x="41" y="4"/>
                      </a:lnTo>
                      <a:lnTo>
                        <a:pt x="13"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5" name="Freeform 10">
                  <a:extLst>
                    <a:ext uri="{FF2B5EF4-FFF2-40B4-BE49-F238E27FC236}">
                      <a16:creationId xmlns:a16="http://schemas.microsoft.com/office/drawing/2014/main" id="{1E4E401F-0043-4EAE-9640-2EBEDBE1F1DE}"/>
                    </a:ext>
                  </a:extLst>
                </p:cNvPr>
                <p:cNvSpPr>
                  <a:spLocks/>
                </p:cNvSpPr>
                <p:nvPr/>
              </p:nvSpPr>
              <p:spPr bwMode="auto">
                <a:xfrm>
                  <a:off x="887243" y="1422910"/>
                  <a:ext cx="59573" cy="46496"/>
                </a:xfrm>
                <a:custGeom>
                  <a:avLst/>
                  <a:gdLst>
                    <a:gd name="T0" fmla="*/ 13 w 41"/>
                    <a:gd name="T1" fmla="*/ 32 h 32"/>
                    <a:gd name="T2" fmla="*/ 0 w 41"/>
                    <a:gd name="T3" fmla="*/ 18 h 32"/>
                    <a:gd name="T4" fmla="*/ 4 w 41"/>
                    <a:gd name="T5" fmla="*/ 14 h 32"/>
                    <a:gd name="T6" fmla="*/ 13 w 41"/>
                    <a:gd name="T7" fmla="*/ 23 h 32"/>
                    <a:gd name="T8" fmla="*/ 36 w 41"/>
                    <a:gd name="T9" fmla="*/ 0 h 32"/>
                    <a:gd name="T10" fmla="*/ 41 w 41"/>
                    <a:gd name="T11" fmla="*/ 4 h 32"/>
                    <a:gd name="T12" fmla="*/ 13 w 4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1" h="32">
                      <a:moveTo>
                        <a:pt x="13" y="32"/>
                      </a:moveTo>
                      <a:lnTo>
                        <a:pt x="0" y="18"/>
                      </a:lnTo>
                      <a:lnTo>
                        <a:pt x="4" y="14"/>
                      </a:lnTo>
                      <a:lnTo>
                        <a:pt x="13" y="23"/>
                      </a:lnTo>
                      <a:lnTo>
                        <a:pt x="36" y="0"/>
                      </a:lnTo>
                      <a:lnTo>
                        <a:pt x="41" y="4"/>
                      </a:lnTo>
                      <a:lnTo>
                        <a:pt x="13"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6" name="Freeform 11">
                  <a:extLst>
                    <a:ext uri="{FF2B5EF4-FFF2-40B4-BE49-F238E27FC236}">
                      <a16:creationId xmlns:a16="http://schemas.microsoft.com/office/drawing/2014/main" id="{DBB536C9-0E88-488A-A616-11941915F78E}"/>
                    </a:ext>
                  </a:extLst>
                </p:cNvPr>
                <p:cNvSpPr>
                  <a:spLocks/>
                </p:cNvSpPr>
                <p:nvPr/>
              </p:nvSpPr>
              <p:spPr bwMode="auto">
                <a:xfrm>
                  <a:off x="887243" y="1488295"/>
                  <a:ext cx="59573" cy="45043"/>
                </a:xfrm>
                <a:custGeom>
                  <a:avLst/>
                  <a:gdLst>
                    <a:gd name="T0" fmla="*/ 13 w 41"/>
                    <a:gd name="T1" fmla="*/ 31 h 31"/>
                    <a:gd name="T2" fmla="*/ 0 w 41"/>
                    <a:gd name="T3" fmla="*/ 18 h 31"/>
                    <a:gd name="T4" fmla="*/ 4 w 41"/>
                    <a:gd name="T5" fmla="*/ 14 h 31"/>
                    <a:gd name="T6" fmla="*/ 13 w 41"/>
                    <a:gd name="T7" fmla="*/ 23 h 31"/>
                    <a:gd name="T8" fmla="*/ 36 w 41"/>
                    <a:gd name="T9" fmla="*/ 0 h 31"/>
                    <a:gd name="T10" fmla="*/ 41 w 41"/>
                    <a:gd name="T11" fmla="*/ 4 h 31"/>
                    <a:gd name="T12" fmla="*/ 13 w 4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1" h="31">
                      <a:moveTo>
                        <a:pt x="13" y="31"/>
                      </a:moveTo>
                      <a:lnTo>
                        <a:pt x="0" y="18"/>
                      </a:lnTo>
                      <a:lnTo>
                        <a:pt x="4" y="14"/>
                      </a:lnTo>
                      <a:lnTo>
                        <a:pt x="13" y="23"/>
                      </a:lnTo>
                      <a:lnTo>
                        <a:pt x="36" y="0"/>
                      </a:lnTo>
                      <a:lnTo>
                        <a:pt x="41" y="4"/>
                      </a:lnTo>
                      <a:lnTo>
                        <a:pt x="1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7" name="Freeform 12">
                  <a:extLst>
                    <a:ext uri="{FF2B5EF4-FFF2-40B4-BE49-F238E27FC236}">
                      <a16:creationId xmlns:a16="http://schemas.microsoft.com/office/drawing/2014/main" id="{2EDC3881-DB7D-416C-8CE2-972B292E0051}"/>
                    </a:ext>
                  </a:extLst>
                </p:cNvPr>
                <p:cNvSpPr>
                  <a:spLocks noEditPoints="1"/>
                </p:cNvSpPr>
                <p:nvPr/>
              </p:nvSpPr>
              <p:spPr bwMode="auto">
                <a:xfrm>
                  <a:off x="657668" y="1287780"/>
                  <a:ext cx="466416" cy="316756"/>
                </a:xfrm>
                <a:custGeom>
                  <a:avLst/>
                  <a:gdLst>
                    <a:gd name="T0" fmla="*/ 521 w 542"/>
                    <a:gd name="T1" fmla="*/ 0 h 368"/>
                    <a:gd name="T2" fmla="*/ 21 w 542"/>
                    <a:gd name="T3" fmla="*/ 0 h 368"/>
                    <a:gd name="T4" fmla="*/ 0 w 542"/>
                    <a:gd name="T5" fmla="*/ 21 h 368"/>
                    <a:gd name="T6" fmla="*/ 0 w 542"/>
                    <a:gd name="T7" fmla="*/ 368 h 368"/>
                    <a:gd name="T8" fmla="*/ 542 w 542"/>
                    <a:gd name="T9" fmla="*/ 368 h 368"/>
                    <a:gd name="T10" fmla="*/ 542 w 542"/>
                    <a:gd name="T11" fmla="*/ 21 h 368"/>
                    <a:gd name="T12" fmla="*/ 521 w 542"/>
                    <a:gd name="T13" fmla="*/ 0 h 368"/>
                    <a:gd name="T14" fmla="*/ 521 w 542"/>
                    <a:gd name="T15" fmla="*/ 339 h 368"/>
                    <a:gd name="T16" fmla="*/ 21 w 542"/>
                    <a:gd name="T17" fmla="*/ 339 h 368"/>
                    <a:gd name="T18" fmla="*/ 21 w 542"/>
                    <a:gd name="T19" fmla="*/ 27 h 368"/>
                    <a:gd name="T20" fmla="*/ 520 w 542"/>
                    <a:gd name="T21" fmla="*/ 27 h 368"/>
                    <a:gd name="T22" fmla="*/ 520 w 542"/>
                    <a:gd name="T23" fmla="*/ 339 h 368"/>
                    <a:gd name="T24" fmla="*/ 521 w 542"/>
                    <a:gd name="T25" fmla="*/ 339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2" h="368">
                      <a:moveTo>
                        <a:pt x="521" y="0"/>
                      </a:moveTo>
                      <a:cubicBezTo>
                        <a:pt x="21" y="0"/>
                        <a:pt x="21" y="0"/>
                        <a:pt x="21" y="0"/>
                      </a:cubicBezTo>
                      <a:cubicBezTo>
                        <a:pt x="10" y="0"/>
                        <a:pt x="0" y="10"/>
                        <a:pt x="0" y="21"/>
                      </a:cubicBezTo>
                      <a:cubicBezTo>
                        <a:pt x="0" y="368"/>
                        <a:pt x="0" y="368"/>
                        <a:pt x="0" y="368"/>
                      </a:cubicBezTo>
                      <a:cubicBezTo>
                        <a:pt x="542" y="368"/>
                        <a:pt x="542" y="368"/>
                        <a:pt x="542" y="368"/>
                      </a:cubicBezTo>
                      <a:cubicBezTo>
                        <a:pt x="542" y="21"/>
                        <a:pt x="542" y="21"/>
                        <a:pt x="542" y="21"/>
                      </a:cubicBezTo>
                      <a:cubicBezTo>
                        <a:pt x="542" y="10"/>
                        <a:pt x="533" y="0"/>
                        <a:pt x="521" y="0"/>
                      </a:cubicBezTo>
                      <a:close/>
                      <a:moveTo>
                        <a:pt x="521" y="339"/>
                      </a:moveTo>
                      <a:cubicBezTo>
                        <a:pt x="21" y="339"/>
                        <a:pt x="21" y="339"/>
                        <a:pt x="21" y="339"/>
                      </a:cubicBezTo>
                      <a:cubicBezTo>
                        <a:pt x="21" y="27"/>
                        <a:pt x="21" y="27"/>
                        <a:pt x="21" y="27"/>
                      </a:cubicBezTo>
                      <a:cubicBezTo>
                        <a:pt x="520" y="27"/>
                        <a:pt x="520" y="27"/>
                        <a:pt x="520" y="27"/>
                      </a:cubicBezTo>
                      <a:cubicBezTo>
                        <a:pt x="520" y="339"/>
                        <a:pt x="520" y="339"/>
                        <a:pt x="520" y="339"/>
                      </a:cubicBezTo>
                      <a:lnTo>
                        <a:pt x="521" y="33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8" name="Freeform 15">
                  <a:extLst>
                    <a:ext uri="{FF2B5EF4-FFF2-40B4-BE49-F238E27FC236}">
                      <a16:creationId xmlns:a16="http://schemas.microsoft.com/office/drawing/2014/main" id="{A2E2528C-F7E3-4B05-85EC-9AE3ACD226E7}"/>
                    </a:ext>
                  </a:extLst>
                </p:cNvPr>
                <p:cNvSpPr>
                  <a:spLocks/>
                </p:cNvSpPr>
                <p:nvPr/>
              </p:nvSpPr>
              <p:spPr bwMode="auto">
                <a:xfrm>
                  <a:off x="615531" y="1610348"/>
                  <a:ext cx="547784" cy="11624"/>
                </a:xfrm>
                <a:custGeom>
                  <a:avLst/>
                  <a:gdLst>
                    <a:gd name="T0" fmla="*/ 633 w 637"/>
                    <a:gd name="T1" fmla="*/ 0 h 13"/>
                    <a:gd name="T2" fmla="*/ 593 w 637"/>
                    <a:gd name="T3" fmla="*/ 0 h 13"/>
                    <a:gd name="T4" fmla="*/ 593 w 637"/>
                    <a:gd name="T5" fmla="*/ 4 h 13"/>
                    <a:gd name="T6" fmla="*/ 589 w 637"/>
                    <a:gd name="T7" fmla="*/ 4 h 13"/>
                    <a:gd name="T8" fmla="*/ 47 w 637"/>
                    <a:gd name="T9" fmla="*/ 4 h 13"/>
                    <a:gd name="T10" fmla="*/ 43 w 637"/>
                    <a:gd name="T11" fmla="*/ 4 h 13"/>
                    <a:gd name="T12" fmla="*/ 43 w 637"/>
                    <a:gd name="T13" fmla="*/ 0 h 13"/>
                    <a:gd name="T14" fmla="*/ 4 w 637"/>
                    <a:gd name="T15" fmla="*/ 0 h 13"/>
                    <a:gd name="T16" fmla="*/ 2 w 637"/>
                    <a:gd name="T17" fmla="*/ 6 h 13"/>
                    <a:gd name="T18" fmla="*/ 9 w 637"/>
                    <a:gd name="T19" fmla="*/ 10 h 13"/>
                    <a:gd name="T20" fmla="*/ 19 w 637"/>
                    <a:gd name="T21" fmla="*/ 13 h 13"/>
                    <a:gd name="T22" fmla="*/ 617 w 637"/>
                    <a:gd name="T23" fmla="*/ 13 h 13"/>
                    <a:gd name="T24" fmla="*/ 627 w 637"/>
                    <a:gd name="T25" fmla="*/ 10 h 13"/>
                    <a:gd name="T26" fmla="*/ 634 w 637"/>
                    <a:gd name="T27" fmla="*/ 6 h 13"/>
                    <a:gd name="T28" fmla="*/ 633 w 637"/>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7" h="13">
                      <a:moveTo>
                        <a:pt x="633" y="0"/>
                      </a:moveTo>
                      <a:cubicBezTo>
                        <a:pt x="593" y="0"/>
                        <a:pt x="593" y="0"/>
                        <a:pt x="593" y="0"/>
                      </a:cubicBezTo>
                      <a:cubicBezTo>
                        <a:pt x="593" y="4"/>
                        <a:pt x="593" y="4"/>
                        <a:pt x="593" y="4"/>
                      </a:cubicBezTo>
                      <a:cubicBezTo>
                        <a:pt x="589" y="4"/>
                        <a:pt x="589" y="4"/>
                        <a:pt x="589" y="4"/>
                      </a:cubicBezTo>
                      <a:cubicBezTo>
                        <a:pt x="47" y="4"/>
                        <a:pt x="47" y="4"/>
                        <a:pt x="47" y="4"/>
                      </a:cubicBezTo>
                      <a:cubicBezTo>
                        <a:pt x="43" y="4"/>
                        <a:pt x="43" y="4"/>
                        <a:pt x="43" y="4"/>
                      </a:cubicBezTo>
                      <a:cubicBezTo>
                        <a:pt x="43" y="0"/>
                        <a:pt x="43" y="0"/>
                        <a:pt x="43" y="0"/>
                      </a:cubicBezTo>
                      <a:cubicBezTo>
                        <a:pt x="4" y="0"/>
                        <a:pt x="4" y="0"/>
                        <a:pt x="4" y="0"/>
                      </a:cubicBezTo>
                      <a:cubicBezTo>
                        <a:pt x="1" y="0"/>
                        <a:pt x="0" y="4"/>
                        <a:pt x="2" y="6"/>
                      </a:cubicBezTo>
                      <a:cubicBezTo>
                        <a:pt x="9" y="10"/>
                        <a:pt x="9" y="10"/>
                        <a:pt x="9" y="10"/>
                      </a:cubicBezTo>
                      <a:cubicBezTo>
                        <a:pt x="12" y="12"/>
                        <a:pt x="15" y="13"/>
                        <a:pt x="19" y="13"/>
                      </a:cubicBezTo>
                      <a:cubicBezTo>
                        <a:pt x="617" y="13"/>
                        <a:pt x="617" y="13"/>
                        <a:pt x="617" y="13"/>
                      </a:cubicBezTo>
                      <a:cubicBezTo>
                        <a:pt x="621" y="13"/>
                        <a:pt x="624" y="12"/>
                        <a:pt x="627" y="10"/>
                      </a:cubicBezTo>
                      <a:cubicBezTo>
                        <a:pt x="634" y="6"/>
                        <a:pt x="634" y="6"/>
                        <a:pt x="634" y="6"/>
                      </a:cubicBezTo>
                      <a:cubicBezTo>
                        <a:pt x="637" y="4"/>
                        <a:pt x="635" y="0"/>
                        <a:pt x="633" y="0"/>
                      </a:cubicBezTo>
                      <a:close/>
                    </a:path>
                  </a:pathLst>
                </a:custGeom>
                <a:solidFill>
                  <a:schemeClr val="bg1">
                    <a:lumMod val="95000"/>
                  </a:schemeClr>
                </a:solidFill>
                <a:ln w="9525">
                  <a:solidFill>
                    <a:schemeClr val="accent1"/>
                  </a:solidFill>
                  <a:round/>
                  <a:headEnd/>
                  <a:tailEnd/>
                </a:ln>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9" name="Rectangle 18">
                  <a:extLst>
                    <a:ext uri="{FF2B5EF4-FFF2-40B4-BE49-F238E27FC236}">
                      <a16:creationId xmlns:a16="http://schemas.microsoft.com/office/drawing/2014/main" id="{AAE5C7FD-DAC9-4139-9100-161909ED2C0E}"/>
                    </a:ext>
                  </a:extLst>
                </p:cNvPr>
                <p:cNvSpPr>
                  <a:spLocks noChangeArrowheads="1"/>
                </p:cNvSpPr>
                <p:nvPr/>
              </p:nvSpPr>
              <p:spPr bwMode="auto">
                <a:xfrm>
                  <a:off x="705617" y="1486842"/>
                  <a:ext cx="21795" cy="523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0" name="Rectangle 19">
                  <a:extLst>
                    <a:ext uri="{FF2B5EF4-FFF2-40B4-BE49-F238E27FC236}">
                      <a16:creationId xmlns:a16="http://schemas.microsoft.com/office/drawing/2014/main" id="{E143DF98-8A46-46F5-B5CD-4802634D1917}"/>
                    </a:ext>
                  </a:extLst>
                </p:cNvPr>
                <p:cNvSpPr>
                  <a:spLocks noChangeArrowheads="1"/>
                </p:cNvSpPr>
                <p:nvPr/>
              </p:nvSpPr>
              <p:spPr bwMode="auto">
                <a:xfrm>
                  <a:off x="705617" y="1504278"/>
                  <a:ext cx="21795" cy="3487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1" name="Rectangle 20">
                  <a:extLst>
                    <a:ext uri="{FF2B5EF4-FFF2-40B4-BE49-F238E27FC236}">
                      <a16:creationId xmlns:a16="http://schemas.microsoft.com/office/drawing/2014/main" id="{F4DEF5BF-601D-451A-872B-5E54020D15D3}"/>
                    </a:ext>
                  </a:extLst>
                </p:cNvPr>
                <p:cNvSpPr>
                  <a:spLocks noChangeArrowheads="1"/>
                </p:cNvSpPr>
                <p:nvPr/>
              </p:nvSpPr>
              <p:spPr bwMode="auto">
                <a:xfrm>
                  <a:off x="736131" y="1462141"/>
                  <a:ext cx="20342" cy="770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2" name="Rectangle 21">
                  <a:extLst>
                    <a:ext uri="{FF2B5EF4-FFF2-40B4-BE49-F238E27FC236}">
                      <a16:creationId xmlns:a16="http://schemas.microsoft.com/office/drawing/2014/main" id="{2BC217D4-515D-47B2-BF4D-0445DD8E5636}"/>
                    </a:ext>
                  </a:extLst>
                </p:cNvPr>
                <p:cNvSpPr>
                  <a:spLocks noChangeArrowheads="1"/>
                </p:cNvSpPr>
                <p:nvPr/>
              </p:nvSpPr>
              <p:spPr bwMode="auto">
                <a:xfrm>
                  <a:off x="736131" y="1491201"/>
                  <a:ext cx="20342" cy="479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3" name="Rectangle 22">
                  <a:extLst>
                    <a:ext uri="{FF2B5EF4-FFF2-40B4-BE49-F238E27FC236}">
                      <a16:creationId xmlns:a16="http://schemas.microsoft.com/office/drawing/2014/main" id="{85A1EF7F-0978-481E-93A7-A595F78F878D}"/>
                    </a:ext>
                  </a:extLst>
                </p:cNvPr>
                <p:cNvSpPr>
                  <a:spLocks noChangeArrowheads="1"/>
                </p:cNvSpPr>
                <p:nvPr/>
              </p:nvSpPr>
              <p:spPr bwMode="auto">
                <a:xfrm>
                  <a:off x="826217" y="1374961"/>
                  <a:ext cx="20342" cy="1641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4" name="Rectangle 23">
                  <a:extLst>
                    <a:ext uri="{FF2B5EF4-FFF2-40B4-BE49-F238E27FC236}">
                      <a16:creationId xmlns:a16="http://schemas.microsoft.com/office/drawing/2014/main" id="{B59AA853-00BD-48A3-A135-A909F2A47726}"/>
                    </a:ext>
                  </a:extLst>
                </p:cNvPr>
                <p:cNvSpPr>
                  <a:spLocks noChangeArrowheads="1"/>
                </p:cNvSpPr>
                <p:nvPr/>
              </p:nvSpPr>
              <p:spPr bwMode="auto">
                <a:xfrm>
                  <a:off x="826217" y="1402568"/>
                  <a:ext cx="20342" cy="136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5" name="Rectangle 24">
                  <a:extLst>
                    <a:ext uri="{FF2B5EF4-FFF2-40B4-BE49-F238E27FC236}">
                      <a16:creationId xmlns:a16="http://schemas.microsoft.com/office/drawing/2014/main" id="{D556A2F7-23D5-4BA6-A0D7-C469B83E0B86}"/>
                    </a:ext>
                  </a:extLst>
                </p:cNvPr>
                <p:cNvSpPr>
                  <a:spLocks noChangeArrowheads="1"/>
                </p:cNvSpPr>
                <p:nvPr/>
              </p:nvSpPr>
              <p:spPr bwMode="auto">
                <a:xfrm>
                  <a:off x="795704" y="1414192"/>
                  <a:ext cx="21795" cy="1249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6" name="Rectangle 25">
                  <a:extLst>
                    <a:ext uri="{FF2B5EF4-FFF2-40B4-BE49-F238E27FC236}">
                      <a16:creationId xmlns:a16="http://schemas.microsoft.com/office/drawing/2014/main" id="{DD10E890-830B-4633-806C-F524B13801E3}"/>
                    </a:ext>
                  </a:extLst>
                </p:cNvPr>
                <p:cNvSpPr>
                  <a:spLocks noChangeArrowheads="1"/>
                </p:cNvSpPr>
                <p:nvPr/>
              </p:nvSpPr>
              <p:spPr bwMode="auto">
                <a:xfrm>
                  <a:off x="765191" y="1454876"/>
                  <a:ext cx="21795" cy="84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7" name="Rectangle 26">
                  <a:extLst>
                    <a:ext uri="{FF2B5EF4-FFF2-40B4-BE49-F238E27FC236}">
                      <a16:creationId xmlns:a16="http://schemas.microsoft.com/office/drawing/2014/main" id="{93BF6AEE-7EF4-4C4B-8BE2-3CE11100D8B6}"/>
                    </a:ext>
                  </a:extLst>
                </p:cNvPr>
                <p:cNvSpPr>
                  <a:spLocks noChangeArrowheads="1"/>
                </p:cNvSpPr>
                <p:nvPr/>
              </p:nvSpPr>
              <p:spPr bwMode="auto">
                <a:xfrm>
                  <a:off x="765191" y="1472312"/>
                  <a:ext cx="21795" cy="668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8" name="Rectangle 27">
                  <a:extLst>
                    <a:ext uri="{FF2B5EF4-FFF2-40B4-BE49-F238E27FC236}">
                      <a16:creationId xmlns:a16="http://schemas.microsoft.com/office/drawing/2014/main" id="{C95B43B0-0C19-4C75-910E-351BD9A66139}"/>
                    </a:ext>
                  </a:extLst>
                </p:cNvPr>
                <p:cNvSpPr>
                  <a:spLocks noChangeArrowheads="1"/>
                </p:cNvSpPr>
                <p:nvPr/>
              </p:nvSpPr>
              <p:spPr bwMode="auto">
                <a:xfrm>
                  <a:off x="795704" y="1428722"/>
                  <a:ext cx="21795" cy="1104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grpSp>
          <p:grpSp>
            <p:nvGrpSpPr>
              <p:cNvPr id="57" name="engineer" descr="engineer, assistance">
                <a:extLst>
                  <a:ext uri="{FF2B5EF4-FFF2-40B4-BE49-F238E27FC236}">
                    <a16:creationId xmlns:a16="http://schemas.microsoft.com/office/drawing/2014/main" id="{F0D70B3B-F1C7-459F-930D-711CFB04AB6A}"/>
                  </a:ext>
                </a:extLst>
              </p:cNvPr>
              <p:cNvGrpSpPr/>
              <p:nvPr/>
            </p:nvGrpSpPr>
            <p:grpSpPr>
              <a:xfrm>
                <a:off x="7521253" y="4424064"/>
                <a:ext cx="435026" cy="435024"/>
                <a:chOff x="6360363" y="5994664"/>
                <a:chExt cx="435026" cy="435024"/>
              </a:xfrm>
            </p:grpSpPr>
            <p:sp>
              <p:nvSpPr>
                <p:cNvPr id="58" name="Freeform: Shape 57">
                  <a:extLst>
                    <a:ext uri="{FF2B5EF4-FFF2-40B4-BE49-F238E27FC236}">
                      <a16:creationId xmlns:a16="http://schemas.microsoft.com/office/drawing/2014/main" id="{2D21BEF3-77CF-4DC2-AC8E-CDB0A36C9499}"/>
                    </a:ext>
                  </a:extLst>
                </p:cNvPr>
                <p:cNvSpPr/>
                <p:nvPr/>
              </p:nvSpPr>
              <p:spPr>
                <a:xfrm>
                  <a:off x="6360363" y="5994664"/>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defTabSz="914367">
                    <a:defRPr/>
                  </a:pPr>
                  <a:endParaRPr lang="en-US" sz="1568">
                    <a:solidFill>
                      <a:srgbClr val="000000"/>
                    </a:solidFill>
                    <a:latin typeface="Segoe UI"/>
                  </a:endParaRPr>
                </a:p>
              </p:txBody>
            </p:sp>
            <p:sp>
              <p:nvSpPr>
                <p:cNvPr id="59" name="Freeform: Shape 58">
                  <a:extLst>
                    <a:ext uri="{FF2B5EF4-FFF2-40B4-BE49-F238E27FC236}">
                      <a16:creationId xmlns:a16="http://schemas.microsoft.com/office/drawing/2014/main" id="{278E069D-6419-447A-9AC6-02D0DC0EA767}"/>
                    </a:ext>
                  </a:extLst>
                </p:cNvPr>
                <p:cNvSpPr/>
                <p:nvPr/>
              </p:nvSpPr>
              <p:spPr>
                <a:xfrm>
                  <a:off x="6373033" y="6112447"/>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defTabSz="914367">
                    <a:defRPr/>
                  </a:pPr>
                  <a:endParaRPr lang="en-US" sz="1568">
                    <a:solidFill>
                      <a:srgbClr val="000000"/>
                    </a:solidFill>
                    <a:latin typeface="Segoe UI"/>
                  </a:endParaRPr>
                </a:p>
              </p:txBody>
            </p:sp>
          </p:grpSp>
        </p:grpSp>
      </p:grpSp>
      <p:sp>
        <p:nvSpPr>
          <p:cNvPr id="79" name="Rectangle 78">
            <a:extLst>
              <a:ext uri="{FF2B5EF4-FFF2-40B4-BE49-F238E27FC236}">
                <a16:creationId xmlns:a16="http://schemas.microsoft.com/office/drawing/2014/main" id="{21757754-2A42-480D-9CAA-99969F170127}"/>
              </a:ext>
            </a:extLst>
          </p:cNvPr>
          <p:cNvSpPr/>
          <p:nvPr/>
        </p:nvSpPr>
        <p:spPr>
          <a:xfrm flipH="1">
            <a:off x="6806955" y="4312094"/>
            <a:ext cx="1993322" cy="1231106"/>
          </a:xfrm>
          <a:prstGeom prst="rect">
            <a:avLst/>
          </a:prstGeom>
          <a:noFill/>
        </p:spPr>
        <p:txBody>
          <a:bodyPr wrap="square" lIns="0" tIns="0" rIns="0" bIns="0" anchor="ctr">
            <a:spAutoFit/>
          </a:bodyPr>
          <a:lstStyle/>
          <a:p>
            <a:pPr algn="ctr" defTabSz="950878">
              <a:defRPr/>
            </a:pPr>
            <a:r>
              <a:rPr lang="en-US" sz="1600" u="sng" dirty="0">
                <a:latin typeface="Segoe UI Semibold" panose="020B0702040204020203" pitchFamily="34" charset="0"/>
                <a:cs typeface="Segoe UI Semibold" panose="020B0702040204020203" pitchFamily="34" charset="0"/>
              </a:rPr>
              <a:t>Insights</a:t>
            </a:r>
          </a:p>
          <a:p>
            <a:pPr algn="ctr" defTabSz="950878">
              <a:defRPr/>
            </a:pPr>
            <a:r>
              <a:rPr lang="en-US" sz="1600" i="1" dirty="0">
                <a:latin typeface="Segoe UI Semibold" panose="020B0702040204020203" pitchFamily="34" charset="0"/>
                <a:cs typeface="Segoe UI Semibold" panose="020B0702040204020203" pitchFamily="34" charset="0"/>
              </a:rPr>
              <a:t>Long term data collected shows device is no longer performing as desired</a:t>
            </a:r>
          </a:p>
        </p:txBody>
      </p:sp>
      <p:sp>
        <p:nvSpPr>
          <p:cNvPr id="80" name="Oval 79">
            <a:extLst>
              <a:ext uri="{FF2B5EF4-FFF2-40B4-BE49-F238E27FC236}">
                <a16:creationId xmlns:a16="http://schemas.microsoft.com/office/drawing/2014/main" id="{1D917BB1-8814-4E61-A973-7701E5AC2806}"/>
              </a:ext>
            </a:extLst>
          </p:cNvPr>
          <p:cNvSpPr/>
          <p:nvPr/>
        </p:nvSpPr>
        <p:spPr bwMode="auto">
          <a:xfrm>
            <a:off x="6942695" y="3780410"/>
            <a:ext cx="1589416" cy="33426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cs typeface="Segoe UI" pitchFamily="34" charset="0"/>
            </a:endParaRPr>
          </a:p>
        </p:txBody>
      </p:sp>
      <p:sp>
        <p:nvSpPr>
          <p:cNvPr id="81" name="Freeform 7">
            <a:extLst>
              <a:ext uri="{FF2B5EF4-FFF2-40B4-BE49-F238E27FC236}">
                <a16:creationId xmlns:a16="http://schemas.microsoft.com/office/drawing/2014/main" id="{44A6494D-008C-4F24-8010-822B4263B6CD}"/>
              </a:ext>
            </a:extLst>
          </p:cNvPr>
          <p:cNvSpPr>
            <a:spLocks/>
          </p:cNvSpPr>
          <p:nvPr/>
        </p:nvSpPr>
        <p:spPr bwMode="auto">
          <a:xfrm>
            <a:off x="7398231" y="3253355"/>
            <a:ext cx="678344" cy="417270"/>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chemeClr val="bg2"/>
          </a:solidFill>
          <a:ln w="19050" cap="flat">
            <a:solidFill>
              <a:schemeClr val="tx2"/>
            </a:solidFill>
            <a:prstDash val="solid"/>
            <a:miter lim="800000"/>
            <a:headEnd/>
            <a:tailEnd/>
          </a:ln>
        </p:spPr>
        <p:txBody>
          <a:bodyPr vert="horz" wrap="square" lIns="61104" tIns="30551" rIns="61104" bIns="30551" numCol="1" anchor="t" anchorCtr="0" compatLnSpc="1">
            <a:prstTxWarp prst="textNoShape">
              <a:avLst/>
            </a:prstTxWarp>
          </a:bodyPr>
          <a:lstStyle/>
          <a:p>
            <a:pPr algn="ctr" defTabSz="610979">
              <a:defRPr/>
            </a:pPr>
            <a:endParaRPr lang="en-US" sz="1203" kern="0">
              <a:solidFill>
                <a:srgbClr val="353535"/>
              </a:solidFill>
              <a:latin typeface="Segoe UI Semilight"/>
            </a:endParaRPr>
          </a:p>
        </p:txBody>
      </p:sp>
      <p:sp>
        <p:nvSpPr>
          <p:cNvPr id="82" name="Freeform: Shape 81">
            <a:extLst>
              <a:ext uri="{FF2B5EF4-FFF2-40B4-BE49-F238E27FC236}">
                <a16:creationId xmlns:a16="http://schemas.microsoft.com/office/drawing/2014/main" id="{AFD43F94-FB8C-4A88-94EB-7BCB4EE33950}"/>
              </a:ext>
            </a:extLst>
          </p:cNvPr>
          <p:cNvSpPr/>
          <p:nvPr/>
        </p:nvSpPr>
        <p:spPr>
          <a:xfrm>
            <a:off x="7398232" y="3253355"/>
            <a:ext cx="675741" cy="417270"/>
          </a:xfrm>
          <a:custGeom>
            <a:avLst/>
            <a:gdLst>
              <a:gd name="connsiteX0" fmla="*/ 301556 w 689291"/>
              <a:gd name="connsiteY0" fmla="*/ 409819 h 425637"/>
              <a:gd name="connsiteX1" fmla="*/ 307956 w 689291"/>
              <a:gd name="connsiteY1" fmla="*/ 416220 h 425637"/>
              <a:gd name="connsiteX2" fmla="*/ 307956 w 689291"/>
              <a:gd name="connsiteY2" fmla="*/ 425637 h 425637"/>
              <a:gd name="connsiteX3" fmla="*/ 295156 w 689291"/>
              <a:gd name="connsiteY3" fmla="*/ 425637 h 425637"/>
              <a:gd name="connsiteX4" fmla="*/ 295156 w 689291"/>
              <a:gd name="connsiteY4" fmla="*/ 416220 h 425637"/>
              <a:gd name="connsiteX5" fmla="*/ 301556 w 689291"/>
              <a:gd name="connsiteY5" fmla="*/ 409819 h 425637"/>
              <a:gd name="connsiteX6" fmla="*/ 213927 w 689291"/>
              <a:gd name="connsiteY6" fmla="*/ 409819 h 425637"/>
              <a:gd name="connsiteX7" fmla="*/ 220327 w 689291"/>
              <a:gd name="connsiteY7" fmla="*/ 416220 h 425637"/>
              <a:gd name="connsiteX8" fmla="*/ 220327 w 689291"/>
              <a:gd name="connsiteY8" fmla="*/ 425637 h 425637"/>
              <a:gd name="connsiteX9" fmla="*/ 207527 w 689291"/>
              <a:gd name="connsiteY9" fmla="*/ 425637 h 425637"/>
              <a:gd name="connsiteX10" fmla="*/ 207527 w 689291"/>
              <a:gd name="connsiteY10" fmla="*/ 416220 h 425637"/>
              <a:gd name="connsiteX11" fmla="*/ 213927 w 689291"/>
              <a:gd name="connsiteY11" fmla="*/ 409819 h 425637"/>
              <a:gd name="connsiteX12" fmla="*/ 126259 w 689291"/>
              <a:gd name="connsiteY12" fmla="*/ 409819 h 425637"/>
              <a:gd name="connsiteX13" fmla="*/ 132659 w 689291"/>
              <a:gd name="connsiteY13" fmla="*/ 416220 h 425637"/>
              <a:gd name="connsiteX14" fmla="*/ 132659 w 689291"/>
              <a:gd name="connsiteY14" fmla="*/ 425637 h 425637"/>
              <a:gd name="connsiteX15" fmla="*/ 119859 w 689291"/>
              <a:gd name="connsiteY15" fmla="*/ 425637 h 425637"/>
              <a:gd name="connsiteX16" fmla="*/ 119859 w 689291"/>
              <a:gd name="connsiteY16" fmla="*/ 416220 h 425637"/>
              <a:gd name="connsiteX17" fmla="*/ 126259 w 689291"/>
              <a:gd name="connsiteY17" fmla="*/ 409819 h 425637"/>
              <a:gd name="connsiteX18" fmla="*/ 345157 w 689291"/>
              <a:gd name="connsiteY18" fmla="*/ 409440 h 425637"/>
              <a:gd name="connsiteX19" fmla="*/ 357838 w 689291"/>
              <a:gd name="connsiteY19" fmla="*/ 414589 h 425637"/>
              <a:gd name="connsiteX20" fmla="*/ 363144 w 689291"/>
              <a:gd name="connsiteY20" fmla="*/ 425637 h 425637"/>
              <a:gd name="connsiteX21" fmla="*/ 350320 w 689291"/>
              <a:gd name="connsiteY21" fmla="*/ 425637 h 425637"/>
              <a:gd name="connsiteX22" fmla="*/ 345113 w 689291"/>
              <a:gd name="connsiteY22" fmla="*/ 420823 h 425637"/>
              <a:gd name="connsiteX23" fmla="*/ 340299 w 689291"/>
              <a:gd name="connsiteY23" fmla="*/ 425637 h 425637"/>
              <a:gd name="connsiteX24" fmla="*/ 327779 w 689291"/>
              <a:gd name="connsiteY24" fmla="*/ 425637 h 425637"/>
              <a:gd name="connsiteX25" fmla="*/ 332281 w 689291"/>
              <a:gd name="connsiteY25" fmla="*/ 414777 h 425637"/>
              <a:gd name="connsiteX26" fmla="*/ 345157 w 689291"/>
              <a:gd name="connsiteY26" fmla="*/ 409440 h 425637"/>
              <a:gd name="connsiteX27" fmla="*/ 257485 w 689291"/>
              <a:gd name="connsiteY27" fmla="*/ 409440 h 425637"/>
              <a:gd name="connsiteX28" fmla="*/ 270168 w 689291"/>
              <a:gd name="connsiteY28" fmla="*/ 414589 h 425637"/>
              <a:gd name="connsiteX29" fmla="*/ 275472 w 689291"/>
              <a:gd name="connsiteY29" fmla="*/ 425637 h 425637"/>
              <a:gd name="connsiteX30" fmla="*/ 262650 w 689291"/>
              <a:gd name="connsiteY30" fmla="*/ 425637 h 425637"/>
              <a:gd name="connsiteX31" fmla="*/ 257442 w 689291"/>
              <a:gd name="connsiteY31" fmla="*/ 420823 h 425637"/>
              <a:gd name="connsiteX32" fmla="*/ 252628 w 689291"/>
              <a:gd name="connsiteY32" fmla="*/ 425637 h 425637"/>
              <a:gd name="connsiteX33" fmla="*/ 240109 w 689291"/>
              <a:gd name="connsiteY33" fmla="*/ 425637 h 425637"/>
              <a:gd name="connsiteX34" fmla="*/ 244610 w 689291"/>
              <a:gd name="connsiteY34" fmla="*/ 414777 h 425637"/>
              <a:gd name="connsiteX35" fmla="*/ 257485 w 689291"/>
              <a:gd name="connsiteY35" fmla="*/ 409440 h 425637"/>
              <a:gd name="connsiteX36" fmla="*/ 169815 w 689291"/>
              <a:gd name="connsiteY36" fmla="*/ 409440 h 425637"/>
              <a:gd name="connsiteX37" fmla="*/ 182498 w 689291"/>
              <a:gd name="connsiteY37" fmla="*/ 414589 h 425637"/>
              <a:gd name="connsiteX38" fmla="*/ 187803 w 689291"/>
              <a:gd name="connsiteY38" fmla="*/ 425637 h 425637"/>
              <a:gd name="connsiteX39" fmla="*/ 175022 w 689291"/>
              <a:gd name="connsiteY39" fmla="*/ 425637 h 425637"/>
              <a:gd name="connsiteX40" fmla="*/ 169815 w 689291"/>
              <a:gd name="connsiteY40" fmla="*/ 420823 h 425637"/>
              <a:gd name="connsiteX41" fmla="*/ 165001 w 689291"/>
              <a:gd name="connsiteY41" fmla="*/ 425637 h 425637"/>
              <a:gd name="connsiteX42" fmla="*/ 152438 w 689291"/>
              <a:gd name="connsiteY42" fmla="*/ 425637 h 425637"/>
              <a:gd name="connsiteX43" fmla="*/ 156940 w 689291"/>
              <a:gd name="connsiteY43" fmla="*/ 414777 h 425637"/>
              <a:gd name="connsiteX44" fmla="*/ 169815 w 689291"/>
              <a:gd name="connsiteY44" fmla="*/ 409440 h 425637"/>
              <a:gd name="connsiteX45" fmla="*/ 75588 w 689291"/>
              <a:gd name="connsiteY45" fmla="*/ 409440 h 425637"/>
              <a:gd name="connsiteX46" fmla="*/ 88269 w 689291"/>
              <a:gd name="connsiteY46" fmla="*/ 414589 h 425637"/>
              <a:gd name="connsiteX47" fmla="*/ 93575 w 689291"/>
              <a:gd name="connsiteY47" fmla="*/ 425637 h 425637"/>
              <a:gd name="connsiteX48" fmla="*/ 80751 w 689291"/>
              <a:gd name="connsiteY48" fmla="*/ 425637 h 425637"/>
              <a:gd name="connsiteX49" fmla="*/ 75544 w 689291"/>
              <a:gd name="connsiteY49" fmla="*/ 420823 h 425637"/>
              <a:gd name="connsiteX50" fmla="*/ 71867 w 689291"/>
              <a:gd name="connsiteY50" fmla="*/ 424500 h 425637"/>
              <a:gd name="connsiteX51" fmla="*/ 59722 w 689291"/>
              <a:gd name="connsiteY51" fmla="*/ 421991 h 425637"/>
              <a:gd name="connsiteX52" fmla="*/ 62712 w 689291"/>
              <a:gd name="connsiteY52" fmla="*/ 414777 h 425637"/>
              <a:gd name="connsiteX53" fmla="*/ 75588 w 689291"/>
              <a:gd name="connsiteY53" fmla="*/ 409440 h 425637"/>
              <a:gd name="connsiteX54" fmla="*/ 566331 w 689291"/>
              <a:gd name="connsiteY54" fmla="*/ 409186 h 425637"/>
              <a:gd name="connsiteX55" fmla="*/ 572730 w 689291"/>
              <a:gd name="connsiteY55" fmla="*/ 415587 h 425637"/>
              <a:gd name="connsiteX56" fmla="*/ 572730 w 689291"/>
              <a:gd name="connsiteY56" fmla="*/ 425637 h 425637"/>
              <a:gd name="connsiteX57" fmla="*/ 559931 w 689291"/>
              <a:gd name="connsiteY57" fmla="*/ 425637 h 425637"/>
              <a:gd name="connsiteX58" fmla="*/ 559931 w 689291"/>
              <a:gd name="connsiteY58" fmla="*/ 415587 h 425637"/>
              <a:gd name="connsiteX59" fmla="*/ 566331 w 689291"/>
              <a:gd name="connsiteY59" fmla="*/ 409186 h 425637"/>
              <a:gd name="connsiteX60" fmla="*/ 478702 w 689291"/>
              <a:gd name="connsiteY60" fmla="*/ 409186 h 425637"/>
              <a:gd name="connsiteX61" fmla="*/ 485103 w 689291"/>
              <a:gd name="connsiteY61" fmla="*/ 415587 h 425637"/>
              <a:gd name="connsiteX62" fmla="*/ 485103 w 689291"/>
              <a:gd name="connsiteY62" fmla="*/ 425637 h 425637"/>
              <a:gd name="connsiteX63" fmla="*/ 482952 w 689291"/>
              <a:gd name="connsiteY63" fmla="*/ 425637 h 425637"/>
              <a:gd name="connsiteX64" fmla="*/ 472302 w 689291"/>
              <a:gd name="connsiteY64" fmla="*/ 425637 h 425637"/>
              <a:gd name="connsiteX65" fmla="*/ 472302 w 689291"/>
              <a:gd name="connsiteY65" fmla="*/ 415587 h 425637"/>
              <a:gd name="connsiteX66" fmla="*/ 478702 w 689291"/>
              <a:gd name="connsiteY66" fmla="*/ 409186 h 425637"/>
              <a:gd name="connsiteX67" fmla="*/ 391035 w 689291"/>
              <a:gd name="connsiteY67" fmla="*/ 409186 h 425637"/>
              <a:gd name="connsiteX68" fmla="*/ 397435 w 689291"/>
              <a:gd name="connsiteY68" fmla="*/ 415587 h 425637"/>
              <a:gd name="connsiteX69" fmla="*/ 397435 w 689291"/>
              <a:gd name="connsiteY69" fmla="*/ 425637 h 425637"/>
              <a:gd name="connsiteX70" fmla="*/ 387582 w 689291"/>
              <a:gd name="connsiteY70" fmla="*/ 425637 h 425637"/>
              <a:gd name="connsiteX71" fmla="*/ 384634 w 689291"/>
              <a:gd name="connsiteY71" fmla="*/ 425637 h 425637"/>
              <a:gd name="connsiteX72" fmla="*/ 384634 w 689291"/>
              <a:gd name="connsiteY72" fmla="*/ 415587 h 425637"/>
              <a:gd name="connsiteX73" fmla="*/ 391035 w 689291"/>
              <a:gd name="connsiteY73" fmla="*/ 409186 h 425637"/>
              <a:gd name="connsiteX74" fmla="*/ 609931 w 689291"/>
              <a:gd name="connsiteY74" fmla="*/ 408808 h 425637"/>
              <a:gd name="connsiteX75" fmla="*/ 622614 w 689291"/>
              <a:gd name="connsiteY75" fmla="*/ 413957 h 425637"/>
              <a:gd name="connsiteX76" fmla="*/ 626938 w 689291"/>
              <a:gd name="connsiteY76" fmla="*/ 422963 h 425637"/>
              <a:gd name="connsiteX77" fmla="*/ 615448 w 689291"/>
              <a:gd name="connsiteY77" fmla="*/ 425329 h 425637"/>
              <a:gd name="connsiteX78" fmla="*/ 609888 w 689291"/>
              <a:gd name="connsiteY78" fmla="*/ 420191 h 425637"/>
              <a:gd name="connsiteX79" fmla="*/ 604442 w 689291"/>
              <a:gd name="connsiteY79" fmla="*/ 425637 h 425637"/>
              <a:gd name="connsiteX80" fmla="*/ 592293 w 689291"/>
              <a:gd name="connsiteY80" fmla="*/ 425637 h 425637"/>
              <a:gd name="connsiteX81" fmla="*/ 597056 w 689291"/>
              <a:gd name="connsiteY81" fmla="*/ 414145 h 425637"/>
              <a:gd name="connsiteX82" fmla="*/ 609931 w 689291"/>
              <a:gd name="connsiteY82" fmla="*/ 408808 h 425637"/>
              <a:gd name="connsiteX83" fmla="*/ 522261 w 689291"/>
              <a:gd name="connsiteY83" fmla="*/ 408808 h 425637"/>
              <a:gd name="connsiteX84" fmla="*/ 534943 w 689291"/>
              <a:gd name="connsiteY84" fmla="*/ 413957 h 425637"/>
              <a:gd name="connsiteX85" fmla="*/ 540551 w 689291"/>
              <a:gd name="connsiteY85" fmla="*/ 425637 h 425637"/>
              <a:gd name="connsiteX86" fmla="*/ 528109 w 689291"/>
              <a:gd name="connsiteY86" fmla="*/ 425637 h 425637"/>
              <a:gd name="connsiteX87" fmla="*/ 522218 w 689291"/>
              <a:gd name="connsiteY87" fmla="*/ 420191 h 425637"/>
              <a:gd name="connsiteX88" fmla="*/ 516771 w 689291"/>
              <a:gd name="connsiteY88" fmla="*/ 425637 h 425637"/>
              <a:gd name="connsiteX89" fmla="*/ 504621 w 689291"/>
              <a:gd name="connsiteY89" fmla="*/ 425637 h 425637"/>
              <a:gd name="connsiteX90" fmla="*/ 509385 w 689291"/>
              <a:gd name="connsiteY90" fmla="*/ 414145 h 425637"/>
              <a:gd name="connsiteX91" fmla="*/ 522261 w 689291"/>
              <a:gd name="connsiteY91" fmla="*/ 408808 h 425637"/>
              <a:gd name="connsiteX92" fmla="*/ 434591 w 689291"/>
              <a:gd name="connsiteY92" fmla="*/ 408808 h 425637"/>
              <a:gd name="connsiteX93" fmla="*/ 447273 w 689291"/>
              <a:gd name="connsiteY93" fmla="*/ 413957 h 425637"/>
              <a:gd name="connsiteX94" fmla="*/ 452881 w 689291"/>
              <a:gd name="connsiteY94" fmla="*/ 425637 h 425637"/>
              <a:gd name="connsiteX95" fmla="*/ 440482 w 689291"/>
              <a:gd name="connsiteY95" fmla="*/ 425637 h 425637"/>
              <a:gd name="connsiteX96" fmla="*/ 434591 w 689291"/>
              <a:gd name="connsiteY96" fmla="*/ 420191 h 425637"/>
              <a:gd name="connsiteX97" fmla="*/ 429144 w 689291"/>
              <a:gd name="connsiteY97" fmla="*/ 425637 h 425637"/>
              <a:gd name="connsiteX98" fmla="*/ 416951 w 689291"/>
              <a:gd name="connsiteY98" fmla="*/ 425637 h 425637"/>
              <a:gd name="connsiteX99" fmla="*/ 421715 w 689291"/>
              <a:gd name="connsiteY99" fmla="*/ 414145 h 425637"/>
              <a:gd name="connsiteX100" fmla="*/ 434591 w 689291"/>
              <a:gd name="connsiteY100" fmla="*/ 408808 h 425637"/>
              <a:gd name="connsiteX101" fmla="*/ 313454 w 689291"/>
              <a:gd name="connsiteY101" fmla="*/ 357023 h 425637"/>
              <a:gd name="connsiteX102" fmla="*/ 306538 w 689291"/>
              <a:gd name="connsiteY102" fmla="*/ 364410 h 425637"/>
              <a:gd name="connsiteX103" fmla="*/ 306538 w 689291"/>
              <a:gd name="connsiteY103" fmla="*/ 379188 h 425637"/>
              <a:gd name="connsiteX104" fmla="*/ 313927 w 689291"/>
              <a:gd name="connsiteY104" fmla="*/ 386017 h 425637"/>
              <a:gd name="connsiteX105" fmla="*/ 320756 w 689291"/>
              <a:gd name="connsiteY105" fmla="*/ 379188 h 425637"/>
              <a:gd name="connsiteX106" fmla="*/ 320756 w 689291"/>
              <a:gd name="connsiteY106" fmla="*/ 364410 h 425637"/>
              <a:gd name="connsiteX107" fmla="*/ 313454 w 689291"/>
              <a:gd name="connsiteY107" fmla="*/ 357023 h 425637"/>
              <a:gd name="connsiteX108" fmla="*/ 225786 w 689291"/>
              <a:gd name="connsiteY108" fmla="*/ 357023 h 425637"/>
              <a:gd name="connsiteX109" fmla="*/ 218870 w 689291"/>
              <a:gd name="connsiteY109" fmla="*/ 364410 h 425637"/>
              <a:gd name="connsiteX110" fmla="*/ 218870 w 689291"/>
              <a:gd name="connsiteY110" fmla="*/ 379188 h 425637"/>
              <a:gd name="connsiteX111" fmla="*/ 226258 w 689291"/>
              <a:gd name="connsiteY111" fmla="*/ 386017 h 425637"/>
              <a:gd name="connsiteX112" fmla="*/ 233088 w 689291"/>
              <a:gd name="connsiteY112" fmla="*/ 379188 h 425637"/>
              <a:gd name="connsiteX113" fmla="*/ 233088 w 689291"/>
              <a:gd name="connsiteY113" fmla="*/ 364410 h 425637"/>
              <a:gd name="connsiteX114" fmla="*/ 225786 w 689291"/>
              <a:gd name="connsiteY114" fmla="*/ 357023 h 425637"/>
              <a:gd name="connsiteX115" fmla="*/ 138115 w 689291"/>
              <a:gd name="connsiteY115" fmla="*/ 357023 h 425637"/>
              <a:gd name="connsiteX116" fmla="*/ 131199 w 689291"/>
              <a:gd name="connsiteY116" fmla="*/ 364410 h 425637"/>
              <a:gd name="connsiteX117" fmla="*/ 131199 w 689291"/>
              <a:gd name="connsiteY117" fmla="*/ 379188 h 425637"/>
              <a:gd name="connsiteX118" fmla="*/ 138588 w 689291"/>
              <a:gd name="connsiteY118" fmla="*/ 386017 h 425637"/>
              <a:gd name="connsiteX119" fmla="*/ 145418 w 689291"/>
              <a:gd name="connsiteY119" fmla="*/ 379188 h 425637"/>
              <a:gd name="connsiteX120" fmla="*/ 145418 w 689291"/>
              <a:gd name="connsiteY120" fmla="*/ 364410 h 425637"/>
              <a:gd name="connsiteX121" fmla="*/ 138115 w 689291"/>
              <a:gd name="connsiteY121" fmla="*/ 357023 h 425637"/>
              <a:gd name="connsiteX122" fmla="*/ 43885 w 689291"/>
              <a:gd name="connsiteY122" fmla="*/ 357023 h 425637"/>
              <a:gd name="connsiteX123" fmla="*/ 36969 w 689291"/>
              <a:gd name="connsiteY123" fmla="*/ 364410 h 425637"/>
              <a:gd name="connsiteX124" fmla="*/ 36969 w 689291"/>
              <a:gd name="connsiteY124" fmla="*/ 379188 h 425637"/>
              <a:gd name="connsiteX125" fmla="*/ 44358 w 689291"/>
              <a:gd name="connsiteY125" fmla="*/ 386017 h 425637"/>
              <a:gd name="connsiteX126" fmla="*/ 51187 w 689291"/>
              <a:gd name="connsiteY126" fmla="*/ 379188 h 425637"/>
              <a:gd name="connsiteX127" fmla="*/ 51187 w 689291"/>
              <a:gd name="connsiteY127" fmla="*/ 364410 h 425637"/>
              <a:gd name="connsiteX128" fmla="*/ 43885 w 689291"/>
              <a:gd name="connsiteY128" fmla="*/ 357023 h 425637"/>
              <a:gd name="connsiteX129" fmla="*/ 672460 w 689291"/>
              <a:gd name="connsiteY129" fmla="*/ 356390 h 425637"/>
              <a:gd name="connsiteX130" fmla="*/ 665544 w 689291"/>
              <a:gd name="connsiteY130" fmla="*/ 363778 h 425637"/>
              <a:gd name="connsiteX131" fmla="*/ 665544 w 689291"/>
              <a:gd name="connsiteY131" fmla="*/ 378555 h 425637"/>
              <a:gd name="connsiteX132" fmla="*/ 672932 w 689291"/>
              <a:gd name="connsiteY132" fmla="*/ 385385 h 425637"/>
              <a:gd name="connsiteX133" fmla="*/ 679761 w 689291"/>
              <a:gd name="connsiteY133" fmla="*/ 378555 h 425637"/>
              <a:gd name="connsiteX134" fmla="*/ 679761 w 689291"/>
              <a:gd name="connsiteY134" fmla="*/ 363778 h 425637"/>
              <a:gd name="connsiteX135" fmla="*/ 672460 w 689291"/>
              <a:gd name="connsiteY135" fmla="*/ 356390 h 425637"/>
              <a:gd name="connsiteX136" fmla="*/ 578229 w 689291"/>
              <a:gd name="connsiteY136" fmla="*/ 356390 h 425637"/>
              <a:gd name="connsiteX137" fmla="*/ 571313 w 689291"/>
              <a:gd name="connsiteY137" fmla="*/ 363778 h 425637"/>
              <a:gd name="connsiteX138" fmla="*/ 571313 w 689291"/>
              <a:gd name="connsiteY138" fmla="*/ 378555 h 425637"/>
              <a:gd name="connsiteX139" fmla="*/ 578702 w 689291"/>
              <a:gd name="connsiteY139" fmla="*/ 385385 h 425637"/>
              <a:gd name="connsiteX140" fmla="*/ 585531 w 689291"/>
              <a:gd name="connsiteY140" fmla="*/ 378555 h 425637"/>
              <a:gd name="connsiteX141" fmla="*/ 585531 w 689291"/>
              <a:gd name="connsiteY141" fmla="*/ 363778 h 425637"/>
              <a:gd name="connsiteX142" fmla="*/ 578229 w 689291"/>
              <a:gd name="connsiteY142" fmla="*/ 356390 h 425637"/>
              <a:gd name="connsiteX143" fmla="*/ 490561 w 689291"/>
              <a:gd name="connsiteY143" fmla="*/ 356390 h 425637"/>
              <a:gd name="connsiteX144" fmla="*/ 483646 w 689291"/>
              <a:gd name="connsiteY144" fmla="*/ 363778 h 425637"/>
              <a:gd name="connsiteX145" fmla="*/ 483646 w 689291"/>
              <a:gd name="connsiteY145" fmla="*/ 378555 h 425637"/>
              <a:gd name="connsiteX146" fmla="*/ 491033 w 689291"/>
              <a:gd name="connsiteY146" fmla="*/ 385385 h 425637"/>
              <a:gd name="connsiteX147" fmla="*/ 497863 w 689291"/>
              <a:gd name="connsiteY147" fmla="*/ 378555 h 425637"/>
              <a:gd name="connsiteX148" fmla="*/ 497863 w 689291"/>
              <a:gd name="connsiteY148" fmla="*/ 363778 h 425637"/>
              <a:gd name="connsiteX149" fmla="*/ 490561 w 689291"/>
              <a:gd name="connsiteY149" fmla="*/ 356390 h 425637"/>
              <a:gd name="connsiteX150" fmla="*/ 402891 w 689291"/>
              <a:gd name="connsiteY150" fmla="*/ 356390 h 425637"/>
              <a:gd name="connsiteX151" fmla="*/ 395975 w 689291"/>
              <a:gd name="connsiteY151" fmla="*/ 363778 h 425637"/>
              <a:gd name="connsiteX152" fmla="*/ 395975 w 689291"/>
              <a:gd name="connsiteY152" fmla="*/ 378555 h 425637"/>
              <a:gd name="connsiteX153" fmla="*/ 403363 w 689291"/>
              <a:gd name="connsiteY153" fmla="*/ 385385 h 425637"/>
              <a:gd name="connsiteX154" fmla="*/ 410192 w 689291"/>
              <a:gd name="connsiteY154" fmla="*/ 378555 h 425637"/>
              <a:gd name="connsiteX155" fmla="*/ 410192 w 689291"/>
              <a:gd name="connsiteY155" fmla="*/ 363778 h 425637"/>
              <a:gd name="connsiteX156" fmla="*/ 402891 w 689291"/>
              <a:gd name="connsiteY156" fmla="*/ 356390 h 425637"/>
              <a:gd name="connsiteX157" fmla="*/ 313927 w 689291"/>
              <a:gd name="connsiteY157" fmla="*/ 345640 h 425637"/>
              <a:gd name="connsiteX158" fmla="*/ 332139 w 689291"/>
              <a:gd name="connsiteY158" fmla="*/ 364410 h 425637"/>
              <a:gd name="connsiteX159" fmla="*/ 332139 w 689291"/>
              <a:gd name="connsiteY159" fmla="*/ 379188 h 425637"/>
              <a:gd name="connsiteX160" fmla="*/ 313927 w 689291"/>
              <a:gd name="connsiteY160" fmla="*/ 397400 h 425637"/>
              <a:gd name="connsiteX161" fmla="*/ 295198 w 689291"/>
              <a:gd name="connsiteY161" fmla="*/ 379660 h 425637"/>
              <a:gd name="connsiteX162" fmla="*/ 295156 w 689291"/>
              <a:gd name="connsiteY162" fmla="*/ 364410 h 425637"/>
              <a:gd name="connsiteX163" fmla="*/ 313927 w 689291"/>
              <a:gd name="connsiteY163" fmla="*/ 345640 h 425637"/>
              <a:gd name="connsiteX164" fmla="*/ 226258 w 689291"/>
              <a:gd name="connsiteY164" fmla="*/ 345640 h 425637"/>
              <a:gd name="connsiteX165" fmla="*/ 244471 w 689291"/>
              <a:gd name="connsiteY165" fmla="*/ 364410 h 425637"/>
              <a:gd name="connsiteX166" fmla="*/ 244471 w 689291"/>
              <a:gd name="connsiteY166" fmla="*/ 379188 h 425637"/>
              <a:gd name="connsiteX167" fmla="*/ 226258 w 689291"/>
              <a:gd name="connsiteY167" fmla="*/ 397400 h 425637"/>
              <a:gd name="connsiteX168" fmla="*/ 207530 w 689291"/>
              <a:gd name="connsiteY168" fmla="*/ 379660 h 425637"/>
              <a:gd name="connsiteX169" fmla="*/ 207488 w 689291"/>
              <a:gd name="connsiteY169" fmla="*/ 364410 h 425637"/>
              <a:gd name="connsiteX170" fmla="*/ 226258 w 689291"/>
              <a:gd name="connsiteY170" fmla="*/ 345640 h 425637"/>
              <a:gd name="connsiteX171" fmla="*/ 138588 w 689291"/>
              <a:gd name="connsiteY171" fmla="*/ 345640 h 425637"/>
              <a:gd name="connsiteX172" fmla="*/ 156800 w 689291"/>
              <a:gd name="connsiteY172" fmla="*/ 364410 h 425637"/>
              <a:gd name="connsiteX173" fmla="*/ 156800 w 689291"/>
              <a:gd name="connsiteY173" fmla="*/ 379188 h 425637"/>
              <a:gd name="connsiteX174" fmla="*/ 138588 w 689291"/>
              <a:gd name="connsiteY174" fmla="*/ 397400 h 425637"/>
              <a:gd name="connsiteX175" fmla="*/ 119860 w 689291"/>
              <a:gd name="connsiteY175" fmla="*/ 379660 h 425637"/>
              <a:gd name="connsiteX176" fmla="*/ 119817 w 689291"/>
              <a:gd name="connsiteY176" fmla="*/ 364410 h 425637"/>
              <a:gd name="connsiteX177" fmla="*/ 138588 w 689291"/>
              <a:gd name="connsiteY177" fmla="*/ 345640 h 425637"/>
              <a:gd name="connsiteX178" fmla="*/ 44358 w 689291"/>
              <a:gd name="connsiteY178" fmla="*/ 345640 h 425637"/>
              <a:gd name="connsiteX179" fmla="*/ 62570 w 689291"/>
              <a:gd name="connsiteY179" fmla="*/ 364410 h 425637"/>
              <a:gd name="connsiteX180" fmla="*/ 62570 w 689291"/>
              <a:gd name="connsiteY180" fmla="*/ 379188 h 425637"/>
              <a:gd name="connsiteX181" fmla="*/ 44358 w 689291"/>
              <a:gd name="connsiteY181" fmla="*/ 397400 h 425637"/>
              <a:gd name="connsiteX182" fmla="*/ 25629 w 689291"/>
              <a:gd name="connsiteY182" fmla="*/ 379660 h 425637"/>
              <a:gd name="connsiteX183" fmla="*/ 25587 w 689291"/>
              <a:gd name="connsiteY183" fmla="*/ 364410 h 425637"/>
              <a:gd name="connsiteX184" fmla="*/ 44358 w 689291"/>
              <a:gd name="connsiteY184" fmla="*/ 345640 h 425637"/>
              <a:gd name="connsiteX185" fmla="*/ 357483 w 689291"/>
              <a:gd name="connsiteY185" fmla="*/ 345421 h 425637"/>
              <a:gd name="connsiteX186" fmla="*/ 363884 w 689291"/>
              <a:gd name="connsiteY186" fmla="*/ 351822 h 425637"/>
              <a:gd name="connsiteX187" fmla="*/ 363884 w 689291"/>
              <a:gd name="connsiteY187" fmla="*/ 390609 h 425637"/>
              <a:gd name="connsiteX188" fmla="*/ 357483 w 689291"/>
              <a:gd name="connsiteY188" fmla="*/ 397009 h 425637"/>
              <a:gd name="connsiteX189" fmla="*/ 351083 w 689291"/>
              <a:gd name="connsiteY189" fmla="*/ 390609 h 425637"/>
              <a:gd name="connsiteX190" fmla="*/ 351083 w 689291"/>
              <a:gd name="connsiteY190" fmla="*/ 351822 h 425637"/>
              <a:gd name="connsiteX191" fmla="*/ 357483 w 689291"/>
              <a:gd name="connsiteY191" fmla="*/ 345421 h 425637"/>
              <a:gd name="connsiteX192" fmla="*/ 269812 w 689291"/>
              <a:gd name="connsiteY192" fmla="*/ 345421 h 425637"/>
              <a:gd name="connsiteX193" fmla="*/ 276213 w 689291"/>
              <a:gd name="connsiteY193" fmla="*/ 351822 h 425637"/>
              <a:gd name="connsiteX194" fmla="*/ 276213 w 689291"/>
              <a:gd name="connsiteY194" fmla="*/ 390609 h 425637"/>
              <a:gd name="connsiteX195" fmla="*/ 269812 w 689291"/>
              <a:gd name="connsiteY195" fmla="*/ 397009 h 425637"/>
              <a:gd name="connsiteX196" fmla="*/ 263412 w 689291"/>
              <a:gd name="connsiteY196" fmla="*/ 390609 h 425637"/>
              <a:gd name="connsiteX197" fmla="*/ 263412 w 689291"/>
              <a:gd name="connsiteY197" fmla="*/ 351822 h 425637"/>
              <a:gd name="connsiteX198" fmla="*/ 269812 w 689291"/>
              <a:gd name="connsiteY198" fmla="*/ 345421 h 425637"/>
              <a:gd name="connsiteX199" fmla="*/ 182142 w 689291"/>
              <a:gd name="connsiteY199" fmla="*/ 345421 h 425637"/>
              <a:gd name="connsiteX200" fmla="*/ 188543 w 689291"/>
              <a:gd name="connsiteY200" fmla="*/ 351822 h 425637"/>
              <a:gd name="connsiteX201" fmla="*/ 188543 w 689291"/>
              <a:gd name="connsiteY201" fmla="*/ 390609 h 425637"/>
              <a:gd name="connsiteX202" fmla="*/ 182142 w 689291"/>
              <a:gd name="connsiteY202" fmla="*/ 397009 h 425637"/>
              <a:gd name="connsiteX203" fmla="*/ 175742 w 689291"/>
              <a:gd name="connsiteY203" fmla="*/ 390609 h 425637"/>
              <a:gd name="connsiteX204" fmla="*/ 175742 w 689291"/>
              <a:gd name="connsiteY204" fmla="*/ 351822 h 425637"/>
              <a:gd name="connsiteX205" fmla="*/ 182142 w 689291"/>
              <a:gd name="connsiteY205" fmla="*/ 345421 h 425637"/>
              <a:gd name="connsiteX206" fmla="*/ 87914 w 689291"/>
              <a:gd name="connsiteY206" fmla="*/ 345421 h 425637"/>
              <a:gd name="connsiteX207" fmla="*/ 94315 w 689291"/>
              <a:gd name="connsiteY207" fmla="*/ 351822 h 425637"/>
              <a:gd name="connsiteX208" fmla="*/ 94315 w 689291"/>
              <a:gd name="connsiteY208" fmla="*/ 390609 h 425637"/>
              <a:gd name="connsiteX209" fmla="*/ 87914 w 689291"/>
              <a:gd name="connsiteY209" fmla="*/ 397009 h 425637"/>
              <a:gd name="connsiteX210" fmla="*/ 81514 w 689291"/>
              <a:gd name="connsiteY210" fmla="*/ 390609 h 425637"/>
              <a:gd name="connsiteX211" fmla="*/ 81514 w 689291"/>
              <a:gd name="connsiteY211" fmla="*/ 351822 h 425637"/>
              <a:gd name="connsiteX212" fmla="*/ 87914 w 689291"/>
              <a:gd name="connsiteY212" fmla="*/ 345421 h 425637"/>
              <a:gd name="connsiteX213" fmla="*/ 243 w 689291"/>
              <a:gd name="connsiteY213" fmla="*/ 345421 h 425637"/>
              <a:gd name="connsiteX214" fmla="*/ 6644 w 689291"/>
              <a:gd name="connsiteY214" fmla="*/ 351822 h 425637"/>
              <a:gd name="connsiteX215" fmla="*/ 6644 w 689291"/>
              <a:gd name="connsiteY215" fmla="*/ 377865 h 425637"/>
              <a:gd name="connsiteX216" fmla="*/ 6035 w 689291"/>
              <a:gd name="connsiteY216" fmla="*/ 376928 h 425637"/>
              <a:gd name="connsiteX217" fmla="*/ 0 w 689291"/>
              <a:gd name="connsiteY217" fmla="*/ 345752 h 425637"/>
              <a:gd name="connsiteX218" fmla="*/ 21 w 689291"/>
              <a:gd name="connsiteY218" fmla="*/ 345643 h 425637"/>
              <a:gd name="connsiteX219" fmla="*/ 672932 w 689291"/>
              <a:gd name="connsiteY219" fmla="*/ 345007 h 425637"/>
              <a:gd name="connsiteX220" fmla="*/ 685953 w 689291"/>
              <a:gd name="connsiteY220" fmla="*/ 351091 h 425637"/>
              <a:gd name="connsiteX221" fmla="*/ 689291 w 689291"/>
              <a:gd name="connsiteY221" fmla="*/ 359249 h 425637"/>
              <a:gd name="connsiteX222" fmla="*/ 685814 w 689291"/>
              <a:gd name="connsiteY222" fmla="*/ 376928 h 425637"/>
              <a:gd name="connsiteX223" fmla="*/ 672785 w 689291"/>
              <a:gd name="connsiteY223" fmla="*/ 396708 h 425637"/>
              <a:gd name="connsiteX224" fmla="*/ 660250 w 689291"/>
              <a:gd name="connsiteY224" fmla="*/ 391618 h 425637"/>
              <a:gd name="connsiteX225" fmla="*/ 654204 w 689291"/>
              <a:gd name="connsiteY225" fmla="*/ 379027 h 425637"/>
              <a:gd name="connsiteX226" fmla="*/ 654161 w 689291"/>
              <a:gd name="connsiteY226" fmla="*/ 363778 h 425637"/>
              <a:gd name="connsiteX227" fmla="*/ 672932 w 689291"/>
              <a:gd name="connsiteY227" fmla="*/ 345007 h 425637"/>
              <a:gd name="connsiteX228" fmla="*/ 578702 w 689291"/>
              <a:gd name="connsiteY228" fmla="*/ 345007 h 425637"/>
              <a:gd name="connsiteX229" fmla="*/ 596915 w 689291"/>
              <a:gd name="connsiteY229" fmla="*/ 363778 h 425637"/>
              <a:gd name="connsiteX230" fmla="*/ 596915 w 689291"/>
              <a:gd name="connsiteY230" fmla="*/ 378555 h 425637"/>
              <a:gd name="connsiteX231" fmla="*/ 578702 w 689291"/>
              <a:gd name="connsiteY231" fmla="*/ 396767 h 425637"/>
              <a:gd name="connsiteX232" fmla="*/ 559974 w 689291"/>
              <a:gd name="connsiteY232" fmla="*/ 379027 h 425637"/>
              <a:gd name="connsiteX233" fmla="*/ 559931 w 689291"/>
              <a:gd name="connsiteY233" fmla="*/ 363778 h 425637"/>
              <a:gd name="connsiteX234" fmla="*/ 578702 w 689291"/>
              <a:gd name="connsiteY234" fmla="*/ 345007 h 425637"/>
              <a:gd name="connsiteX235" fmla="*/ 491033 w 689291"/>
              <a:gd name="connsiteY235" fmla="*/ 345007 h 425637"/>
              <a:gd name="connsiteX236" fmla="*/ 509246 w 689291"/>
              <a:gd name="connsiteY236" fmla="*/ 363778 h 425637"/>
              <a:gd name="connsiteX237" fmla="*/ 509246 w 689291"/>
              <a:gd name="connsiteY237" fmla="*/ 378555 h 425637"/>
              <a:gd name="connsiteX238" fmla="*/ 491033 w 689291"/>
              <a:gd name="connsiteY238" fmla="*/ 396767 h 425637"/>
              <a:gd name="connsiteX239" fmla="*/ 472305 w 689291"/>
              <a:gd name="connsiteY239" fmla="*/ 379027 h 425637"/>
              <a:gd name="connsiteX240" fmla="*/ 472262 w 689291"/>
              <a:gd name="connsiteY240" fmla="*/ 363778 h 425637"/>
              <a:gd name="connsiteX241" fmla="*/ 491033 w 689291"/>
              <a:gd name="connsiteY241" fmla="*/ 345007 h 425637"/>
              <a:gd name="connsiteX242" fmla="*/ 403363 w 689291"/>
              <a:gd name="connsiteY242" fmla="*/ 345007 h 425637"/>
              <a:gd name="connsiteX243" fmla="*/ 421576 w 689291"/>
              <a:gd name="connsiteY243" fmla="*/ 363778 h 425637"/>
              <a:gd name="connsiteX244" fmla="*/ 421576 w 689291"/>
              <a:gd name="connsiteY244" fmla="*/ 378555 h 425637"/>
              <a:gd name="connsiteX245" fmla="*/ 403363 w 689291"/>
              <a:gd name="connsiteY245" fmla="*/ 396767 h 425637"/>
              <a:gd name="connsiteX246" fmla="*/ 384635 w 689291"/>
              <a:gd name="connsiteY246" fmla="*/ 379027 h 425637"/>
              <a:gd name="connsiteX247" fmla="*/ 384592 w 689291"/>
              <a:gd name="connsiteY247" fmla="*/ 363778 h 425637"/>
              <a:gd name="connsiteX248" fmla="*/ 403363 w 689291"/>
              <a:gd name="connsiteY248" fmla="*/ 345007 h 425637"/>
              <a:gd name="connsiteX249" fmla="*/ 622258 w 689291"/>
              <a:gd name="connsiteY249" fmla="*/ 344788 h 425637"/>
              <a:gd name="connsiteX250" fmla="*/ 628659 w 689291"/>
              <a:gd name="connsiteY250" fmla="*/ 351189 h 425637"/>
              <a:gd name="connsiteX251" fmla="*/ 628659 w 689291"/>
              <a:gd name="connsiteY251" fmla="*/ 389976 h 425637"/>
              <a:gd name="connsiteX252" fmla="*/ 622258 w 689291"/>
              <a:gd name="connsiteY252" fmla="*/ 396376 h 425637"/>
              <a:gd name="connsiteX253" fmla="*/ 615858 w 689291"/>
              <a:gd name="connsiteY253" fmla="*/ 389976 h 425637"/>
              <a:gd name="connsiteX254" fmla="*/ 615858 w 689291"/>
              <a:gd name="connsiteY254" fmla="*/ 351189 h 425637"/>
              <a:gd name="connsiteX255" fmla="*/ 622258 w 689291"/>
              <a:gd name="connsiteY255" fmla="*/ 344788 h 425637"/>
              <a:gd name="connsiteX256" fmla="*/ 534587 w 689291"/>
              <a:gd name="connsiteY256" fmla="*/ 344788 h 425637"/>
              <a:gd name="connsiteX257" fmla="*/ 540988 w 689291"/>
              <a:gd name="connsiteY257" fmla="*/ 351189 h 425637"/>
              <a:gd name="connsiteX258" fmla="*/ 540988 w 689291"/>
              <a:gd name="connsiteY258" fmla="*/ 389976 h 425637"/>
              <a:gd name="connsiteX259" fmla="*/ 534587 w 689291"/>
              <a:gd name="connsiteY259" fmla="*/ 396376 h 425637"/>
              <a:gd name="connsiteX260" fmla="*/ 528187 w 689291"/>
              <a:gd name="connsiteY260" fmla="*/ 389976 h 425637"/>
              <a:gd name="connsiteX261" fmla="*/ 528187 w 689291"/>
              <a:gd name="connsiteY261" fmla="*/ 351189 h 425637"/>
              <a:gd name="connsiteX262" fmla="*/ 534587 w 689291"/>
              <a:gd name="connsiteY262" fmla="*/ 344788 h 425637"/>
              <a:gd name="connsiteX263" fmla="*/ 446917 w 689291"/>
              <a:gd name="connsiteY263" fmla="*/ 344788 h 425637"/>
              <a:gd name="connsiteX264" fmla="*/ 453317 w 689291"/>
              <a:gd name="connsiteY264" fmla="*/ 351189 h 425637"/>
              <a:gd name="connsiteX265" fmla="*/ 453317 w 689291"/>
              <a:gd name="connsiteY265" fmla="*/ 389976 h 425637"/>
              <a:gd name="connsiteX266" fmla="*/ 446917 w 689291"/>
              <a:gd name="connsiteY266" fmla="*/ 396376 h 425637"/>
              <a:gd name="connsiteX267" fmla="*/ 440517 w 689291"/>
              <a:gd name="connsiteY267" fmla="*/ 389976 h 425637"/>
              <a:gd name="connsiteX268" fmla="*/ 440517 w 689291"/>
              <a:gd name="connsiteY268" fmla="*/ 351189 h 425637"/>
              <a:gd name="connsiteX269" fmla="*/ 446917 w 689291"/>
              <a:gd name="connsiteY269" fmla="*/ 344788 h 425637"/>
              <a:gd name="connsiteX270" fmla="*/ 6362 w 689291"/>
              <a:gd name="connsiteY270" fmla="*/ 314325 h 425637"/>
              <a:gd name="connsiteX271" fmla="*/ 5790 w 689291"/>
              <a:gd name="connsiteY271" fmla="*/ 315682 h 425637"/>
              <a:gd name="connsiteX272" fmla="*/ 5918 w 689291"/>
              <a:gd name="connsiteY272" fmla="*/ 315015 h 425637"/>
              <a:gd name="connsiteX273" fmla="*/ 345113 w 689291"/>
              <a:gd name="connsiteY273" fmla="*/ 291947 h 425637"/>
              <a:gd name="connsiteX274" fmla="*/ 338283 w 689291"/>
              <a:gd name="connsiteY274" fmla="*/ 298777 h 425637"/>
              <a:gd name="connsiteX275" fmla="*/ 338283 w 689291"/>
              <a:gd name="connsiteY275" fmla="*/ 313553 h 425637"/>
              <a:gd name="connsiteX276" fmla="*/ 345585 w 689291"/>
              <a:gd name="connsiteY276" fmla="*/ 320942 h 425637"/>
              <a:gd name="connsiteX277" fmla="*/ 352501 w 689291"/>
              <a:gd name="connsiteY277" fmla="*/ 313553 h 425637"/>
              <a:gd name="connsiteX278" fmla="*/ 352501 w 689291"/>
              <a:gd name="connsiteY278" fmla="*/ 298777 h 425637"/>
              <a:gd name="connsiteX279" fmla="*/ 345113 w 689291"/>
              <a:gd name="connsiteY279" fmla="*/ 291947 h 425637"/>
              <a:gd name="connsiteX280" fmla="*/ 257442 w 689291"/>
              <a:gd name="connsiteY280" fmla="*/ 291947 h 425637"/>
              <a:gd name="connsiteX281" fmla="*/ 250612 w 689291"/>
              <a:gd name="connsiteY281" fmla="*/ 298777 h 425637"/>
              <a:gd name="connsiteX282" fmla="*/ 250612 w 689291"/>
              <a:gd name="connsiteY282" fmla="*/ 313553 h 425637"/>
              <a:gd name="connsiteX283" fmla="*/ 257915 w 689291"/>
              <a:gd name="connsiteY283" fmla="*/ 320942 h 425637"/>
              <a:gd name="connsiteX284" fmla="*/ 264831 w 689291"/>
              <a:gd name="connsiteY284" fmla="*/ 313553 h 425637"/>
              <a:gd name="connsiteX285" fmla="*/ 264831 w 689291"/>
              <a:gd name="connsiteY285" fmla="*/ 298777 h 425637"/>
              <a:gd name="connsiteX286" fmla="*/ 257442 w 689291"/>
              <a:gd name="connsiteY286" fmla="*/ 291947 h 425637"/>
              <a:gd name="connsiteX287" fmla="*/ 169815 w 689291"/>
              <a:gd name="connsiteY287" fmla="*/ 291947 h 425637"/>
              <a:gd name="connsiteX288" fmla="*/ 162985 w 689291"/>
              <a:gd name="connsiteY288" fmla="*/ 298777 h 425637"/>
              <a:gd name="connsiteX289" fmla="*/ 162985 w 689291"/>
              <a:gd name="connsiteY289" fmla="*/ 313553 h 425637"/>
              <a:gd name="connsiteX290" fmla="*/ 170288 w 689291"/>
              <a:gd name="connsiteY290" fmla="*/ 320942 h 425637"/>
              <a:gd name="connsiteX291" fmla="*/ 177202 w 689291"/>
              <a:gd name="connsiteY291" fmla="*/ 313553 h 425637"/>
              <a:gd name="connsiteX292" fmla="*/ 177202 w 689291"/>
              <a:gd name="connsiteY292" fmla="*/ 298777 h 425637"/>
              <a:gd name="connsiteX293" fmla="*/ 169815 w 689291"/>
              <a:gd name="connsiteY293" fmla="*/ 291947 h 425637"/>
              <a:gd name="connsiteX294" fmla="*/ 75544 w 689291"/>
              <a:gd name="connsiteY294" fmla="*/ 291947 h 425637"/>
              <a:gd name="connsiteX295" fmla="*/ 68714 w 689291"/>
              <a:gd name="connsiteY295" fmla="*/ 298777 h 425637"/>
              <a:gd name="connsiteX296" fmla="*/ 68714 w 689291"/>
              <a:gd name="connsiteY296" fmla="*/ 313553 h 425637"/>
              <a:gd name="connsiteX297" fmla="*/ 76017 w 689291"/>
              <a:gd name="connsiteY297" fmla="*/ 320942 h 425637"/>
              <a:gd name="connsiteX298" fmla="*/ 82932 w 689291"/>
              <a:gd name="connsiteY298" fmla="*/ 313553 h 425637"/>
              <a:gd name="connsiteX299" fmla="*/ 82932 w 689291"/>
              <a:gd name="connsiteY299" fmla="*/ 298777 h 425637"/>
              <a:gd name="connsiteX300" fmla="*/ 75544 w 689291"/>
              <a:gd name="connsiteY300" fmla="*/ 291947 h 425637"/>
              <a:gd name="connsiteX301" fmla="*/ 609888 w 689291"/>
              <a:gd name="connsiteY301" fmla="*/ 291315 h 425637"/>
              <a:gd name="connsiteX302" fmla="*/ 603059 w 689291"/>
              <a:gd name="connsiteY302" fmla="*/ 298144 h 425637"/>
              <a:gd name="connsiteX303" fmla="*/ 603059 w 689291"/>
              <a:gd name="connsiteY303" fmla="*/ 312921 h 425637"/>
              <a:gd name="connsiteX304" fmla="*/ 610361 w 689291"/>
              <a:gd name="connsiteY304" fmla="*/ 320309 h 425637"/>
              <a:gd name="connsiteX305" fmla="*/ 617277 w 689291"/>
              <a:gd name="connsiteY305" fmla="*/ 312921 h 425637"/>
              <a:gd name="connsiteX306" fmla="*/ 617277 w 689291"/>
              <a:gd name="connsiteY306" fmla="*/ 298144 h 425637"/>
              <a:gd name="connsiteX307" fmla="*/ 609888 w 689291"/>
              <a:gd name="connsiteY307" fmla="*/ 291315 h 425637"/>
              <a:gd name="connsiteX308" fmla="*/ 522218 w 689291"/>
              <a:gd name="connsiteY308" fmla="*/ 291315 h 425637"/>
              <a:gd name="connsiteX309" fmla="*/ 515387 w 689291"/>
              <a:gd name="connsiteY309" fmla="*/ 298144 h 425637"/>
              <a:gd name="connsiteX310" fmla="*/ 515387 w 689291"/>
              <a:gd name="connsiteY310" fmla="*/ 312921 h 425637"/>
              <a:gd name="connsiteX311" fmla="*/ 522690 w 689291"/>
              <a:gd name="connsiteY311" fmla="*/ 320309 h 425637"/>
              <a:gd name="connsiteX312" fmla="*/ 529606 w 689291"/>
              <a:gd name="connsiteY312" fmla="*/ 312921 h 425637"/>
              <a:gd name="connsiteX313" fmla="*/ 529606 w 689291"/>
              <a:gd name="connsiteY313" fmla="*/ 298144 h 425637"/>
              <a:gd name="connsiteX314" fmla="*/ 522218 w 689291"/>
              <a:gd name="connsiteY314" fmla="*/ 291315 h 425637"/>
              <a:gd name="connsiteX315" fmla="*/ 434591 w 689291"/>
              <a:gd name="connsiteY315" fmla="*/ 291315 h 425637"/>
              <a:gd name="connsiteX316" fmla="*/ 427761 w 689291"/>
              <a:gd name="connsiteY316" fmla="*/ 298144 h 425637"/>
              <a:gd name="connsiteX317" fmla="*/ 427761 w 689291"/>
              <a:gd name="connsiteY317" fmla="*/ 312921 h 425637"/>
              <a:gd name="connsiteX318" fmla="*/ 435062 w 689291"/>
              <a:gd name="connsiteY318" fmla="*/ 320309 h 425637"/>
              <a:gd name="connsiteX319" fmla="*/ 441978 w 689291"/>
              <a:gd name="connsiteY319" fmla="*/ 312921 h 425637"/>
              <a:gd name="connsiteX320" fmla="*/ 441978 w 689291"/>
              <a:gd name="connsiteY320" fmla="*/ 298144 h 425637"/>
              <a:gd name="connsiteX321" fmla="*/ 434591 w 689291"/>
              <a:gd name="connsiteY321" fmla="*/ 291315 h 425637"/>
              <a:gd name="connsiteX322" fmla="*/ 658782 w 689291"/>
              <a:gd name="connsiteY322" fmla="*/ 282090 h 425637"/>
              <a:gd name="connsiteX323" fmla="*/ 667001 w 689291"/>
              <a:gd name="connsiteY323" fmla="*/ 287751 h 425637"/>
              <a:gd name="connsiteX324" fmla="*/ 667001 w 689291"/>
              <a:gd name="connsiteY324" fmla="*/ 325458 h 425637"/>
              <a:gd name="connsiteX325" fmla="*/ 660602 w 689291"/>
              <a:gd name="connsiteY325" fmla="*/ 331902 h 425637"/>
              <a:gd name="connsiteX326" fmla="*/ 654201 w 689291"/>
              <a:gd name="connsiteY326" fmla="*/ 325501 h 425637"/>
              <a:gd name="connsiteX327" fmla="*/ 654201 w 689291"/>
              <a:gd name="connsiteY327" fmla="*/ 286671 h 425637"/>
              <a:gd name="connsiteX328" fmla="*/ 33094 w 689291"/>
              <a:gd name="connsiteY328" fmla="*/ 282011 h 425637"/>
              <a:gd name="connsiteX329" fmla="*/ 38387 w 689291"/>
              <a:gd name="connsiteY329" fmla="*/ 287304 h 425637"/>
              <a:gd name="connsiteX330" fmla="*/ 38387 w 689291"/>
              <a:gd name="connsiteY330" fmla="*/ 326091 h 425637"/>
              <a:gd name="connsiteX331" fmla="*/ 31987 w 689291"/>
              <a:gd name="connsiteY331" fmla="*/ 332535 h 425637"/>
              <a:gd name="connsiteX332" fmla="*/ 25587 w 689291"/>
              <a:gd name="connsiteY332" fmla="*/ 326134 h 425637"/>
              <a:gd name="connsiteX333" fmla="*/ 25587 w 689291"/>
              <a:gd name="connsiteY333" fmla="*/ 287380 h 425637"/>
              <a:gd name="connsiteX334" fmla="*/ 301556 w 689291"/>
              <a:gd name="connsiteY334" fmla="*/ 280904 h 425637"/>
              <a:gd name="connsiteX335" fmla="*/ 307956 w 689291"/>
              <a:gd name="connsiteY335" fmla="*/ 287304 h 425637"/>
              <a:gd name="connsiteX336" fmla="*/ 307956 w 689291"/>
              <a:gd name="connsiteY336" fmla="*/ 326091 h 425637"/>
              <a:gd name="connsiteX337" fmla="*/ 301556 w 689291"/>
              <a:gd name="connsiteY337" fmla="*/ 332535 h 425637"/>
              <a:gd name="connsiteX338" fmla="*/ 295156 w 689291"/>
              <a:gd name="connsiteY338" fmla="*/ 326134 h 425637"/>
              <a:gd name="connsiteX339" fmla="*/ 295156 w 689291"/>
              <a:gd name="connsiteY339" fmla="*/ 287304 h 425637"/>
              <a:gd name="connsiteX340" fmla="*/ 301556 w 689291"/>
              <a:gd name="connsiteY340" fmla="*/ 280904 h 425637"/>
              <a:gd name="connsiteX341" fmla="*/ 213927 w 689291"/>
              <a:gd name="connsiteY341" fmla="*/ 280904 h 425637"/>
              <a:gd name="connsiteX342" fmla="*/ 220327 w 689291"/>
              <a:gd name="connsiteY342" fmla="*/ 287304 h 425637"/>
              <a:gd name="connsiteX343" fmla="*/ 220327 w 689291"/>
              <a:gd name="connsiteY343" fmla="*/ 326091 h 425637"/>
              <a:gd name="connsiteX344" fmla="*/ 213927 w 689291"/>
              <a:gd name="connsiteY344" fmla="*/ 332535 h 425637"/>
              <a:gd name="connsiteX345" fmla="*/ 207527 w 689291"/>
              <a:gd name="connsiteY345" fmla="*/ 326134 h 425637"/>
              <a:gd name="connsiteX346" fmla="*/ 207527 w 689291"/>
              <a:gd name="connsiteY346" fmla="*/ 287304 h 425637"/>
              <a:gd name="connsiteX347" fmla="*/ 213927 w 689291"/>
              <a:gd name="connsiteY347" fmla="*/ 280904 h 425637"/>
              <a:gd name="connsiteX348" fmla="*/ 126257 w 689291"/>
              <a:gd name="connsiteY348" fmla="*/ 280904 h 425637"/>
              <a:gd name="connsiteX349" fmla="*/ 132657 w 689291"/>
              <a:gd name="connsiteY349" fmla="*/ 287304 h 425637"/>
              <a:gd name="connsiteX350" fmla="*/ 132657 w 689291"/>
              <a:gd name="connsiteY350" fmla="*/ 326091 h 425637"/>
              <a:gd name="connsiteX351" fmla="*/ 126257 w 689291"/>
              <a:gd name="connsiteY351" fmla="*/ 332535 h 425637"/>
              <a:gd name="connsiteX352" fmla="*/ 119857 w 689291"/>
              <a:gd name="connsiteY352" fmla="*/ 326134 h 425637"/>
              <a:gd name="connsiteX353" fmla="*/ 119857 w 689291"/>
              <a:gd name="connsiteY353" fmla="*/ 287304 h 425637"/>
              <a:gd name="connsiteX354" fmla="*/ 126257 w 689291"/>
              <a:gd name="connsiteY354" fmla="*/ 280904 h 425637"/>
              <a:gd name="connsiteX355" fmla="*/ 345157 w 689291"/>
              <a:gd name="connsiteY355" fmla="*/ 280565 h 425637"/>
              <a:gd name="connsiteX356" fmla="*/ 363885 w 689291"/>
              <a:gd name="connsiteY356" fmla="*/ 298305 h 425637"/>
              <a:gd name="connsiteX357" fmla="*/ 363928 w 689291"/>
              <a:gd name="connsiteY357" fmla="*/ 313553 h 425637"/>
              <a:gd name="connsiteX358" fmla="*/ 345157 w 689291"/>
              <a:gd name="connsiteY358" fmla="*/ 332324 h 425637"/>
              <a:gd name="connsiteX359" fmla="*/ 326944 w 689291"/>
              <a:gd name="connsiteY359" fmla="*/ 313553 h 425637"/>
              <a:gd name="connsiteX360" fmla="*/ 326944 w 689291"/>
              <a:gd name="connsiteY360" fmla="*/ 298777 h 425637"/>
              <a:gd name="connsiteX361" fmla="*/ 345157 w 689291"/>
              <a:gd name="connsiteY361" fmla="*/ 280565 h 425637"/>
              <a:gd name="connsiteX362" fmla="*/ 257485 w 689291"/>
              <a:gd name="connsiteY362" fmla="*/ 280565 h 425637"/>
              <a:gd name="connsiteX363" fmla="*/ 276213 w 689291"/>
              <a:gd name="connsiteY363" fmla="*/ 298305 h 425637"/>
              <a:gd name="connsiteX364" fmla="*/ 276256 w 689291"/>
              <a:gd name="connsiteY364" fmla="*/ 313553 h 425637"/>
              <a:gd name="connsiteX365" fmla="*/ 257485 w 689291"/>
              <a:gd name="connsiteY365" fmla="*/ 332324 h 425637"/>
              <a:gd name="connsiteX366" fmla="*/ 239273 w 689291"/>
              <a:gd name="connsiteY366" fmla="*/ 313553 h 425637"/>
              <a:gd name="connsiteX367" fmla="*/ 239273 w 689291"/>
              <a:gd name="connsiteY367" fmla="*/ 298777 h 425637"/>
              <a:gd name="connsiteX368" fmla="*/ 257485 w 689291"/>
              <a:gd name="connsiteY368" fmla="*/ 280565 h 425637"/>
              <a:gd name="connsiteX369" fmla="*/ 169815 w 689291"/>
              <a:gd name="connsiteY369" fmla="*/ 280565 h 425637"/>
              <a:gd name="connsiteX370" fmla="*/ 188544 w 689291"/>
              <a:gd name="connsiteY370" fmla="*/ 298305 h 425637"/>
              <a:gd name="connsiteX371" fmla="*/ 188586 w 689291"/>
              <a:gd name="connsiteY371" fmla="*/ 313553 h 425637"/>
              <a:gd name="connsiteX372" fmla="*/ 169815 w 689291"/>
              <a:gd name="connsiteY372" fmla="*/ 332324 h 425637"/>
              <a:gd name="connsiteX373" fmla="*/ 151603 w 689291"/>
              <a:gd name="connsiteY373" fmla="*/ 313553 h 425637"/>
              <a:gd name="connsiteX374" fmla="*/ 151603 w 689291"/>
              <a:gd name="connsiteY374" fmla="*/ 298777 h 425637"/>
              <a:gd name="connsiteX375" fmla="*/ 169815 w 689291"/>
              <a:gd name="connsiteY375" fmla="*/ 280565 h 425637"/>
              <a:gd name="connsiteX376" fmla="*/ 75588 w 689291"/>
              <a:gd name="connsiteY376" fmla="*/ 280565 h 425637"/>
              <a:gd name="connsiteX377" fmla="*/ 94316 w 689291"/>
              <a:gd name="connsiteY377" fmla="*/ 298305 h 425637"/>
              <a:gd name="connsiteX378" fmla="*/ 94359 w 689291"/>
              <a:gd name="connsiteY378" fmla="*/ 313553 h 425637"/>
              <a:gd name="connsiteX379" fmla="*/ 75588 w 689291"/>
              <a:gd name="connsiteY379" fmla="*/ 332324 h 425637"/>
              <a:gd name="connsiteX380" fmla="*/ 57375 w 689291"/>
              <a:gd name="connsiteY380" fmla="*/ 313553 h 425637"/>
              <a:gd name="connsiteX381" fmla="*/ 57375 w 689291"/>
              <a:gd name="connsiteY381" fmla="*/ 298777 h 425637"/>
              <a:gd name="connsiteX382" fmla="*/ 75588 w 689291"/>
              <a:gd name="connsiteY382" fmla="*/ 280565 h 425637"/>
              <a:gd name="connsiteX383" fmla="*/ 566331 w 689291"/>
              <a:gd name="connsiteY383" fmla="*/ 280271 h 425637"/>
              <a:gd name="connsiteX384" fmla="*/ 572730 w 689291"/>
              <a:gd name="connsiteY384" fmla="*/ 286671 h 425637"/>
              <a:gd name="connsiteX385" fmla="*/ 572730 w 689291"/>
              <a:gd name="connsiteY385" fmla="*/ 325458 h 425637"/>
              <a:gd name="connsiteX386" fmla="*/ 566331 w 689291"/>
              <a:gd name="connsiteY386" fmla="*/ 331902 h 425637"/>
              <a:gd name="connsiteX387" fmla="*/ 559931 w 689291"/>
              <a:gd name="connsiteY387" fmla="*/ 325501 h 425637"/>
              <a:gd name="connsiteX388" fmla="*/ 559931 w 689291"/>
              <a:gd name="connsiteY388" fmla="*/ 286671 h 425637"/>
              <a:gd name="connsiteX389" fmla="*/ 566331 w 689291"/>
              <a:gd name="connsiteY389" fmla="*/ 280271 h 425637"/>
              <a:gd name="connsiteX390" fmla="*/ 478702 w 689291"/>
              <a:gd name="connsiteY390" fmla="*/ 280271 h 425637"/>
              <a:gd name="connsiteX391" fmla="*/ 485103 w 689291"/>
              <a:gd name="connsiteY391" fmla="*/ 286671 h 425637"/>
              <a:gd name="connsiteX392" fmla="*/ 485103 w 689291"/>
              <a:gd name="connsiteY392" fmla="*/ 325458 h 425637"/>
              <a:gd name="connsiteX393" fmla="*/ 478702 w 689291"/>
              <a:gd name="connsiteY393" fmla="*/ 331902 h 425637"/>
              <a:gd name="connsiteX394" fmla="*/ 472302 w 689291"/>
              <a:gd name="connsiteY394" fmla="*/ 325501 h 425637"/>
              <a:gd name="connsiteX395" fmla="*/ 472302 w 689291"/>
              <a:gd name="connsiteY395" fmla="*/ 286671 h 425637"/>
              <a:gd name="connsiteX396" fmla="*/ 478702 w 689291"/>
              <a:gd name="connsiteY396" fmla="*/ 280271 h 425637"/>
              <a:gd name="connsiteX397" fmla="*/ 391033 w 689291"/>
              <a:gd name="connsiteY397" fmla="*/ 280271 h 425637"/>
              <a:gd name="connsiteX398" fmla="*/ 397433 w 689291"/>
              <a:gd name="connsiteY398" fmla="*/ 286671 h 425637"/>
              <a:gd name="connsiteX399" fmla="*/ 397433 w 689291"/>
              <a:gd name="connsiteY399" fmla="*/ 325458 h 425637"/>
              <a:gd name="connsiteX400" fmla="*/ 391033 w 689291"/>
              <a:gd name="connsiteY400" fmla="*/ 331902 h 425637"/>
              <a:gd name="connsiteX401" fmla="*/ 384632 w 689291"/>
              <a:gd name="connsiteY401" fmla="*/ 325501 h 425637"/>
              <a:gd name="connsiteX402" fmla="*/ 384632 w 689291"/>
              <a:gd name="connsiteY402" fmla="*/ 286671 h 425637"/>
              <a:gd name="connsiteX403" fmla="*/ 391033 w 689291"/>
              <a:gd name="connsiteY403" fmla="*/ 280271 h 425637"/>
              <a:gd name="connsiteX404" fmla="*/ 609931 w 689291"/>
              <a:gd name="connsiteY404" fmla="*/ 279932 h 425637"/>
              <a:gd name="connsiteX405" fmla="*/ 628659 w 689291"/>
              <a:gd name="connsiteY405" fmla="*/ 297673 h 425637"/>
              <a:gd name="connsiteX406" fmla="*/ 628702 w 689291"/>
              <a:gd name="connsiteY406" fmla="*/ 312921 h 425637"/>
              <a:gd name="connsiteX407" fmla="*/ 609931 w 689291"/>
              <a:gd name="connsiteY407" fmla="*/ 331691 h 425637"/>
              <a:gd name="connsiteX408" fmla="*/ 591719 w 689291"/>
              <a:gd name="connsiteY408" fmla="*/ 312921 h 425637"/>
              <a:gd name="connsiteX409" fmla="*/ 591719 w 689291"/>
              <a:gd name="connsiteY409" fmla="*/ 298144 h 425637"/>
              <a:gd name="connsiteX410" fmla="*/ 609931 w 689291"/>
              <a:gd name="connsiteY410" fmla="*/ 279932 h 425637"/>
              <a:gd name="connsiteX411" fmla="*/ 522261 w 689291"/>
              <a:gd name="connsiteY411" fmla="*/ 279932 h 425637"/>
              <a:gd name="connsiteX412" fmla="*/ 540989 w 689291"/>
              <a:gd name="connsiteY412" fmla="*/ 297673 h 425637"/>
              <a:gd name="connsiteX413" fmla="*/ 541032 w 689291"/>
              <a:gd name="connsiteY413" fmla="*/ 312921 h 425637"/>
              <a:gd name="connsiteX414" fmla="*/ 522261 w 689291"/>
              <a:gd name="connsiteY414" fmla="*/ 331691 h 425637"/>
              <a:gd name="connsiteX415" fmla="*/ 504048 w 689291"/>
              <a:gd name="connsiteY415" fmla="*/ 312921 h 425637"/>
              <a:gd name="connsiteX416" fmla="*/ 504048 w 689291"/>
              <a:gd name="connsiteY416" fmla="*/ 298144 h 425637"/>
              <a:gd name="connsiteX417" fmla="*/ 522261 w 689291"/>
              <a:gd name="connsiteY417" fmla="*/ 279932 h 425637"/>
              <a:gd name="connsiteX418" fmla="*/ 434591 w 689291"/>
              <a:gd name="connsiteY418" fmla="*/ 279932 h 425637"/>
              <a:gd name="connsiteX419" fmla="*/ 453318 w 689291"/>
              <a:gd name="connsiteY419" fmla="*/ 297673 h 425637"/>
              <a:gd name="connsiteX420" fmla="*/ 453361 w 689291"/>
              <a:gd name="connsiteY420" fmla="*/ 312921 h 425637"/>
              <a:gd name="connsiteX421" fmla="*/ 434591 w 689291"/>
              <a:gd name="connsiteY421" fmla="*/ 331691 h 425637"/>
              <a:gd name="connsiteX422" fmla="*/ 416377 w 689291"/>
              <a:gd name="connsiteY422" fmla="*/ 312921 h 425637"/>
              <a:gd name="connsiteX423" fmla="*/ 416377 w 689291"/>
              <a:gd name="connsiteY423" fmla="*/ 298144 h 425637"/>
              <a:gd name="connsiteX424" fmla="*/ 434591 w 689291"/>
              <a:gd name="connsiteY424" fmla="*/ 279932 h 425637"/>
              <a:gd name="connsiteX425" fmla="*/ 210384 w 689291"/>
              <a:gd name="connsiteY425" fmla="*/ 236381 h 425637"/>
              <a:gd name="connsiteX426" fmla="*/ 203870 w 689291"/>
              <a:gd name="connsiteY426" fmla="*/ 242894 h 425637"/>
              <a:gd name="connsiteX427" fmla="*/ 203870 w 689291"/>
              <a:gd name="connsiteY427" fmla="*/ 257670 h 425637"/>
              <a:gd name="connsiteX428" fmla="*/ 211111 w 689291"/>
              <a:gd name="connsiteY428" fmla="*/ 264996 h 425637"/>
              <a:gd name="connsiteX429" fmla="*/ 217717 w 689291"/>
              <a:gd name="connsiteY429" fmla="*/ 257936 h 425637"/>
              <a:gd name="connsiteX430" fmla="*/ 217717 w 689291"/>
              <a:gd name="connsiteY430" fmla="*/ 243160 h 425637"/>
              <a:gd name="connsiteX431" fmla="*/ 122714 w 689291"/>
              <a:gd name="connsiteY431" fmla="*/ 236381 h 425637"/>
              <a:gd name="connsiteX432" fmla="*/ 116200 w 689291"/>
              <a:gd name="connsiteY432" fmla="*/ 242894 h 425637"/>
              <a:gd name="connsiteX433" fmla="*/ 116200 w 689291"/>
              <a:gd name="connsiteY433" fmla="*/ 257670 h 425637"/>
              <a:gd name="connsiteX434" fmla="*/ 123440 w 689291"/>
              <a:gd name="connsiteY434" fmla="*/ 264996 h 425637"/>
              <a:gd name="connsiteX435" fmla="*/ 130047 w 689291"/>
              <a:gd name="connsiteY435" fmla="*/ 257936 h 425637"/>
              <a:gd name="connsiteX436" fmla="*/ 130047 w 689291"/>
              <a:gd name="connsiteY436" fmla="*/ 243160 h 425637"/>
              <a:gd name="connsiteX437" fmla="*/ 480270 w 689291"/>
              <a:gd name="connsiteY437" fmla="*/ 236064 h 425637"/>
              <a:gd name="connsiteX438" fmla="*/ 473440 w 689291"/>
              <a:gd name="connsiteY438" fmla="*/ 242894 h 425637"/>
              <a:gd name="connsiteX439" fmla="*/ 473440 w 689291"/>
              <a:gd name="connsiteY439" fmla="*/ 257670 h 425637"/>
              <a:gd name="connsiteX440" fmla="*/ 480743 w 689291"/>
              <a:gd name="connsiteY440" fmla="*/ 265059 h 425637"/>
              <a:gd name="connsiteX441" fmla="*/ 487659 w 689291"/>
              <a:gd name="connsiteY441" fmla="*/ 257670 h 425637"/>
              <a:gd name="connsiteX442" fmla="*/ 487659 w 689291"/>
              <a:gd name="connsiteY442" fmla="*/ 242894 h 425637"/>
              <a:gd name="connsiteX443" fmla="*/ 480270 w 689291"/>
              <a:gd name="connsiteY443" fmla="*/ 236064 h 425637"/>
              <a:gd name="connsiteX444" fmla="*/ 392599 w 689291"/>
              <a:gd name="connsiteY444" fmla="*/ 236064 h 425637"/>
              <a:gd name="connsiteX445" fmla="*/ 385769 w 689291"/>
              <a:gd name="connsiteY445" fmla="*/ 242894 h 425637"/>
              <a:gd name="connsiteX446" fmla="*/ 385769 w 689291"/>
              <a:gd name="connsiteY446" fmla="*/ 257670 h 425637"/>
              <a:gd name="connsiteX447" fmla="*/ 393071 w 689291"/>
              <a:gd name="connsiteY447" fmla="*/ 265059 h 425637"/>
              <a:gd name="connsiteX448" fmla="*/ 399987 w 689291"/>
              <a:gd name="connsiteY448" fmla="*/ 257670 h 425637"/>
              <a:gd name="connsiteX449" fmla="*/ 399987 w 689291"/>
              <a:gd name="connsiteY449" fmla="*/ 242894 h 425637"/>
              <a:gd name="connsiteX450" fmla="*/ 392599 w 689291"/>
              <a:gd name="connsiteY450" fmla="*/ 236064 h 425637"/>
              <a:gd name="connsiteX451" fmla="*/ 304971 w 689291"/>
              <a:gd name="connsiteY451" fmla="*/ 236064 h 425637"/>
              <a:gd name="connsiteX452" fmla="*/ 298141 w 689291"/>
              <a:gd name="connsiteY452" fmla="*/ 242894 h 425637"/>
              <a:gd name="connsiteX453" fmla="*/ 298141 w 689291"/>
              <a:gd name="connsiteY453" fmla="*/ 257670 h 425637"/>
              <a:gd name="connsiteX454" fmla="*/ 305444 w 689291"/>
              <a:gd name="connsiteY454" fmla="*/ 265059 h 425637"/>
              <a:gd name="connsiteX455" fmla="*/ 312359 w 689291"/>
              <a:gd name="connsiteY455" fmla="*/ 257670 h 425637"/>
              <a:gd name="connsiteX456" fmla="*/ 312359 w 689291"/>
              <a:gd name="connsiteY456" fmla="*/ 242894 h 425637"/>
              <a:gd name="connsiteX457" fmla="*/ 304971 w 689291"/>
              <a:gd name="connsiteY457" fmla="*/ 236064 h 425637"/>
              <a:gd name="connsiteX458" fmla="*/ 569375 w 689291"/>
              <a:gd name="connsiteY458" fmla="*/ 235698 h 425637"/>
              <a:gd name="connsiteX459" fmla="*/ 562546 w 689291"/>
              <a:gd name="connsiteY459" fmla="*/ 242528 h 425637"/>
              <a:gd name="connsiteX460" fmla="*/ 562546 w 689291"/>
              <a:gd name="connsiteY460" fmla="*/ 257304 h 425637"/>
              <a:gd name="connsiteX461" fmla="*/ 569847 w 689291"/>
              <a:gd name="connsiteY461" fmla="*/ 264693 h 425637"/>
              <a:gd name="connsiteX462" fmla="*/ 576763 w 689291"/>
              <a:gd name="connsiteY462" fmla="*/ 257304 h 425637"/>
              <a:gd name="connsiteX463" fmla="*/ 576763 w 689291"/>
              <a:gd name="connsiteY463" fmla="*/ 242528 h 425637"/>
              <a:gd name="connsiteX464" fmla="*/ 569375 w 689291"/>
              <a:gd name="connsiteY464" fmla="*/ 235698 h 425637"/>
              <a:gd name="connsiteX465" fmla="*/ 436712 w 689291"/>
              <a:gd name="connsiteY465" fmla="*/ 225060 h 425637"/>
              <a:gd name="connsiteX466" fmla="*/ 443112 w 689291"/>
              <a:gd name="connsiteY466" fmla="*/ 231461 h 425637"/>
              <a:gd name="connsiteX467" fmla="*/ 443112 w 689291"/>
              <a:gd name="connsiteY467" fmla="*/ 270248 h 425637"/>
              <a:gd name="connsiteX468" fmla="*/ 436712 w 689291"/>
              <a:gd name="connsiteY468" fmla="*/ 276648 h 425637"/>
              <a:gd name="connsiteX469" fmla="*/ 430312 w 689291"/>
              <a:gd name="connsiteY469" fmla="*/ 270248 h 425637"/>
              <a:gd name="connsiteX470" fmla="*/ 430312 w 689291"/>
              <a:gd name="connsiteY470" fmla="*/ 231461 h 425637"/>
              <a:gd name="connsiteX471" fmla="*/ 436712 w 689291"/>
              <a:gd name="connsiteY471" fmla="*/ 225060 h 425637"/>
              <a:gd name="connsiteX472" fmla="*/ 349084 w 689291"/>
              <a:gd name="connsiteY472" fmla="*/ 225060 h 425637"/>
              <a:gd name="connsiteX473" fmla="*/ 355484 w 689291"/>
              <a:gd name="connsiteY473" fmla="*/ 231461 h 425637"/>
              <a:gd name="connsiteX474" fmla="*/ 355484 w 689291"/>
              <a:gd name="connsiteY474" fmla="*/ 270248 h 425637"/>
              <a:gd name="connsiteX475" fmla="*/ 349084 w 689291"/>
              <a:gd name="connsiteY475" fmla="*/ 276648 h 425637"/>
              <a:gd name="connsiteX476" fmla="*/ 342684 w 689291"/>
              <a:gd name="connsiteY476" fmla="*/ 270248 h 425637"/>
              <a:gd name="connsiteX477" fmla="*/ 342684 w 689291"/>
              <a:gd name="connsiteY477" fmla="*/ 231461 h 425637"/>
              <a:gd name="connsiteX478" fmla="*/ 349084 w 689291"/>
              <a:gd name="connsiteY478" fmla="*/ 225060 h 425637"/>
              <a:gd name="connsiteX479" fmla="*/ 261415 w 689291"/>
              <a:gd name="connsiteY479" fmla="*/ 225060 h 425637"/>
              <a:gd name="connsiteX480" fmla="*/ 267815 w 689291"/>
              <a:gd name="connsiteY480" fmla="*/ 231461 h 425637"/>
              <a:gd name="connsiteX481" fmla="*/ 267815 w 689291"/>
              <a:gd name="connsiteY481" fmla="*/ 270248 h 425637"/>
              <a:gd name="connsiteX482" fmla="*/ 261415 w 689291"/>
              <a:gd name="connsiteY482" fmla="*/ 276648 h 425637"/>
              <a:gd name="connsiteX483" fmla="*/ 255015 w 689291"/>
              <a:gd name="connsiteY483" fmla="*/ 270248 h 425637"/>
              <a:gd name="connsiteX484" fmla="*/ 255015 w 689291"/>
              <a:gd name="connsiteY484" fmla="*/ 231461 h 425637"/>
              <a:gd name="connsiteX485" fmla="*/ 261415 w 689291"/>
              <a:gd name="connsiteY485" fmla="*/ 225060 h 425637"/>
              <a:gd name="connsiteX486" fmla="*/ 167143 w 689291"/>
              <a:gd name="connsiteY486" fmla="*/ 225060 h 425637"/>
              <a:gd name="connsiteX487" fmla="*/ 173543 w 689291"/>
              <a:gd name="connsiteY487" fmla="*/ 231461 h 425637"/>
              <a:gd name="connsiteX488" fmla="*/ 173543 w 689291"/>
              <a:gd name="connsiteY488" fmla="*/ 270248 h 425637"/>
              <a:gd name="connsiteX489" fmla="*/ 167143 w 689291"/>
              <a:gd name="connsiteY489" fmla="*/ 276648 h 425637"/>
              <a:gd name="connsiteX490" fmla="*/ 167090 w 689291"/>
              <a:gd name="connsiteY490" fmla="*/ 276596 h 425637"/>
              <a:gd name="connsiteX491" fmla="*/ 166772 w 689291"/>
              <a:gd name="connsiteY491" fmla="*/ 276914 h 425637"/>
              <a:gd name="connsiteX492" fmla="*/ 160372 w 689291"/>
              <a:gd name="connsiteY492" fmla="*/ 270514 h 425637"/>
              <a:gd name="connsiteX493" fmla="*/ 160372 w 689291"/>
              <a:gd name="connsiteY493" fmla="*/ 231727 h 425637"/>
              <a:gd name="connsiteX494" fmla="*/ 166772 w 689291"/>
              <a:gd name="connsiteY494" fmla="*/ 225326 h 425637"/>
              <a:gd name="connsiteX495" fmla="*/ 166824 w 689291"/>
              <a:gd name="connsiteY495" fmla="*/ 225379 h 425637"/>
              <a:gd name="connsiteX496" fmla="*/ 79515 w 689291"/>
              <a:gd name="connsiteY496" fmla="*/ 225060 h 425637"/>
              <a:gd name="connsiteX497" fmla="*/ 85915 w 689291"/>
              <a:gd name="connsiteY497" fmla="*/ 231461 h 425637"/>
              <a:gd name="connsiteX498" fmla="*/ 85915 w 689291"/>
              <a:gd name="connsiteY498" fmla="*/ 270248 h 425637"/>
              <a:gd name="connsiteX499" fmla="*/ 79515 w 689291"/>
              <a:gd name="connsiteY499" fmla="*/ 276648 h 425637"/>
              <a:gd name="connsiteX500" fmla="*/ 79462 w 689291"/>
              <a:gd name="connsiteY500" fmla="*/ 276596 h 425637"/>
              <a:gd name="connsiteX501" fmla="*/ 79143 w 689291"/>
              <a:gd name="connsiteY501" fmla="*/ 276914 h 425637"/>
              <a:gd name="connsiteX502" fmla="*/ 72744 w 689291"/>
              <a:gd name="connsiteY502" fmla="*/ 270514 h 425637"/>
              <a:gd name="connsiteX503" fmla="*/ 72744 w 689291"/>
              <a:gd name="connsiteY503" fmla="*/ 266509 h 425637"/>
              <a:gd name="connsiteX504" fmla="*/ 75497 w 689291"/>
              <a:gd name="connsiteY504" fmla="*/ 265867 h 425637"/>
              <a:gd name="connsiteX505" fmla="*/ 72744 w 689291"/>
              <a:gd name="connsiteY505" fmla="*/ 244589 h 425637"/>
              <a:gd name="connsiteX506" fmla="*/ 72744 w 689291"/>
              <a:gd name="connsiteY506" fmla="*/ 231727 h 425637"/>
              <a:gd name="connsiteX507" fmla="*/ 79143 w 689291"/>
              <a:gd name="connsiteY507" fmla="*/ 225326 h 425637"/>
              <a:gd name="connsiteX508" fmla="*/ 79196 w 689291"/>
              <a:gd name="connsiteY508" fmla="*/ 225379 h 425637"/>
              <a:gd name="connsiteX509" fmla="*/ 613487 w 689291"/>
              <a:gd name="connsiteY509" fmla="*/ 224693 h 425637"/>
              <a:gd name="connsiteX510" fmla="*/ 619351 w 689291"/>
              <a:gd name="connsiteY510" fmla="*/ 230557 h 425637"/>
              <a:gd name="connsiteX511" fmla="*/ 612706 w 689291"/>
              <a:gd name="connsiteY511" fmla="*/ 265867 h 425637"/>
              <a:gd name="connsiteX512" fmla="*/ 613954 w 689291"/>
              <a:gd name="connsiteY512" fmla="*/ 265867 h 425637"/>
              <a:gd name="connsiteX513" fmla="*/ 619888 w 689291"/>
              <a:gd name="connsiteY513" fmla="*/ 267089 h 425637"/>
              <a:gd name="connsiteX514" fmla="*/ 619888 w 689291"/>
              <a:gd name="connsiteY514" fmla="*/ 269882 h 425637"/>
              <a:gd name="connsiteX515" fmla="*/ 613487 w 689291"/>
              <a:gd name="connsiteY515" fmla="*/ 276282 h 425637"/>
              <a:gd name="connsiteX516" fmla="*/ 607087 w 689291"/>
              <a:gd name="connsiteY516" fmla="*/ 269882 h 425637"/>
              <a:gd name="connsiteX517" fmla="*/ 607087 w 689291"/>
              <a:gd name="connsiteY517" fmla="*/ 231094 h 425637"/>
              <a:gd name="connsiteX518" fmla="*/ 613487 w 689291"/>
              <a:gd name="connsiteY518" fmla="*/ 224693 h 425637"/>
              <a:gd name="connsiteX519" fmla="*/ 525820 w 689291"/>
              <a:gd name="connsiteY519" fmla="*/ 224693 h 425637"/>
              <a:gd name="connsiteX520" fmla="*/ 532220 w 689291"/>
              <a:gd name="connsiteY520" fmla="*/ 231094 h 425637"/>
              <a:gd name="connsiteX521" fmla="*/ 532220 w 689291"/>
              <a:gd name="connsiteY521" fmla="*/ 269882 h 425637"/>
              <a:gd name="connsiteX522" fmla="*/ 525820 w 689291"/>
              <a:gd name="connsiteY522" fmla="*/ 276282 h 425637"/>
              <a:gd name="connsiteX523" fmla="*/ 519419 w 689291"/>
              <a:gd name="connsiteY523" fmla="*/ 269882 h 425637"/>
              <a:gd name="connsiteX524" fmla="*/ 519419 w 689291"/>
              <a:gd name="connsiteY524" fmla="*/ 231094 h 425637"/>
              <a:gd name="connsiteX525" fmla="*/ 525820 w 689291"/>
              <a:gd name="connsiteY525" fmla="*/ 224693 h 425637"/>
              <a:gd name="connsiteX526" fmla="*/ 480313 w 689291"/>
              <a:gd name="connsiteY526" fmla="*/ 224681 h 425637"/>
              <a:gd name="connsiteX527" fmla="*/ 499041 w 689291"/>
              <a:gd name="connsiteY527" fmla="*/ 242421 h 425637"/>
              <a:gd name="connsiteX528" fmla="*/ 499084 w 689291"/>
              <a:gd name="connsiteY528" fmla="*/ 257670 h 425637"/>
              <a:gd name="connsiteX529" fmla="*/ 480313 w 689291"/>
              <a:gd name="connsiteY529" fmla="*/ 276441 h 425637"/>
              <a:gd name="connsiteX530" fmla="*/ 462100 w 689291"/>
              <a:gd name="connsiteY530" fmla="*/ 257670 h 425637"/>
              <a:gd name="connsiteX531" fmla="*/ 462100 w 689291"/>
              <a:gd name="connsiteY531" fmla="*/ 242894 h 425637"/>
              <a:gd name="connsiteX532" fmla="*/ 480313 w 689291"/>
              <a:gd name="connsiteY532" fmla="*/ 224681 h 425637"/>
              <a:gd name="connsiteX533" fmla="*/ 392643 w 689291"/>
              <a:gd name="connsiteY533" fmla="*/ 224681 h 425637"/>
              <a:gd name="connsiteX534" fmla="*/ 411371 w 689291"/>
              <a:gd name="connsiteY534" fmla="*/ 242421 h 425637"/>
              <a:gd name="connsiteX535" fmla="*/ 411414 w 689291"/>
              <a:gd name="connsiteY535" fmla="*/ 257670 h 425637"/>
              <a:gd name="connsiteX536" fmla="*/ 392643 w 689291"/>
              <a:gd name="connsiteY536" fmla="*/ 276441 h 425637"/>
              <a:gd name="connsiteX537" fmla="*/ 374430 w 689291"/>
              <a:gd name="connsiteY537" fmla="*/ 257670 h 425637"/>
              <a:gd name="connsiteX538" fmla="*/ 374430 w 689291"/>
              <a:gd name="connsiteY538" fmla="*/ 242894 h 425637"/>
              <a:gd name="connsiteX539" fmla="*/ 392643 w 689291"/>
              <a:gd name="connsiteY539" fmla="*/ 224681 h 425637"/>
              <a:gd name="connsiteX540" fmla="*/ 304971 w 689291"/>
              <a:gd name="connsiteY540" fmla="*/ 224681 h 425637"/>
              <a:gd name="connsiteX541" fmla="*/ 323700 w 689291"/>
              <a:gd name="connsiteY541" fmla="*/ 242421 h 425637"/>
              <a:gd name="connsiteX542" fmla="*/ 323742 w 689291"/>
              <a:gd name="connsiteY542" fmla="*/ 257670 h 425637"/>
              <a:gd name="connsiteX543" fmla="*/ 304971 w 689291"/>
              <a:gd name="connsiteY543" fmla="*/ 276441 h 425637"/>
              <a:gd name="connsiteX544" fmla="*/ 286759 w 689291"/>
              <a:gd name="connsiteY544" fmla="*/ 257670 h 425637"/>
              <a:gd name="connsiteX545" fmla="*/ 286759 w 689291"/>
              <a:gd name="connsiteY545" fmla="*/ 242894 h 425637"/>
              <a:gd name="connsiteX546" fmla="*/ 304971 w 689291"/>
              <a:gd name="connsiteY546" fmla="*/ 224681 h 425637"/>
              <a:gd name="connsiteX547" fmla="*/ 210744 w 689291"/>
              <a:gd name="connsiteY547" fmla="*/ 224681 h 425637"/>
              <a:gd name="connsiteX548" fmla="*/ 229472 w 689291"/>
              <a:gd name="connsiteY548" fmla="*/ 242421 h 425637"/>
              <a:gd name="connsiteX549" fmla="*/ 229515 w 689291"/>
              <a:gd name="connsiteY549" fmla="*/ 257670 h 425637"/>
              <a:gd name="connsiteX550" fmla="*/ 223947 w 689291"/>
              <a:gd name="connsiteY550" fmla="*/ 270873 h 425637"/>
              <a:gd name="connsiteX551" fmla="*/ 223632 w 689291"/>
              <a:gd name="connsiteY551" fmla="*/ 271007 h 425637"/>
              <a:gd name="connsiteX552" fmla="*/ 223576 w 689291"/>
              <a:gd name="connsiteY552" fmla="*/ 271140 h 425637"/>
              <a:gd name="connsiteX553" fmla="*/ 210373 w 689291"/>
              <a:gd name="connsiteY553" fmla="*/ 276708 h 425637"/>
              <a:gd name="connsiteX554" fmla="*/ 192160 w 689291"/>
              <a:gd name="connsiteY554" fmla="*/ 257936 h 425637"/>
              <a:gd name="connsiteX555" fmla="*/ 192160 w 689291"/>
              <a:gd name="connsiteY555" fmla="*/ 243160 h 425637"/>
              <a:gd name="connsiteX556" fmla="*/ 197497 w 689291"/>
              <a:gd name="connsiteY556" fmla="*/ 230285 h 425637"/>
              <a:gd name="connsiteX557" fmla="*/ 197812 w 689291"/>
              <a:gd name="connsiteY557" fmla="*/ 230155 h 425637"/>
              <a:gd name="connsiteX558" fmla="*/ 197869 w 689291"/>
              <a:gd name="connsiteY558" fmla="*/ 230019 h 425637"/>
              <a:gd name="connsiteX559" fmla="*/ 210744 w 689291"/>
              <a:gd name="connsiteY559" fmla="*/ 224681 h 425637"/>
              <a:gd name="connsiteX560" fmla="*/ 123073 w 689291"/>
              <a:gd name="connsiteY560" fmla="*/ 224681 h 425637"/>
              <a:gd name="connsiteX561" fmla="*/ 141801 w 689291"/>
              <a:gd name="connsiteY561" fmla="*/ 242421 h 425637"/>
              <a:gd name="connsiteX562" fmla="*/ 141844 w 689291"/>
              <a:gd name="connsiteY562" fmla="*/ 257670 h 425637"/>
              <a:gd name="connsiteX563" fmla="*/ 136276 w 689291"/>
              <a:gd name="connsiteY563" fmla="*/ 270873 h 425637"/>
              <a:gd name="connsiteX564" fmla="*/ 135961 w 689291"/>
              <a:gd name="connsiteY564" fmla="*/ 271007 h 425637"/>
              <a:gd name="connsiteX565" fmla="*/ 135904 w 689291"/>
              <a:gd name="connsiteY565" fmla="*/ 271140 h 425637"/>
              <a:gd name="connsiteX566" fmla="*/ 122701 w 689291"/>
              <a:gd name="connsiteY566" fmla="*/ 276708 h 425637"/>
              <a:gd name="connsiteX567" fmla="*/ 104489 w 689291"/>
              <a:gd name="connsiteY567" fmla="*/ 257936 h 425637"/>
              <a:gd name="connsiteX568" fmla="*/ 104489 w 689291"/>
              <a:gd name="connsiteY568" fmla="*/ 243160 h 425637"/>
              <a:gd name="connsiteX569" fmla="*/ 109826 w 689291"/>
              <a:gd name="connsiteY569" fmla="*/ 230285 h 425637"/>
              <a:gd name="connsiteX570" fmla="*/ 110141 w 689291"/>
              <a:gd name="connsiteY570" fmla="*/ 230155 h 425637"/>
              <a:gd name="connsiteX571" fmla="*/ 110197 w 689291"/>
              <a:gd name="connsiteY571" fmla="*/ 230019 h 425637"/>
              <a:gd name="connsiteX572" fmla="*/ 123073 w 689291"/>
              <a:gd name="connsiteY572" fmla="*/ 224681 h 425637"/>
              <a:gd name="connsiteX573" fmla="*/ 569375 w 689291"/>
              <a:gd name="connsiteY573" fmla="*/ 224316 h 425637"/>
              <a:gd name="connsiteX574" fmla="*/ 588103 w 689291"/>
              <a:gd name="connsiteY574" fmla="*/ 242056 h 425637"/>
              <a:gd name="connsiteX575" fmla="*/ 588146 w 689291"/>
              <a:gd name="connsiteY575" fmla="*/ 257304 h 425637"/>
              <a:gd name="connsiteX576" fmla="*/ 569375 w 689291"/>
              <a:gd name="connsiteY576" fmla="*/ 276076 h 425637"/>
              <a:gd name="connsiteX577" fmla="*/ 551162 w 689291"/>
              <a:gd name="connsiteY577" fmla="*/ 257304 h 425637"/>
              <a:gd name="connsiteX578" fmla="*/ 551162 w 689291"/>
              <a:gd name="connsiteY578" fmla="*/ 242528 h 425637"/>
              <a:gd name="connsiteX579" fmla="*/ 569375 w 689291"/>
              <a:gd name="connsiteY579" fmla="*/ 224316 h 425637"/>
              <a:gd name="connsiteX580" fmla="*/ 178732 w 689291"/>
              <a:gd name="connsiteY580" fmla="*/ 172594 h 425637"/>
              <a:gd name="connsiteX581" fmla="*/ 172126 w 689291"/>
              <a:gd name="connsiteY581" fmla="*/ 179652 h 425637"/>
              <a:gd name="connsiteX582" fmla="*/ 172126 w 689291"/>
              <a:gd name="connsiteY582" fmla="*/ 194429 h 425637"/>
              <a:gd name="connsiteX583" fmla="*/ 179459 w 689291"/>
              <a:gd name="connsiteY583" fmla="*/ 201207 h 425637"/>
              <a:gd name="connsiteX584" fmla="*/ 185972 w 689291"/>
              <a:gd name="connsiteY584" fmla="*/ 194695 h 425637"/>
              <a:gd name="connsiteX585" fmla="*/ 185972 w 689291"/>
              <a:gd name="connsiteY585" fmla="*/ 179919 h 425637"/>
              <a:gd name="connsiteX586" fmla="*/ 91065 w 689291"/>
              <a:gd name="connsiteY586" fmla="*/ 172594 h 425637"/>
              <a:gd name="connsiteX587" fmla="*/ 84457 w 689291"/>
              <a:gd name="connsiteY587" fmla="*/ 179652 h 425637"/>
              <a:gd name="connsiteX588" fmla="*/ 84457 w 689291"/>
              <a:gd name="connsiteY588" fmla="*/ 194429 h 425637"/>
              <a:gd name="connsiteX589" fmla="*/ 91791 w 689291"/>
              <a:gd name="connsiteY589" fmla="*/ 201207 h 425637"/>
              <a:gd name="connsiteX590" fmla="*/ 98304 w 689291"/>
              <a:gd name="connsiteY590" fmla="*/ 194695 h 425637"/>
              <a:gd name="connsiteX591" fmla="*/ 98304 w 689291"/>
              <a:gd name="connsiteY591" fmla="*/ 179919 h 425637"/>
              <a:gd name="connsiteX592" fmla="*/ 448610 w 689291"/>
              <a:gd name="connsiteY592" fmla="*/ 172264 h 425637"/>
              <a:gd name="connsiteX593" fmla="*/ 441695 w 689291"/>
              <a:gd name="connsiteY593" fmla="*/ 179652 h 425637"/>
              <a:gd name="connsiteX594" fmla="*/ 441695 w 689291"/>
              <a:gd name="connsiteY594" fmla="*/ 194429 h 425637"/>
              <a:gd name="connsiteX595" fmla="*/ 449083 w 689291"/>
              <a:gd name="connsiteY595" fmla="*/ 201259 h 425637"/>
              <a:gd name="connsiteX596" fmla="*/ 455913 w 689291"/>
              <a:gd name="connsiteY596" fmla="*/ 194429 h 425637"/>
              <a:gd name="connsiteX597" fmla="*/ 455913 w 689291"/>
              <a:gd name="connsiteY597" fmla="*/ 179652 h 425637"/>
              <a:gd name="connsiteX598" fmla="*/ 448610 w 689291"/>
              <a:gd name="connsiteY598" fmla="*/ 172264 h 425637"/>
              <a:gd name="connsiteX599" fmla="*/ 360942 w 689291"/>
              <a:gd name="connsiteY599" fmla="*/ 172264 h 425637"/>
              <a:gd name="connsiteX600" fmla="*/ 354026 w 689291"/>
              <a:gd name="connsiteY600" fmla="*/ 179652 h 425637"/>
              <a:gd name="connsiteX601" fmla="*/ 354026 w 689291"/>
              <a:gd name="connsiteY601" fmla="*/ 194429 h 425637"/>
              <a:gd name="connsiteX602" fmla="*/ 361415 w 689291"/>
              <a:gd name="connsiteY602" fmla="*/ 201259 h 425637"/>
              <a:gd name="connsiteX603" fmla="*/ 368245 w 689291"/>
              <a:gd name="connsiteY603" fmla="*/ 194429 h 425637"/>
              <a:gd name="connsiteX604" fmla="*/ 368245 w 689291"/>
              <a:gd name="connsiteY604" fmla="*/ 179652 h 425637"/>
              <a:gd name="connsiteX605" fmla="*/ 360942 w 689291"/>
              <a:gd name="connsiteY605" fmla="*/ 172264 h 425637"/>
              <a:gd name="connsiteX606" fmla="*/ 273272 w 689291"/>
              <a:gd name="connsiteY606" fmla="*/ 172264 h 425637"/>
              <a:gd name="connsiteX607" fmla="*/ 266356 w 689291"/>
              <a:gd name="connsiteY607" fmla="*/ 179652 h 425637"/>
              <a:gd name="connsiteX608" fmla="*/ 266356 w 689291"/>
              <a:gd name="connsiteY608" fmla="*/ 194429 h 425637"/>
              <a:gd name="connsiteX609" fmla="*/ 273744 w 689291"/>
              <a:gd name="connsiteY609" fmla="*/ 201259 h 425637"/>
              <a:gd name="connsiteX610" fmla="*/ 280574 w 689291"/>
              <a:gd name="connsiteY610" fmla="*/ 194429 h 425637"/>
              <a:gd name="connsiteX611" fmla="*/ 280574 w 689291"/>
              <a:gd name="connsiteY611" fmla="*/ 179652 h 425637"/>
              <a:gd name="connsiteX612" fmla="*/ 273272 w 689291"/>
              <a:gd name="connsiteY612" fmla="*/ 172264 h 425637"/>
              <a:gd name="connsiteX613" fmla="*/ 537676 w 689291"/>
              <a:gd name="connsiteY613" fmla="*/ 171898 h 425637"/>
              <a:gd name="connsiteX614" fmla="*/ 530760 w 689291"/>
              <a:gd name="connsiteY614" fmla="*/ 179286 h 425637"/>
              <a:gd name="connsiteX615" fmla="*/ 530760 w 689291"/>
              <a:gd name="connsiteY615" fmla="*/ 194062 h 425637"/>
              <a:gd name="connsiteX616" fmla="*/ 538148 w 689291"/>
              <a:gd name="connsiteY616" fmla="*/ 200892 h 425637"/>
              <a:gd name="connsiteX617" fmla="*/ 544977 w 689291"/>
              <a:gd name="connsiteY617" fmla="*/ 194062 h 425637"/>
              <a:gd name="connsiteX618" fmla="*/ 544977 w 689291"/>
              <a:gd name="connsiteY618" fmla="*/ 179286 h 425637"/>
              <a:gd name="connsiteX619" fmla="*/ 537676 w 689291"/>
              <a:gd name="connsiteY619" fmla="*/ 171898 h 425637"/>
              <a:gd name="connsiteX620" fmla="*/ 613467 w 689291"/>
              <a:gd name="connsiteY620" fmla="*/ 165724 h 425637"/>
              <a:gd name="connsiteX621" fmla="*/ 618431 w 689291"/>
              <a:gd name="connsiteY621" fmla="*/ 191073 h 425637"/>
              <a:gd name="connsiteX622" fmla="*/ 618431 w 689291"/>
              <a:gd name="connsiteY622" fmla="*/ 194062 h 425637"/>
              <a:gd name="connsiteX623" fmla="*/ 619146 w 689291"/>
              <a:gd name="connsiteY623" fmla="*/ 194723 h 425637"/>
              <a:gd name="connsiteX624" fmla="*/ 622303 w 689291"/>
              <a:gd name="connsiteY624" fmla="*/ 210848 h 425637"/>
              <a:gd name="connsiteX625" fmla="*/ 613136 w 689291"/>
              <a:gd name="connsiteY625" fmla="*/ 207126 h 425637"/>
              <a:gd name="connsiteX626" fmla="*/ 607090 w 689291"/>
              <a:gd name="connsiteY626" fmla="*/ 194535 h 425637"/>
              <a:gd name="connsiteX627" fmla="*/ 607047 w 689291"/>
              <a:gd name="connsiteY627" fmla="*/ 179286 h 425637"/>
              <a:gd name="connsiteX628" fmla="*/ 612615 w 689291"/>
              <a:gd name="connsiteY628" fmla="*/ 166083 h 425637"/>
              <a:gd name="connsiteX629" fmla="*/ 449083 w 689291"/>
              <a:gd name="connsiteY629" fmla="*/ 160881 h 425637"/>
              <a:gd name="connsiteX630" fmla="*/ 467296 w 689291"/>
              <a:gd name="connsiteY630" fmla="*/ 179652 h 425637"/>
              <a:gd name="connsiteX631" fmla="*/ 467296 w 689291"/>
              <a:gd name="connsiteY631" fmla="*/ 194429 h 425637"/>
              <a:gd name="connsiteX632" fmla="*/ 449083 w 689291"/>
              <a:gd name="connsiteY632" fmla="*/ 212641 h 425637"/>
              <a:gd name="connsiteX633" fmla="*/ 430355 w 689291"/>
              <a:gd name="connsiteY633" fmla="*/ 194901 h 425637"/>
              <a:gd name="connsiteX634" fmla="*/ 430312 w 689291"/>
              <a:gd name="connsiteY634" fmla="*/ 179652 h 425637"/>
              <a:gd name="connsiteX635" fmla="*/ 449083 w 689291"/>
              <a:gd name="connsiteY635" fmla="*/ 160881 h 425637"/>
              <a:gd name="connsiteX636" fmla="*/ 361415 w 689291"/>
              <a:gd name="connsiteY636" fmla="*/ 160881 h 425637"/>
              <a:gd name="connsiteX637" fmla="*/ 379628 w 689291"/>
              <a:gd name="connsiteY637" fmla="*/ 179652 h 425637"/>
              <a:gd name="connsiteX638" fmla="*/ 379628 w 689291"/>
              <a:gd name="connsiteY638" fmla="*/ 194429 h 425637"/>
              <a:gd name="connsiteX639" fmla="*/ 361415 w 689291"/>
              <a:gd name="connsiteY639" fmla="*/ 212641 h 425637"/>
              <a:gd name="connsiteX640" fmla="*/ 342687 w 689291"/>
              <a:gd name="connsiteY640" fmla="*/ 194901 h 425637"/>
              <a:gd name="connsiteX641" fmla="*/ 342644 w 689291"/>
              <a:gd name="connsiteY641" fmla="*/ 179652 h 425637"/>
              <a:gd name="connsiteX642" fmla="*/ 361415 w 689291"/>
              <a:gd name="connsiteY642" fmla="*/ 160881 h 425637"/>
              <a:gd name="connsiteX643" fmla="*/ 273744 w 689291"/>
              <a:gd name="connsiteY643" fmla="*/ 160881 h 425637"/>
              <a:gd name="connsiteX644" fmla="*/ 291956 w 689291"/>
              <a:gd name="connsiteY644" fmla="*/ 179652 h 425637"/>
              <a:gd name="connsiteX645" fmla="*/ 291956 w 689291"/>
              <a:gd name="connsiteY645" fmla="*/ 194429 h 425637"/>
              <a:gd name="connsiteX646" fmla="*/ 273744 w 689291"/>
              <a:gd name="connsiteY646" fmla="*/ 212641 h 425637"/>
              <a:gd name="connsiteX647" fmla="*/ 255017 w 689291"/>
              <a:gd name="connsiteY647" fmla="*/ 194901 h 425637"/>
              <a:gd name="connsiteX648" fmla="*/ 254974 w 689291"/>
              <a:gd name="connsiteY648" fmla="*/ 179652 h 425637"/>
              <a:gd name="connsiteX649" fmla="*/ 273744 w 689291"/>
              <a:gd name="connsiteY649" fmla="*/ 160881 h 425637"/>
              <a:gd name="connsiteX650" fmla="*/ 179514 w 689291"/>
              <a:gd name="connsiteY650" fmla="*/ 160881 h 425637"/>
              <a:gd name="connsiteX651" fmla="*/ 197726 w 689291"/>
              <a:gd name="connsiteY651" fmla="*/ 179652 h 425637"/>
              <a:gd name="connsiteX652" fmla="*/ 197726 w 689291"/>
              <a:gd name="connsiteY652" fmla="*/ 194429 h 425637"/>
              <a:gd name="connsiteX653" fmla="*/ 192390 w 689291"/>
              <a:gd name="connsiteY653" fmla="*/ 207304 h 425637"/>
              <a:gd name="connsiteX654" fmla="*/ 192075 w 689291"/>
              <a:gd name="connsiteY654" fmla="*/ 207434 h 425637"/>
              <a:gd name="connsiteX655" fmla="*/ 192018 w 689291"/>
              <a:gd name="connsiteY655" fmla="*/ 207570 h 425637"/>
              <a:gd name="connsiteX656" fmla="*/ 179143 w 689291"/>
              <a:gd name="connsiteY656" fmla="*/ 212908 h 425637"/>
              <a:gd name="connsiteX657" fmla="*/ 160414 w 689291"/>
              <a:gd name="connsiteY657" fmla="*/ 195168 h 425637"/>
              <a:gd name="connsiteX658" fmla="*/ 160372 w 689291"/>
              <a:gd name="connsiteY658" fmla="*/ 179919 h 425637"/>
              <a:gd name="connsiteX659" fmla="*/ 165940 w 689291"/>
              <a:gd name="connsiteY659" fmla="*/ 166716 h 425637"/>
              <a:gd name="connsiteX660" fmla="*/ 166255 w 689291"/>
              <a:gd name="connsiteY660" fmla="*/ 166583 h 425637"/>
              <a:gd name="connsiteX661" fmla="*/ 166311 w 689291"/>
              <a:gd name="connsiteY661" fmla="*/ 166448 h 425637"/>
              <a:gd name="connsiteX662" fmla="*/ 179514 w 689291"/>
              <a:gd name="connsiteY662" fmla="*/ 160881 h 425637"/>
              <a:gd name="connsiteX663" fmla="*/ 91846 w 689291"/>
              <a:gd name="connsiteY663" fmla="*/ 160881 h 425637"/>
              <a:gd name="connsiteX664" fmla="*/ 110059 w 689291"/>
              <a:gd name="connsiteY664" fmla="*/ 179652 h 425637"/>
              <a:gd name="connsiteX665" fmla="*/ 110059 w 689291"/>
              <a:gd name="connsiteY665" fmla="*/ 194429 h 425637"/>
              <a:gd name="connsiteX666" fmla="*/ 104722 w 689291"/>
              <a:gd name="connsiteY666" fmla="*/ 207304 h 425637"/>
              <a:gd name="connsiteX667" fmla="*/ 104406 w 689291"/>
              <a:gd name="connsiteY667" fmla="*/ 207434 h 425637"/>
              <a:gd name="connsiteX668" fmla="*/ 104350 w 689291"/>
              <a:gd name="connsiteY668" fmla="*/ 207570 h 425637"/>
              <a:gd name="connsiteX669" fmla="*/ 91474 w 689291"/>
              <a:gd name="connsiteY669" fmla="*/ 212908 h 425637"/>
              <a:gd name="connsiteX670" fmla="*/ 72747 w 689291"/>
              <a:gd name="connsiteY670" fmla="*/ 195168 h 425637"/>
              <a:gd name="connsiteX671" fmla="*/ 72738 w 689291"/>
              <a:gd name="connsiteY671" fmla="*/ 191940 h 425637"/>
              <a:gd name="connsiteX672" fmla="*/ 77195 w 689291"/>
              <a:gd name="connsiteY672" fmla="*/ 169269 h 425637"/>
              <a:gd name="connsiteX673" fmla="*/ 78271 w 689291"/>
              <a:gd name="connsiteY673" fmla="*/ 166716 h 425637"/>
              <a:gd name="connsiteX674" fmla="*/ 78587 w 689291"/>
              <a:gd name="connsiteY674" fmla="*/ 166583 h 425637"/>
              <a:gd name="connsiteX675" fmla="*/ 78643 w 689291"/>
              <a:gd name="connsiteY675" fmla="*/ 166448 h 425637"/>
              <a:gd name="connsiteX676" fmla="*/ 91846 w 689291"/>
              <a:gd name="connsiteY676" fmla="*/ 160881 h 425637"/>
              <a:gd name="connsiteX677" fmla="*/ 492640 w 689291"/>
              <a:gd name="connsiteY677" fmla="*/ 160662 h 425637"/>
              <a:gd name="connsiteX678" fmla="*/ 499041 w 689291"/>
              <a:gd name="connsiteY678" fmla="*/ 167063 h 425637"/>
              <a:gd name="connsiteX679" fmla="*/ 499041 w 689291"/>
              <a:gd name="connsiteY679" fmla="*/ 205850 h 425637"/>
              <a:gd name="connsiteX680" fmla="*/ 492640 w 689291"/>
              <a:gd name="connsiteY680" fmla="*/ 212250 h 425637"/>
              <a:gd name="connsiteX681" fmla="*/ 486240 w 689291"/>
              <a:gd name="connsiteY681" fmla="*/ 205850 h 425637"/>
              <a:gd name="connsiteX682" fmla="*/ 486240 w 689291"/>
              <a:gd name="connsiteY682" fmla="*/ 167063 h 425637"/>
              <a:gd name="connsiteX683" fmla="*/ 492640 w 689291"/>
              <a:gd name="connsiteY683" fmla="*/ 160662 h 425637"/>
              <a:gd name="connsiteX684" fmla="*/ 404969 w 689291"/>
              <a:gd name="connsiteY684" fmla="*/ 160662 h 425637"/>
              <a:gd name="connsiteX685" fmla="*/ 411370 w 689291"/>
              <a:gd name="connsiteY685" fmla="*/ 167063 h 425637"/>
              <a:gd name="connsiteX686" fmla="*/ 411370 w 689291"/>
              <a:gd name="connsiteY686" fmla="*/ 205850 h 425637"/>
              <a:gd name="connsiteX687" fmla="*/ 404969 w 689291"/>
              <a:gd name="connsiteY687" fmla="*/ 212250 h 425637"/>
              <a:gd name="connsiteX688" fmla="*/ 398569 w 689291"/>
              <a:gd name="connsiteY688" fmla="*/ 205850 h 425637"/>
              <a:gd name="connsiteX689" fmla="*/ 398569 w 689291"/>
              <a:gd name="connsiteY689" fmla="*/ 167063 h 425637"/>
              <a:gd name="connsiteX690" fmla="*/ 404969 w 689291"/>
              <a:gd name="connsiteY690" fmla="*/ 160662 h 425637"/>
              <a:gd name="connsiteX691" fmla="*/ 317298 w 689291"/>
              <a:gd name="connsiteY691" fmla="*/ 160662 h 425637"/>
              <a:gd name="connsiteX692" fmla="*/ 323699 w 689291"/>
              <a:gd name="connsiteY692" fmla="*/ 167063 h 425637"/>
              <a:gd name="connsiteX693" fmla="*/ 323699 w 689291"/>
              <a:gd name="connsiteY693" fmla="*/ 205850 h 425637"/>
              <a:gd name="connsiteX694" fmla="*/ 317298 w 689291"/>
              <a:gd name="connsiteY694" fmla="*/ 212250 h 425637"/>
              <a:gd name="connsiteX695" fmla="*/ 310898 w 689291"/>
              <a:gd name="connsiteY695" fmla="*/ 205850 h 425637"/>
              <a:gd name="connsiteX696" fmla="*/ 310898 w 689291"/>
              <a:gd name="connsiteY696" fmla="*/ 167063 h 425637"/>
              <a:gd name="connsiteX697" fmla="*/ 317298 w 689291"/>
              <a:gd name="connsiteY697" fmla="*/ 160662 h 425637"/>
              <a:gd name="connsiteX698" fmla="*/ 223070 w 689291"/>
              <a:gd name="connsiteY698" fmla="*/ 160662 h 425637"/>
              <a:gd name="connsiteX699" fmla="*/ 229471 w 689291"/>
              <a:gd name="connsiteY699" fmla="*/ 167063 h 425637"/>
              <a:gd name="connsiteX700" fmla="*/ 229471 w 689291"/>
              <a:gd name="connsiteY700" fmla="*/ 205850 h 425637"/>
              <a:gd name="connsiteX701" fmla="*/ 223070 w 689291"/>
              <a:gd name="connsiteY701" fmla="*/ 212250 h 425637"/>
              <a:gd name="connsiteX702" fmla="*/ 223018 w 689291"/>
              <a:gd name="connsiteY702" fmla="*/ 212198 h 425637"/>
              <a:gd name="connsiteX703" fmla="*/ 222699 w 689291"/>
              <a:gd name="connsiteY703" fmla="*/ 212517 h 425637"/>
              <a:gd name="connsiteX704" fmla="*/ 216299 w 689291"/>
              <a:gd name="connsiteY704" fmla="*/ 206117 h 425637"/>
              <a:gd name="connsiteX705" fmla="*/ 216299 w 689291"/>
              <a:gd name="connsiteY705" fmla="*/ 167329 h 425637"/>
              <a:gd name="connsiteX706" fmla="*/ 222699 w 689291"/>
              <a:gd name="connsiteY706" fmla="*/ 160929 h 425637"/>
              <a:gd name="connsiteX707" fmla="*/ 222752 w 689291"/>
              <a:gd name="connsiteY707" fmla="*/ 160981 h 425637"/>
              <a:gd name="connsiteX708" fmla="*/ 135400 w 689291"/>
              <a:gd name="connsiteY708" fmla="*/ 160662 h 425637"/>
              <a:gd name="connsiteX709" fmla="*/ 141801 w 689291"/>
              <a:gd name="connsiteY709" fmla="*/ 167063 h 425637"/>
              <a:gd name="connsiteX710" fmla="*/ 141801 w 689291"/>
              <a:gd name="connsiteY710" fmla="*/ 205850 h 425637"/>
              <a:gd name="connsiteX711" fmla="*/ 135400 w 689291"/>
              <a:gd name="connsiteY711" fmla="*/ 212250 h 425637"/>
              <a:gd name="connsiteX712" fmla="*/ 135347 w 689291"/>
              <a:gd name="connsiteY712" fmla="*/ 212198 h 425637"/>
              <a:gd name="connsiteX713" fmla="*/ 135028 w 689291"/>
              <a:gd name="connsiteY713" fmla="*/ 212517 h 425637"/>
              <a:gd name="connsiteX714" fmla="*/ 128628 w 689291"/>
              <a:gd name="connsiteY714" fmla="*/ 206117 h 425637"/>
              <a:gd name="connsiteX715" fmla="*/ 128628 w 689291"/>
              <a:gd name="connsiteY715" fmla="*/ 167329 h 425637"/>
              <a:gd name="connsiteX716" fmla="*/ 135028 w 689291"/>
              <a:gd name="connsiteY716" fmla="*/ 160929 h 425637"/>
              <a:gd name="connsiteX717" fmla="*/ 135080 w 689291"/>
              <a:gd name="connsiteY717" fmla="*/ 160981 h 425637"/>
              <a:gd name="connsiteX718" fmla="*/ 538148 w 689291"/>
              <a:gd name="connsiteY718" fmla="*/ 160515 h 425637"/>
              <a:gd name="connsiteX719" fmla="*/ 556361 w 689291"/>
              <a:gd name="connsiteY719" fmla="*/ 179286 h 425637"/>
              <a:gd name="connsiteX720" fmla="*/ 556361 w 689291"/>
              <a:gd name="connsiteY720" fmla="*/ 194062 h 425637"/>
              <a:gd name="connsiteX721" fmla="*/ 538148 w 689291"/>
              <a:gd name="connsiteY721" fmla="*/ 212275 h 425637"/>
              <a:gd name="connsiteX722" fmla="*/ 519420 w 689291"/>
              <a:gd name="connsiteY722" fmla="*/ 194535 h 425637"/>
              <a:gd name="connsiteX723" fmla="*/ 519377 w 689291"/>
              <a:gd name="connsiteY723" fmla="*/ 179286 h 425637"/>
              <a:gd name="connsiteX724" fmla="*/ 538148 w 689291"/>
              <a:gd name="connsiteY724" fmla="*/ 160515 h 425637"/>
              <a:gd name="connsiteX725" fmla="*/ 581702 w 689291"/>
              <a:gd name="connsiteY725" fmla="*/ 160296 h 425637"/>
              <a:gd name="connsiteX726" fmla="*/ 588102 w 689291"/>
              <a:gd name="connsiteY726" fmla="*/ 166696 h 425637"/>
              <a:gd name="connsiteX727" fmla="*/ 588102 w 689291"/>
              <a:gd name="connsiteY727" fmla="*/ 205485 h 425637"/>
              <a:gd name="connsiteX728" fmla="*/ 581702 w 689291"/>
              <a:gd name="connsiteY728" fmla="*/ 211884 h 425637"/>
              <a:gd name="connsiteX729" fmla="*/ 575301 w 689291"/>
              <a:gd name="connsiteY729" fmla="*/ 205485 h 425637"/>
              <a:gd name="connsiteX730" fmla="*/ 575301 w 689291"/>
              <a:gd name="connsiteY730" fmla="*/ 166696 h 425637"/>
              <a:gd name="connsiteX731" fmla="*/ 581702 w 689291"/>
              <a:gd name="connsiteY731" fmla="*/ 160296 h 425637"/>
              <a:gd name="connsiteX732" fmla="*/ 85915 w 689291"/>
              <a:gd name="connsiteY732" fmla="*/ 128342 h 425637"/>
              <a:gd name="connsiteX733" fmla="*/ 85915 w 689291"/>
              <a:gd name="connsiteY733" fmla="*/ 141332 h 425637"/>
              <a:gd name="connsiteX734" fmla="*/ 81890 w 689291"/>
              <a:gd name="connsiteY734" fmla="*/ 145384 h 425637"/>
              <a:gd name="connsiteX735" fmla="*/ 84953 w 689291"/>
              <a:gd name="connsiteY735" fmla="*/ 129803 h 425637"/>
              <a:gd name="connsiteX736" fmla="*/ 210384 w 689291"/>
              <a:gd name="connsiteY736" fmla="*/ 107506 h 425637"/>
              <a:gd name="connsiteX737" fmla="*/ 203870 w 689291"/>
              <a:gd name="connsiteY737" fmla="*/ 114018 h 425637"/>
              <a:gd name="connsiteX738" fmla="*/ 203870 w 689291"/>
              <a:gd name="connsiteY738" fmla="*/ 128794 h 425637"/>
              <a:gd name="connsiteX739" fmla="*/ 211111 w 689291"/>
              <a:gd name="connsiteY739" fmla="*/ 136119 h 425637"/>
              <a:gd name="connsiteX740" fmla="*/ 217717 w 689291"/>
              <a:gd name="connsiteY740" fmla="*/ 129060 h 425637"/>
              <a:gd name="connsiteX741" fmla="*/ 217717 w 689291"/>
              <a:gd name="connsiteY741" fmla="*/ 114285 h 425637"/>
              <a:gd name="connsiteX742" fmla="*/ 122714 w 689291"/>
              <a:gd name="connsiteY742" fmla="*/ 107506 h 425637"/>
              <a:gd name="connsiteX743" fmla="*/ 116200 w 689291"/>
              <a:gd name="connsiteY743" fmla="*/ 114018 h 425637"/>
              <a:gd name="connsiteX744" fmla="*/ 116200 w 689291"/>
              <a:gd name="connsiteY744" fmla="*/ 128794 h 425637"/>
              <a:gd name="connsiteX745" fmla="*/ 123439 w 689291"/>
              <a:gd name="connsiteY745" fmla="*/ 136119 h 425637"/>
              <a:gd name="connsiteX746" fmla="*/ 130047 w 689291"/>
              <a:gd name="connsiteY746" fmla="*/ 129060 h 425637"/>
              <a:gd name="connsiteX747" fmla="*/ 130047 w 689291"/>
              <a:gd name="connsiteY747" fmla="*/ 114285 h 425637"/>
              <a:gd name="connsiteX748" fmla="*/ 480270 w 689291"/>
              <a:gd name="connsiteY748" fmla="*/ 107188 h 425637"/>
              <a:gd name="connsiteX749" fmla="*/ 473440 w 689291"/>
              <a:gd name="connsiteY749" fmla="*/ 114018 h 425637"/>
              <a:gd name="connsiteX750" fmla="*/ 473440 w 689291"/>
              <a:gd name="connsiteY750" fmla="*/ 128794 h 425637"/>
              <a:gd name="connsiteX751" fmla="*/ 480743 w 689291"/>
              <a:gd name="connsiteY751" fmla="*/ 136183 h 425637"/>
              <a:gd name="connsiteX752" fmla="*/ 487659 w 689291"/>
              <a:gd name="connsiteY752" fmla="*/ 128794 h 425637"/>
              <a:gd name="connsiteX753" fmla="*/ 487659 w 689291"/>
              <a:gd name="connsiteY753" fmla="*/ 114018 h 425637"/>
              <a:gd name="connsiteX754" fmla="*/ 480270 w 689291"/>
              <a:gd name="connsiteY754" fmla="*/ 107188 h 425637"/>
              <a:gd name="connsiteX755" fmla="*/ 392599 w 689291"/>
              <a:gd name="connsiteY755" fmla="*/ 107188 h 425637"/>
              <a:gd name="connsiteX756" fmla="*/ 385769 w 689291"/>
              <a:gd name="connsiteY756" fmla="*/ 114018 h 425637"/>
              <a:gd name="connsiteX757" fmla="*/ 385769 w 689291"/>
              <a:gd name="connsiteY757" fmla="*/ 128794 h 425637"/>
              <a:gd name="connsiteX758" fmla="*/ 393071 w 689291"/>
              <a:gd name="connsiteY758" fmla="*/ 136183 h 425637"/>
              <a:gd name="connsiteX759" fmla="*/ 399987 w 689291"/>
              <a:gd name="connsiteY759" fmla="*/ 128794 h 425637"/>
              <a:gd name="connsiteX760" fmla="*/ 399987 w 689291"/>
              <a:gd name="connsiteY760" fmla="*/ 114018 h 425637"/>
              <a:gd name="connsiteX761" fmla="*/ 392599 w 689291"/>
              <a:gd name="connsiteY761" fmla="*/ 107188 h 425637"/>
              <a:gd name="connsiteX762" fmla="*/ 304971 w 689291"/>
              <a:gd name="connsiteY762" fmla="*/ 107188 h 425637"/>
              <a:gd name="connsiteX763" fmla="*/ 298141 w 689291"/>
              <a:gd name="connsiteY763" fmla="*/ 114018 h 425637"/>
              <a:gd name="connsiteX764" fmla="*/ 298141 w 689291"/>
              <a:gd name="connsiteY764" fmla="*/ 128794 h 425637"/>
              <a:gd name="connsiteX765" fmla="*/ 305444 w 689291"/>
              <a:gd name="connsiteY765" fmla="*/ 136183 h 425637"/>
              <a:gd name="connsiteX766" fmla="*/ 312359 w 689291"/>
              <a:gd name="connsiteY766" fmla="*/ 128794 h 425637"/>
              <a:gd name="connsiteX767" fmla="*/ 312359 w 689291"/>
              <a:gd name="connsiteY767" fmla="*/ 114018 h 425637"/>
              <a:gd name="connsiteX768" fmla="*/ 304971 w 689291"/>
              <a:gd name="connsiteY768" fmla="*/ 107188 h 425637"/>
              <a:gd name="connsiteX769" fmla="*/ 569375 w 689291"/>
              <a:gd name="connsiteY769" fmla="*/ 106823 h 425637"/>
              <a:gd name="connsiteX770" fmla="*/ 562546 w 689291"/>
              <a:gd name="connsiteY770" fmla="*/ 113653 h 425637"/>
              <a:gd name="connsiteX771" fmla="*/ 562546 w 689291"/>
              <a:gd name="connsiteY771" fmla="*/ 128428 h 425637"/>
              <a:gd name="connsiteX772" fmla="*/ 569847 w 689291"/>
              <a:gd name="connsiteY772" fmla="*/ 135816 h 425637"/>
              <a:gd name="connsiteX773" fmla="*/ 576763 w 689291"/>
              <a:gd name="connsiteY773" fmla="*/ 128428 h 425637"/>
              <a:gd name="connsiteX774" fmla="*/ 576763 w 689291"/>
              <a:gd name="connsiteY774" fmla="*/ 113653 h 425637"/>
              <a:gd name="connsiteX775" fmla="*/ 569375 w 689291"/>
              <a:gd name="connsiteY775" fmla="*/ 106823 h 425637"/>
              <a:gd name="connsiteX776" fmla="*/ 562281 w 689291"/>
              <a:gd name="connsiteY776" fmla="*/ 98380 h 425637"/>
              <a:gd name="connsiteX777" fmla="*/ 582211 w 689291"/>
              <a:gd name="connsiteY777" fmla="*/ 112182 h 425637"/>
              <a:gd name="connsiteX778" fmla="*/ 588126 w 689291"/>
              <a:gd name="connsiteY778" fmla="*/ 121211 h 425637"/>
              <a:gd name="connsiteX779" fmla="*/ 588146 w 689291"/>
              <a:gd name="connsiteY779" fmla="*/ 128428 h 425637"/>
              <a:gd name="connsiteX780" fmla="*/ 569375 w 689291"/>
              <a:gd name="connsiteY780" fmla="*/ 147199 h 425637"/>
              <a:gd name="connsiteX781" fmla="*/ 551162 w 689291"/>
              <a:gd name="connsiteY781" fmla="*/ 128428 h 425637"/>
              <a:gd name="connsiteX782" fmla="*/ 551162 w 689291"/>
              <a:gd name="connsiteY782" fmla="*/ 113653 h 425637"/>
              <a:gd name="connsiteX783" fmla="*/ 556499 w 689291"/>
              <a:gd name="connsiteY783" fmla="*/ 100777 h 425637"/>
              <a:gd name="connsiteX784" fmla="*/ 436712 w 689291"/>
              <a:gd name="connsiteY784" fmla="*/ 96145 h 425637"/>
              <a:gd name="connsiteX785" fmla="*/ 443112 w 689291"/>
              <a:gd name="connsiteY785" fmla="*/ 102545 h 425637"/>
              <a:gd name="connsiteX786" fmla="*/ 443112 w 689291"/>
              <a:gd name="connsiteY786" fmla="*/ 141332 h 425637"/>
              <a:gd name="connsiteX787" fmla="*/ 436712 w 689291"/>
              <a:gd name="connsiteY787" fmla="*/ 147776 h 425637"/>
              <a:gd name="connsiteX788" fmla="*/ 430312 w 689291"/>
              <a:gd name="connsiteY788" fmla="*/ 141375 h 425637"/>
              <a:gd name="connsiteX789" fmla="*/ 430312 w 689291"/>
              <a:gd name="connsiteY789" fmla="*/ 102545 h 425637"/>
              <a:gd name="connsiteX790" fmla="*/ 436712 w 689291"/>
              <a:gd name="connsiteY790" fmla="*/ 96145 h 425637"/>
              <a:gd name="connsiteX791" fmla="*/ 349084 w 689291"/>
              <a:gd name="connsiteY791" fmla="*/ 96145 h 425637"/>
              <a:gd name="connsiteX792" fmla="*/ 355484 w 689291"/>
              <a:gd name="connsiteY792" fmla="*/ 102545 h 425637"/>
              <a:gd name="connsiteX793" fmla="*/ 355484 w 689291"/>
              <a:gd name="connsiteY793" fmla="*/ 141332 h 425637"/>
              <a:gd name="connsiteX794" fmla="*/ 349084 w 689291"/>
              <a:gd name="connsiteY794" fmla="*/ 147776 h 425637"/>
              <a:gd name="connsiteX795" fmla="*/ 342684 w 689291"/>
              <a:gd name="connsiteY795" fmla="*/ 141375 h 425637"/>
              <a:gd name="connsiteX796" fmla="*/ 342684 w 689291"/>
              <a:gd name="connsiteY796" fmla="*/ 102545 h 425637"/>
              <a:gd name="connsiteX797" fmla="*/ 349084 w 689291"/>
              <a:gd name="connsiteY797" fmla="*/ 96145 h 425637"/>
              <a:gd name="connsiteX798" fmla="*/ 261413 w 689291"/>
              <a:gd name="connsiteY798" fmla="*/ 96145 h 425637"/>
              <a:gd name="connsiteX799" fmla="*/ 267813 w 689291"/>
              <a:gd name="connsiteY799" fmla="*/ 102545 h 425637"/>
              <a:gd name="connsiteX800" fmla="*/ 267813 w 689291"/>
              <a:gd name="connsiteY800" fmla="*/ 141332 h 425637"/>
              <a:gd name="connsiteX801" fmla="*/ 261413 w 689291"/>
              <a:gd name="connsiteY801" fmla="*/ 147776 h 425637"/>
              <a:gd name="connsiteX802" fmla="*/ 255013 w 689291"/>
              <a:gd name="connsiteY802" fmla="*/ 141375 h 425637"/>
              <a:gd name="connsiteX803" fmla="*/ 255013 w 689291"/>
              <a:gd name="connsiteY803" fmla="*/ 102545 h 425637"/>
              <a:gd name="connsiteX804" fmla="*/ 261413 w 689291"/>
              <a:gd name="connsiteY804" fmla="*/ 96145 h 425637"/>
              <a:gd name="connsiteX805" fmla="*/ 167143 w 689291"/>
              <a:gd name="connsiteY805" fmla="*/ 96145 h 425637"/>
              <a:gd name="connsiteX806" fmla="*/ 173543 w 689291"/>
              <a:gd name="connsiteY806" fmla="*/ 102545 h 425637"/>
              <a:gd name="connsiteX807" fmla="*/ 173543 w 689291"/>
              <a:gd name="connsiteY807" fmla="*/ 141332 h 425637"/>
              <a:gd name="connsiteX808" fmla="*/ 167143 w 689291"/>
              <a:gd name="connsiteY808" fmla="*/ 147776 h 425637"/>
              <a:gd name="connsiteX809" fmla="*/ 167089 w 689291"/>
              <a:gd name="connsiteY809" fmla="*/ 147722 h 425637"/>
              <a:gd name="connsiteX810" fmla="*/ 166772 w 689291"/>
              <a:gd name="connsiteY810" fmla="*/ 148042 h 425637"/>
              <a:gd name="connsiteX811" fmla="*/ 160372 w 689291"/>
              <a:gd name="connsiteY811" fmla="*/ 141642 h 425637"/>
              <a:gd name="connsiteX812" fmla="*/ 160372 w 689291"/>
              <a:gd name="connsiteY812" fmla="*/ 102811 h 425637"/>
              <a:gd name="connsiteX813" fmla="*/ 166772 w 689291"/>
              <a:gd name="connsiteY813" fmla="*/ 96411 h 425637"/>
              <a:gd name="connsiteX814" fmla="*/ 166824 w 689291"/>
              <a:gd name="connsiteY814" fmla="*/ 96463 h 425637"/>
              <a:gd name="connsiteX815" fmla="*/ 480313 w 689291"/>
              <a:gd name="connsiteY815" fmla="*/ 95806 h 425637"/>
              <a:gd name="connsiteX816" fmla="*/ 499041 w 689291"/>
              <a:gd name="connsiteY816" fmla="*/ 113546 h 425637"/>
              <a:gd name="connsiteX817" fmla="*/ 499084 w 689291"/>
              <a:gd name="connsiteY817" fmla="*/ 128794 h 425637"/>
              <a:gd name="connsiteX818" fmla="*/ 480313 w 689291"/>
              <a:gd name="connsiteY818" fmla="*/ 147565 h 425637"/>
              <a:gd name="connsiteX819" fmla="*/ 462100 w 689291"/>
              <a:gd name="connsiteY819" fmla="*/ 128794 h 425637"/>
              <a:gd name="connsiteX820" fmla="*/ 462100 w 689291"/>
              <a:gd name="connsiteY820" fmla="*/ 114018 h 425637"/>
              <a:gd name="connsiteX821" fmla="*/ 480313 w 689291"/>
              <a:gd name="connsiteY821" fmla="*/ 95806 h 425637"/>
              <a:gd name="connsiteX822" fmla="*/ 392643 w 689291"/>
              <a:gd name="connsiteY822" fmla="*/ 95806 h 425637"/>
              <a:gd name="connsiteX823" fmla="*/ 411371 w 689291"/>
              <a:gd name="connsiteY823" fmla="*/ 113546 h 425637"/>
              <a:gd name="connsiteX824" fmla="*/ 411414 w 689291"/>
              <a:gd name="connsiteY824" fmla="*/ 128794 h 425637"/>
              <a:gd name="connsiteX825" fmla="*/ 392643 w 689291"/>
              <a:gd name="connsiteY825" fmla="*/ 147565 h 425637"/>
              <a:gd name="connsiteX826" fmla="*/ 374430 w 689291"/>
              <a:gd name="connsiteY826" fmla="*/ 128794 h 425637"/>
              <a:gd name="connsiteX827" fmla="*/ 374430 w 689291"/>
              <a:gd name="connsiteY827" fmla="*/ 114018 h 425637"/>
              <a:gd name="connsiteX828" fmla="*/ 392643 w 689291"/>
              <a:gd name="connsiteY828" fmla="*/ 95806 h 425637"/>
              <a:gd name="connsiteX829" fmla="*/ 304971 w 689291"/>
              <a:gd name="connsiteY829" fmla="*/ 95806 h 425637"/>
              <a:gd name="connsiteX830" fmla="*/ 323700 w 689291"/>
              <a:gd name="connsiteY830" fmla="*/ 113546 h 425637"/>
              <a:gd name="connsiteX831" fmla="*/ 323742 w 689291"/>
              <a:gd name="connsiteY831" fmla="*/ 128794 h 425637"/>
              <a:gd name="connsiteX832" fmla="*/ 304971 w 689291"/>
              <a:gd name="connsiteY832" fmla="*/ 147565 h 425637"/>
              <a:gd name="connsiteX833" fmla="*/ 286759 w 689291"/>
              <a:gd name="connsiteY833" fmla="*/ 128794 h 425637"/>
              <a:gd name="connsiteX834" fmla="*/ 286759 w 689291"/>
              <a:gd name="connsiteY834" fmla="*/ 114018 h 425637"/>
              <a:gd name="connsiteX835" fmla="*/ 304971 w 689291"/>
              <a:gd name="connsiteY835" fmla="*/ 95806 h 425637"/>
              <a:gd name="connsiteX836" fmla="*/ 210744 w 689291"/>
              <a:gd name="connsiteY836" fmla="*/ 95806 h 425637"/>
              <a:gd name="connsiteX837" fmla="*/ 229472 w 689291"/>
              <a:gd name="connsiteY837" fmla="*/ 113546 h 425637"/>
              <a:gd name="connsiteX838" fmla="*/ 229515 w 689291"/>
              <a:gd name="connsiteY838" fmla="*/ 128794 h 425637"/>
              <a:gd name="connsiteX839" fmla="*/ 223947 w 689291"/>
              <a:gd name="connsiteY839" fmla="*/ 141997 h 425637"/>
              <a:gd name="connsiteX840" fmla="*/ 223632 w 689291"/>
              <a:gd name="connsiteY840" fmla="*/ 142130 h 425637"/>
              <a:gd name="connsiteX841" fmla="*/ 223576 w 689291"/>
              <a:gd name="connsiteY841" fmla="*/ 142263 h 425637"/>
              <a:gd name="connsiteX842" fmla="*/ 210373 w 689291"/>
              <a:gd name="connsiteY842" fmla="*/ 147831 h 425637"/>
              <a:gd name="connsiteX843" fmla="*/ 192160 w 689291"/>
              <a:gd name="connsiteY843" fmla="*/ 129060 h 425637"/>
              <a:gd name="connsiteX844" fmla="*/ 192160 w 689291"/>
              <a:gd name="connsiteY844" fmla="*/ 114285 h 425637"/>
              <a:gd name="connsiteX845" fmla="*/ 197497 w 689291"/>
              <a:gd name="connsiteY845" fmla="*/ 101410 h 425637"/>
              <a:gd name="connsiteX846" fmla="*/ 197812 w 689291"/>
              <a:gd name="connsiteY846" fmla="*/ 101279 h 425637"/>
              <a:gd name="connsiteX847" fmla="*/ 197869 w 689291"/>
              <a:gd name="connsiteY847" fmla="*/ 101142 h 425637"/>
              <a:gd name="connsiteX848" fmla="*/ 210744 w 689291"/>
              <a:gd name="connsiteY848" fmla="*/ 95806 h 425637"/>
              <a:gd name="connsiteX849" fmla="*/ 123073 w 689291"/>
              <a:gd name="connsiteY849" fmla="*/ 95806 h 425637"/>
              <a:gd name="connsiteX850" fmla="*/ 141801 w 689291"/>
              <a:gd name="connsiteY850" fmla="*/ 113546 h 425637"/>
              <a:gd name="connsiteX851" fmla="*/ 141844 w 689291"/>
              <a:gd name="connsiteY851" fmla="*/ 128794 h 425637"/>
              <a:gd name="connsiteX852" fmla="*/ 136276 w 689291"/>
              <a:gd name="connsiteY852" fmla="*/ 141997 h 425637"/>
              <a:gd name="connsiteX853" fmla="*/ 135961 w 689291"/>
              <a:gd name="connsiteY853" fmla="*/ 142130 h 425637"/>
              <a:gd name="connsiteX854" fmla="*/ 135904 w 689291"/>
              <a:gd name="connsiteY854" fmla="*/ 142263 h 425637"/>
              <a:gd name="connsiteX855" fmla="*/ 122701 w 689291"/>
              <a:gd name="connsiteY855" fmla="*/ 147831 h 425637"/>
              <a:gd name="connsiteX856" fmla="*/ 104489 w 689291"/>
              <a:gd name="connsiteY856" fmla="*/ 129060 h 425637"/>
              <a:gd name="connsiteX857" fmla="*/ 104489 w 689291"/>
              <a:gd name="connsiteY857" fmla="*/ 114285 h 425637"/>
              <a:gd name="connsiteX858" fmla="*/ 109826 w 689291"/>
              <a:gd name="connsiteY858" fmla="*/ 101410 h 425637"/>
              <a:gd name="connsiteX859" fmla="*/ 110141 w 689291"/>
              <a:gd name="connsiteY859" fmla="*/ 101279 h 425637"/>
              <a:gd name="connsiteX860" fmla="*/ 110197 w 689291"/>
              <a:gd name="connsiteY860" fmla="*/ 101142 h 425637"/>
              <a:gd name="connsiteX861" fmla="*/ 123073 w 689291"/>
              <a:gd name="connsiteY861" fmla="*/ 95806 h 425637"/>
              <a:gd name="connsiteX862" fmla="*/ 525818 w 689291"/>
              <a:gd name="connsiteY862" fmla="*/ 95778 h 425637"/>
              <a:gd name="connsiteX863" fmla="*/ 532218 w 689291"/>
              <a:gd name="connsiteY863" fmla="*/ 102178 h 425637"/>
              <a:gd name="connsiteX864" fmla="*/ 532218 w 689291"/>
              <a:gd name="connsiteY864" fmla="*/ 140966 h 425637"/>
              <a:gd name="connsiteX865" fmla="*/ 525818 w 689291"/>
              <a:gd name="connsiteY865" fmla="*/ 147409 h 425637"/>
              <a:gd name="connsiteX866" fmla="*/ 519417 w 689291"/>
              <a:gd name="connsiteY866" fmla="*/ 141010 h 425637"/>
              <a:gd name="connsiteX867" fmla="*/ 519417 w 689291"/>
              <a:gd name="connsiteY867" fmla="*/ 102178 h 425637"/>
              <a:gd name="connsiteX868" fmla="*/ 525818 w 689291"/>
              <a:gd name="connsiteY868" fmla="*/ 95778 h 425637"/>
              <a:gd name="connsiteX869" fmla="*/ 499147 w 689291"/>
              <a:gd name="connsiteY869" fmla="*/ 73621 h 425637"/>
              <a:gd name="connsiteX870" fmla="*/ 503721 w 689291"/>
              <a:gd name="connsiteY870" fmla="*/ 74567 h 425637"/>
              <a:gd name="connsiteX871" fmla="*/ 505756 w 689291"/>
              <a:gd name="connsiteY871" fmla="*/ 77921 h 425637"/>
              <a:gd name="connsiteX872" fmla="*/ 507642 w 689291"/>
              <a:gd name="connsiteY872" fmla="*/ 84001 h 425637"/>
              <a:gd name="connsiteX873" fmla="*/ 516722 w 689291"/>
              <a:gd name="connsiteY873" fmla="*/ 80678 h 425637"/>
              <a:gd name="connsiteX874" fmla="*/ 517789 w 689291"/>
              <a:gd name="connsiteY874" fmla="*/ 81759 h 425637"/>
              <a:gd name="connsiteX875" fmla="*/ 519884 w 689291"/>
              <a:gd name="connsiteY875" fmla="*/ 79520 h 425637"/>
              <a:gd name="connsiteX876" fmla="*/ 522694 w 689291"/>
              <a:gd name="connsiteY876" fmla="*/ 78492 h 425637"/>
              <a:gd name="connsiteX877" fmla="*/ 533454 w 689291"/>
              <a:gd name="connsiteY877" fmla="*/ 80718 h 425637"/>
              <a:gd name="connsiteX878" fmla="*/ 530564 w 689291"/>
              <a:gd name="connsiteY878" fmla="*/ 87573 h 425637"/>
              <a:gd name="connsiteX879" fmla="*/ 517360 w 689291"/>
              <a:gd name="connsiteY879" fmla="*/ 93141 h 425637"/>
              <a:gd name="connsiteX880" fmla="*/ 499147 w 689291"/>
              <a:gd name="connsiteY880" fmla="*/ 74370 h 425637"/>
              <a:gd name="connsiteX881" fmla="*/ 480203 w 689291"/>
              <a:gd name="connsiteY881" fmla="*/ 71275 h 425637"/>
              <a:gd name="connsiteX882" fmla="*/ 480203 w 689291"/>
              <a:gd name="connsiteY882" fmla="*/ 86948 h 425637"/>
              <a:gd name="connsiteX883" fmla="*/ 473802 w 689291"/>
              <a:gd name="connsiteY883" fmla="*/ 93348 h 425637"/>
              <a:gd name="connsiteX884" fmla="*/ 467402 w 689291"/>
              <a:gd name="connsiteY884" fmla="*/ 86948 h 425637"/>
              <a:gd name="connsiteX885" fmla="*/ 467402 w 689291"/>
              <a:gd name="connsiteY885" fmla="*/ 73698 h 425637"/>
              <a:gd name="connsiteX886" fmla="*/ 133031 w 689291"/>
              <a:gd name="connsiteY886" fmla="*/ 59720 h 425637"/>
              <a:gd name="connsiteX887" fmla="*/ 133031 w 689291"/>
              <a:gd name="connsiteY887" fmla="*/ 85755 h 425637"/>
              <a:gd name="connsiteX888" fmla="*/ 126631 w 689291"/>
              <a:gd name="connsiteY888" fmla="*/ 92155 h 425637"/>
              <a:gd name="connsiteX889" fmla="*/ 120232 w 689291"/>
              <a:gd name="connsiteY889" fmla="*/ 85755 h 425637"/>
              <a:gd name="connsiteX890" fmla="*/ 120232 w 689291"/>
              <a:gd name="connsiteY890" fmla="*/ 76207 h 425637"/>
              <a:gd name="connsiteX891" fmla="*/ 129467 w 689291"/>
              <a:gd name="connsiteY891" fmla="*/ 62176 h 425637"/>
              <a:gd name="connsiteX892" fmla="*/ 413671 w 689291"/>
              <a:gd name="connsiteY892" fmla="*/ 54301 h 425637"/>
              <a:gd name="connsiteX893" fmla="*/ 422860 w 689291"/>
              <a:gd name="connsiteY893" fmla="*/ 63727 h 425637"/>
              <a:gd name="connsiteX894" fmla="*/ 422860 w 689291"/>
              <a:gd name="connsiteY894" fmla="*/ 74370 h 425637"/>
              <a:gd name="connsiteX895" fmla="*/ 430162 w 689291"/>
              <a:gd name="connsiteY895" fmla="*/ 81759 h 425637"/>
              <a:gd name="connsiteX896" fmla="*/ 435196 w 689291"/>
              <a:gd name="connsiteY896" fmla="*/ 76381 h 425637"/>
              <a:gd name="connsiteX897" fmla="*/ 438004 w 689291"/>
              <a:gd name="connsiteY897" fmla="*/ 79261 h 425637"/>
              <a:gd name="connsiteX898" fmla="*/ 447126 w 689291"/>
              <a:gd name="connsiteY898" fmla="*/ 77535 h 425637"/>
              <a:gd name="connsiteX899" fmla="*/ 442893 w 689291"/>
              <a:gd name="connsiteY899" fmla="*/ 87573 h 425637"/>
              <a:gd name="connsiteX900" fmla="*/ 429690 w 689291"/>
              <a:gd name="connsiteY900" fmla="*/ 93141 h 425637"/>
              <a:gd name="connsiteX901" fmla="*/ 411477 w 689291"/>
              <a:gd name="connsiteY901" fmla="*/ 74370 h 425637"/>
              <a:gd name="connsiteX902" fmla="*/ 411477 w 689291"/>
              <a:gd name="connsiteY902" fmla="*/ 59594 h 425637"/>
              <a:gd name="connsiteX903" fmla="*/ 345485 w 689291"/>
              <a:gd name="connsiteY903" fmla="*/ 51572 h 425637"/>
              <a:gd name="connsiteX904" fmla="*/ 338655 w 689291"/>
              <a:gd name="connsiteY904" fmla="*/ 58401 h 425637"/>
              <a:gd name="connsiteX905" fmla="*/ 338655 w 689291"/>
              <a:gd name="connsiteY905" fmla="*/ 73178 h 425637"/>
              <a:gd name="connsiteX906" fmla="*/ 345958 w 689291"/>
              <a:gd name="connsiteY906" fmla="*/ 80566 h 425637"/>
              <a:gd name="connsiteX907" fmla="*/ 352874 w 689291"/>
              <a:gd name="connsiteY907" fmla="*/ 73178 h 425637"/>
              <a:gd name="connsiteX908" fmla="*/ 352874 w 689291"/>
              <a:gd name="connsiteY908" fmla="*/ 58401 h 425637"/>
              <a:gd name="connsiteX909" fmla="*/ 345485 w 689291"/>
              <a:gd name="connsiteY909" fmla="*/ 51572 h 425637"/>
              <a:gd name="connsiteX910" fmla="*/ 257815 w 689291"/>
              <a:gd name="connsiteY910" fmla="*/ 51572 h 425637"/>
              <a:gd name="connsiteX911" fmla="*/ 250985 w 689291"/>
              <a:gd name="connsiteY911" fmla="*/ 58401 h 425637"/>
              <a:gd name="connsiteX912" fmla="*/ 250985 w 689291"/>
              <a:gd name="connsiteY912" fmla="*/ 73178 h 425637"/>
              <a:gd name="connsiteX913" fmla="*/ 258288 w 689291"/>
              <a:gd name="connsiteY913" fmla="*/ 80566 h 425637"/>
              <a:gd name="connsiteX914" fmla="*/ 265203 w 689291"/>
              <a:gd name="connsiteY914" fmla="*/ 73178 h 425637"/>
              <a:gd name="connsiteX915" fmla="*/ 265203 w 689291"/>
              <a:gd name="connsiteY915" fmla="*/ 58401 h 425637"/>
              <a:gd name="connsiteX916" fmla="*/ 257815 w 689291"/>
              <a:gd name="connsiteY916" fmla="*/ 51572 h 425637"/>
              <a:gd name="connsiteX917" fmla="*/ 170187 w 689291"/>
              <a:gd name="connsiteY917" fmla="*/ 51572 h 425637"/>
              <a:gd name="connsiteX918" fmla="*/ 163358 w 689291"/>
              <a:gd name="connsiteY918" fmla="*/ 58401 h 425637"/>
              <a:gd name="connsiteX919" fmla="*/ 163358 w 689291"/>
              <a:gd name="connsiteY919" fmla="*/ 73178 h 425637"/>
              <a:gd name="connsiteX920" fmla="*/ 170660 w 689291"/>
              <a:gd name="connsiteY920" fmla="*/ 80566 h 425637"/>
              <a:gd name="connsiteX921" fmla="*/ 177575 w 689291"/>
              <a:gd name="connsiteY921" fmla="*/ 73178 h 425637"/>
              <a:gd name="connsiteX922" fmla="*/ 177575 w 689291"/>
              <a:gd name="connsiteY922" fmla="*/ 58401 h 425637"/>
              <a:gd name="connsiteX923" fmla="*/ 170187 w 689291"/>
              <a:gd name="connsiteY923" fmla="*/ 51572 h 425637"/>
              <a:gd name="connsiteX924" fmla="*/ 386134 w 689291"/>
              <a:gd name="connsiteY924" fmla="*/ 41759 h 425637"/>
              <a:gd name="connsiteX925" fmla="*/ 392534 w 689291"/>
              <a:gd name="connsiteY925" fmla="*/ 48160 h 425637"/>
              <a:gd name="connsiteX926" fmla="*/ 392534 w 689291"/>
              <a:gd name="connsiteY926" fmla="*/ 86948 h 425637"/>
              <a:gd name="connsiteX927" fmla="*/ 386134 w 689291"/>
              <a:gd name="connsiteY927" fmla="*/ 93348 h 425637"/>
              <a:gd name="connsiteX928" fmla="*/ 379733 w 689291"/>
              <a:gd name="connsiteY928" fmla="*/ 86948 h 425637"/>
              <a:gd name="connsiteX929" fmla="*/ 379733 w 689291"/>
              <a:gd name="connsiteY929" fmla="*/ 48160 h 425637"/>
              <a:gd name="connsiteX930" fmla="*/ 386134 w 689291"/>
              <a:gd name="connsiteY930" fmla="*/ 41759 h 425637"/>
              <a:gd name="connsiteX931" fmla="*/ 301928 w 689291"/>
              <a:gd name="connsiteY931" fmla="*/ 40567 h 425637"/>
              <a:gd name="connsiteX932" fmla="*/ 308328 w 689291"/>
              <a:gd name="connsiteY932" fmla="*/ 46968 h 425637"/>
              <a:gd name="connsiteX933" fmla="*/ 308328 w 689291"/>
              <a:gd name="connsiteY933" fmla="*/ 85755 h 425637"/>
              <a:gd name="connsiteX934" fmla="*/ 301928 w 689291"/>
              <a:gd name="connsiteY934" fmla="*/ 92155 h 425637"/>
              <a:gd name="connsiteX935" fmla="*/ 295528 w 689291"/>
              <a:gd name="connsiteY935" fmla="*/ 85755 h 425637"/>
              <a:gd name="connsiteX936" fmla="*/ 295528 w 689291"/>
              <a:gd name="connsiteY936" fmla="*/ 46968 h 425637"/>
              <a:gd name="connsiteX937" fmla="*/ 301928 w 689291"/>
              <a:gd name="connsiteY937" fmla="*/ 40567 h 425637"/>
              <a:gd name="connsiteX938" fmla="*/ 214300 w 689291"/>
              <a:gd name="connsiteY938" fmla="*/ 40567 h 425637"/>
              <a:gd name="connsiteX939" fmla="*/ 220700 w 689291"/>
              <a:gd name="connsiteY939" fmla="*/ 46968 h 425637"/>
              <a:gd name="connsiteX940" fmla="*/ 220700 w 689291"/>
              <a:gd name="connsiteY940" fmla="*/ 85755 h 425637"/>
              <a:gd name="connsiteX941" fmla="*/ 214300 w 689291"/>
              <a:gd name="connsiteY941" fmla="*/ 92155 h 425637"/>
              <a:gd name="connsiteX942" fmla="*/ 207900 w 689291"/>
              <a:gd name="connsiteY942" fmla="*/ 85755 h 425637"/>
              <a:gd name="connsiteX943" fmla="*/ 207900 w 689291"/>
              <a:gd name="connsiteY943" fmla="*/ 46968 h 425637"/>
              <a:gd name="connsiteX944" fmla="*/ 214300 w 689291"/>
              <a:gd name="connsiteY944" fmla="*/ 40567 h 425637"/>
              <a:gd name="connsiteX945" fmla="*/ 345529 w 689291"/>
              <a:gd name="connsiteY945" fmla="*/ 40189 h 425637"/>
              <a:gd name="connsiteX946" fmla="*/ 364257 w 689291"/>
              <a:gd name="connsiteY946" fmla="*/ 57930 h 425637"/>
              <a:gd name="connsiteX947" fmla="*/ 364300 w 689291"/>
              <a:gd name="connsiteY947" fmla="*/ 73178 h 425637"/>
              <a:gd name="connsiteX948" fmla="*/ 345529 w 689291"/>
              <a:gd name="connsiteY948" fmla="*/ 91949 h 425637"/>
              <a:gd name="connsiteX949" fmla="*/ 327316 w 689291"/>
              <a:gd name="connsiteY949" fmla="*/ 73178 h 425637"/>
              <a:gd name="connsiteX950" fmla="*/ 327316 w 689291"/>
              <a:gd name="connsiteY950" fmla="*/ 58401 h 425637"/>
              <a:gd name="connsiteX951" fmla="*/ 345529 w 689291"/>
              <a:gd name="connsiteY951" fmla="*/ 40189 h 425637"/>
              <a:gd name="connsiteX952" fmla="*/ 257858 w 689291"/>
              <a:gd name="connsiteY952" fmla="*/ 40189 h 425637"/>
              <a:gd name="connsiteX953" fmla="*/ 276586 w 689291"/>
              <a:gd name="connsiteY953" fmla="*/ 57930 h 425637"/>
              <a:gd name="connsiteX954" fmla="*/ 276629 w 689291"/>
              <a:gd name="connsiteY954" fmla="*/ 73178 h 425637"/>
              <a:gd name="connsiteX955" fmla="*/ 257858 w 689291"/>
              <a:gd name="connsiteY955" fmla="*/ 91949 h 425637"/>
              <a:gd name="connsiteX956" fmla="*/ 239646 w 689291"/>
              <a:gd name="connsiteY956" fmla="*/ 73178 h 425637"/>
              <a:gd name="connsiteX957" fmla="*/ 239646 w 689291"/>
              <a:gd name="connsiteY957" fmla="*/ 58401 h 425637"/>
              <a:gd name="connsiteX958" fmla="*/ 257858 w 689291"/>
              <a:gd name="connsiteY958" fmla="*/ 40189 h 425637"/>
              <a:gd name="connsiteX959" fmla="*/ 170187 w 689291"/>
              <a:gd name="connsiteY959" fmla="*/ 40189 h 425637"/>
              <a:gd name="connsiteX960" fmla="*/ 188916 w 689291"/>
              <a:gd name="connsiteY960" fmla="*/ 57930 h 425637"/>
              <a:gd name="connsiteX961" fmla="*/ 188958 w 689291"/>
              <a:gd name="connsiteY961" fmla="*/ 73178 h 425637"/>
              <a:gd name="connsiteX962" fmla="*/ 170187 w 689291"/>
              <a:gd name="connsiteY962" fmla="*/ 91949 h 425637"/>
              <a:gd name="connsiteX963" fmla="*/ 151975 w 689291"/>
              <a:gd name="connsiteY963" fmla="*/ 73178 h 425637"/>
              <a:gd name="connsiteX964" fmla="*/ 151975 w 689291"/>
              <a:gd name="connsiteY964" fmla="*/ 58401 h 425637"/>
              <a:gd name="connsiteX965" fmla="*/ 170187 w 689291"/>
              <a:gd name="connsiteY965" fmla="*/ 40189 h 425637"/>
              <a:gd name="connsiteX966" fmla="*/ 188915 w 689291"/>
              <a:gd name="connsiteY966" fmla="*/ 21208 h 425637"/>
              <a:gd name="connsiteX967" fmla="*/ 188915 w 689291"/>
              <a:gd name="connsiteY967" fmla="*/ 21358 h 425637"/>
              <a:gd name="connsiteX968" fmla="*/ 182514 w 689291"/>
              <a:gd name="connsiteY968" fmla="*/ 27758 h 425637"/>
              <a:gd name="connsiteX969" fmla="*/ 181248 w 689291"/>
              <a:gd name="connsiteY969" fmla="*/ 26492 h 425637"/>
              <a:gd name="connsiteX970" fmla="*/ 351455 w 689291"/>
              <a:gd name="connsiteY970" fmla="*/ 15543 h 425637"/>
              <a:gd name="connsiteX971" fmla="*/ 364256 w 689291"/>
              <a:gd name="connsiteY971" fmla="*/ 20197 h 425637"/>
              <a:gd name="connsiteX972" fmla="*/ 364256 w 689291"/>
              <a:gd name="connsiteY972" fmla="*/ 21358 h 425637"/>
              <a:gd name="connsiteX973" fmla="*/ 357855 w 689291"/>
              <a:gd name="connsiteY973" fmla="*/ 27758 h 425637"/>
              <a:gd name="connsiteX974" fmla="*/ 351455 w 689291"/>
              <a:gd name="connsiteY974" fmla="*/ 21358 h 425637"/>
              <a:gd name="connsiteX975" fmla="*/ 244844 w 689291"/>
              <a:gd name="connsiteY975" fmla="*/ 3245 h 425637"/>
              <a:gd name="connsiteX976" fmla="*/ 244844 w 689291"/>
              <a:gd name="connsiteY976" fmla="*/ 9936 h 425637"/>
              <a:gd name="connsiteX977" fmla="*/ 226631 w 689291"/>
              <a:gd name="connsiteY977" fmla="*/ 28149 h 425637"/>
              <a:gd name="connsiteX978" fmla="*/ 213949 w 689291"/>
              <a:gd name="connsiteY978" fmla="*/ 23000 h 425637"/>
              <a:gd name="connsiteX979" fmla="*/ 208874 w 689291"/>
              <a:gd name="connsiteY979" fmla="*/ 12430 h 425637"/>
              <a:gd name="connsiteX980" fmla="*/ 219242 w 689291"/>
              <a:gd name="connsiteY980" fmla="*/ 9145 h 425637"/>
              <a:gd name="connsiteX981" fmla="*/ 219242 w 689291"/>
              <a:gd name="connsiteY981" fmla="*/ 9936 h 425637"/>
              <a:gd name="connsiteX982" fmla="*/ 226631 w 689291"/>
              <a:gd name="connsiteY982" fmla="*/ 16766 h 425637"/>
              <a:gd name="connsiteX983" fmla="*/ 233461 w 689291"/>
              <a:gd name="connsiteY983" fmla="*/ 9936 h 425637"/>
              <a:gd name="connsiteX984" fmla="*/ 233461 w 689291"/>
              <a:gd name="connsiteY984" fmla="*/ 4641 h 425637"/>
              <a:gd name="connsiteX985" fmla="*/ 234515 w 689291"/>
              <a:gd name="connsiteY985" fmla="*/ 4307 h 425637"/>
              <a:gd name="connsiteX986" fmla="*/ 295548 w 689291"/>
              <a:gd name="connsiteY986" fmla="*/ 2231 h 425637"/>
              <a:gd name="connsiteX987" fmla="*/ 306911 w 689291"/>
              <a:gd name="connsiteY987" fmla="*/ 3555 h 425637"/>
              <a:gd name="connsiteX988" fmla="*/ 306911 w 689291"/>
              <a:gd name="connsiteY988" fmla="*/ 9936 h 425637"/>
              <a:gd name="connsiteX989" fmla="*/ 314299 w 689291"/>
              <a:gd name="connsiteY989" fmla="*/ 16766 h 425637"/>
              <a:gd name="connsiteX990" fmla="*/ 321128 w 689291"/>
              <a:gd name="connsiteY990" fmla="*/ 9936 h 425637"/>
              <a:gd name="connsiteX991" fmla="*/ 321128 w 689291"/>
              <a:gd name="connsiteY991" fmla="*/ 5211 h 425637"/>
              <a:gd name="connsiteX992" fmla="*/ 323940 w 689291"/>
              <a:gd name="connsiteY992" fmla="*/ 5539 h 425637"/>
              <a:gd name="connsiteX993" fmla="*/ 332511 w 689291"/>
              <a:gd name="connsiteY993" fmla="*/ 8655 h 425637"/>
              <a:gd name="connsiteX994" fmla="*/ 332511 w 689291"/>
              <a:gd name="connsiteY994" fmla="*/ 9936 h 425637"/>
              <a:gd name="connsiteX995" fmla="*/ 314299 w 689291"/>
              <a:gd name="connsiteY995" fmla="*/ 28149 h 425637"/>
              <a:gd name="connsiteX996" fmla="*/ 295570 w 689291"/>
              <a:gd name="connsiteY996" fmla="*/ 10409 h 425637"/>
              <a:gd name="connsiteX997" fmla="*/ 276404 w 689291"/>
              <a:gd name="connsiteY997" fmla="*/ 0 h 425637"/>
              <a:gd name="connsiteX998" fmla="*/ 276586 w 689291"/>
              <a:gd name="connsiteY998" fmla="*/ 21 h 425637"/>
              <a:gd name="connsiteX999" fmla="*/ 276586 w 689291"/>
              <a:gd name="connsiteY999" fmla="*/ 21358 h 425637"/>
              <a:gd name="connsiteX1000" fmla="*/ 270185 w 689291"/>
              <a:gd name="connsiteY1000" fmla="*/ 27758 h 425637"/>
              <a:gd name="connsiteX1001" fmla="*/ 263785 w 689291"/>
              <a:gd name="connsiteY1001" fmla="*/ 21358 h 425637"/>
              <a:gd name="connsiteX1002" fmla="*/ 263785 w 689291"/>
              <a:gd name="connsiteY1002" fmla="*/ 1297 h 42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Lst>
            <a:rect l="l" t="t" r="r" b="b"/>
            <a:pathLst>
              <a:path w="689291" h="425637">
                <a:moveTo>
                  <a:pt x="301556" y="409819"/>
                </a:moveTo>
                <a:cubicBezTo>
                  <a:pt x="305078" y="409819"/>
                  <a:pt x="307956" y="412697"/>
                  <a:pt x="307956" y="416220"/>
                </a:cubicBezTo>
                <a:lnTo>
                  <a:pt x="307956" y="425637"/>
                </a:lnTo>
                <a:lnTo>
                  <a:pt x="295156" y="425637"/>
                </a:lnTo>
                <a:lnTo>
                  <a:pt x="295156" y="416220"/>
                </a:lnTo>
                <a:cubicBezTo>
                  <a:pt x="295156" y="412697"/>
                  <a:pt x="298033" y="409819"/>
                  <a:pt x="301556" y="409819"/>
                </a:cubicBezTo>
                <a:close/>
                <a:moveTo>
                  <a:pt x="213927" y="409819"/>
                </a:moveTo>
                <a:cubicBezTo>
                  <a:pt x="217449" y="409819"/>
                  <a:pt x="220327" y="412697"/>
                  <a:pt x="220327" y="416220"/>
                </a:cubicBezTo>
                <a:lnTo>
                  <a:pt x="220327" y="425637"/>
                </a:lnTo>
                <a:lnTo>
                  <a:pt x="207527" y="425637"/>
                </a:lnTo>
                <a:lnTo>
                  <a:pt x="207527" y="416220"/>
                </a:lnTo>
                <a:cubicBezTo>
                  <a:pt x="207527" y="412697"/>
                  <a:pt x="210405" y="409819"/>
                  <a:pt x="213927" y="409819"/>
                </a:cubicBezTo>
                <a:close/>
                <a:moveTo>
                  <a:pt x="126259" y="409819"/>
                </a:moveTo>
                <a:cubicBezTo>
                  <a:pt x="129781" y="409819"/>
                  <a:pt x="132659" y="412697"/>
                  <a:pt x="132659" y="416220"/>
                </a:cubicBezTo>
                <a:lnTo>
                  <a:pt x="132659" y="425637"/>
                </a:lnTo>
                <a:lnTo>
                  <a:pt x="119859" y="425637"/>
                </a:lnTo>
                <a:lnTo>
                  <a:pt x="119859" y="416220"/>
                </a:lnTo>
                <a:cubicBezTo>
                  <a:pt x="119859" y="412697"/>
                  <a:pt x="122737" y="409819"/>
                  <a:pt x="126259" y="409819"/>
                </a:cubicBezTo>
                <a:close/>
                <a:moveTo>
                  <a:pt x="345157" y="409440"/>
                </a:moveTo>
                <a:cubicBezTo>
                  <a:pt x="349989" y="409440"/>
                  <a:pt x="354466" y="411394"/>
                  <a:pt x="357838" y="414589"/>
                </a:cubicBezTo>
                <a:lnTo>
                  <a:pt x="363144" y="425637"/>
                </a:lnTo>
                <a:lnTo>
                  <a:pt x="350320" y="425637"/>
                </a:lnTo>
                <a:lnTo>
                  <a:pt x="345113" y="420823"/>
                </a:lnTo>
                <a:lnTo>
                  <a:pt x="340299" y="425637"/>
                </a:lnTo>
                <a:lnTo>
                  <a:pt x="327779" y="425637"/>
                </a:lnTo>
                <a:lnTo>
                  <a:pt x="332281" y="414777"/>
                </a:lnTo>
                <a:cubicBezTo>
                  <a:pt x="335577" y="411480"/>
                  <a:pt x="340131" y="409440"/>
                  <a:pt x="345157" y="409440"/>
                </a:cubicBezTo>
                <a:close/>
                <a:moveTo>
                  <a:pt x="257485" y="409440"/>
                </a:moveTo>
                <a:cubicBezTo>
                  <a:pt x="262318" y="409440"/>
                  <a:pt x="266796" y="411394"/>
                  <a:pt x="270168" y="414589"/>
                </a:cubicBezTo>
                <a:lnTo>
                  <a:pt x="275472" y="425637"/>
                </a:lnTo>
                <a:lnTo>
                  <a:pt x="262650" y="425637"/>
                </a:lnTo>
                <a:lnTo>
                  <a:pt x="257442" y="420823"/>
                </a:lnTo>
                <a:lnTo>
                  <a:pt x="252628" y="425637"/>
                </a:lnTo>
                <a:lnTo>
                  <a:pt x="240109" y="425637"/>
                </a:lnTo>
                <a:lnTo>
                  <a:pt x="244610" y="414777"/>
                </a:lnTo>
                <a:cubicBezTo>
                  <a:pt x="247907" y="411480"/>
                  <a:pt x="252460" y="409440"/>
                  <a:pt x="257485" y="409440"/>
                </a:cubicBezTo>
                <a:close/>
                <a:moveTo>
                  <a:pt x="169815" y="409440"/>
                </a:moveTo>
                <a:cubicBezTo>
                  <a:pt x="174648" y="409440"/>
                  <a:pt x="179126" y="411394"/>
                  <a:pt x="182498" y="414589"/>
                </a:cubicBezTo>
                <a:lnTo>
                  <a:pt x="187803" y="425637"/>
                </a:lnTo>
                <a:lnTo>
                  <a:pt x="175022" y="425637"/>
                </a:lnTo>
                <a:lnTo>
                  <a:pt x="169815" y="420823"/>
                </a:lnTo>
                <a:lnTo>
                  <a:pt x="165001" y="425637"/>
                </a:lnTo>
                <a:lnTo>
                  <a:pt x="152438" y="425637"/>
                </a:lnTo>
                <a:lnTo>
                  <a:pt x="156940" y="414777"/>
                </a:lnTo>
                <a:cubicBezTo>
                  <a:pt x="160237" y="411480"/>
                  <a:pt x="164790" y="409440"/>
                  <a:pt x="169815" y="409440"/>
                </a:cubicBezTo>
                <a:close/>
                <a:moveTo>
                  <a:pt x="75588" y="409440"/>
                </a:moveTo>
                <a:cubicBezTo>
                  <a:pt x="80420" y="409440"/>
                  <a:pt x="84898" y="411394"/>
                  <a:pt x="88269" y="414589"/>
                </a:cubicBezTo>
                <a:lnTo>
                  <a:pt x="93575" y="425637"/>
                </a:lnTo>
                <a:lnTo>
                  <a:pt x="80751" y="425637"/>
                </a:lnTo>
                <a:lnTo>
                  <a:pt x="75544" y="420823"/>
                </a:lnTo>
                <a:lnTo>
                  <a:pt x="71867" y="424500"/>
                </a:lnTo>
                <a:lnTo>
                  <a:pt x="59722" y="421991"/>
                </a:lnTo>
                <a:lnTo>
                  <a:pt x="62712" y="414777"/>
                </a:lnTo>
                <a:cubicBezTo>
                  <a:pt x="66009" y="411480"/>
                  <a:pt x="70562" y="409440"/>
                  <a:pt x="75588" y="409440"/>
                </a:cubicBezTo>
                <a:close/>
                <a:moveTo>
                  <a:pt x="566331" y="409186"/>
                </a:moveTo>
                <a:cubicBezTo>
                  <a:pt x="569853" y="409186"/>
                  <a:pt x="572730" y="412064"/>
                  <a:pt x="572730" y="415587"/>
                </a:cubicBezTo>
                <a:lnTo>
                  <a:pt x="572730" y="425637"/>
                </a:lnTo>
                <a:lnTo>
                  <a:pt x="559931" y="425637"/>
                </a:lnTo>
                <a:lnTo>
                  <a:pt x="559931" y="415587"/>
                </a:lnTo>
                <a:cubicBezTo>
                  <a:pt x="559931" y="412064"/>
                  <a:pt x="562809" y="409186"/>
                  <a:pt x="566331" y="409186"/>
                </a:cubicBezTo>
                <a:close/>
                <a:moveTo>
                  <a:pt x="478702" y="409186"/>
                </a:moveTo>
                <a:cubicBezTo>
                  <a:pt x="482225" y="409186"/>
                  <a:pt x="485103" y="412064"/>
                  <a:pt x="485103" y="415587"/>
                </a:cubicBezTo>
                <a:lnTo>
                  <a:pt x="485103" y="425637"/>
                </a:lnTo>
                <a:lnTo>
                  <a:pt x="482952" y="425637"/>
                </a:lnTo>
                <a:lnTo>
                  <a:pt x="472302" y="425637"/>
                </a:lnTo>
                <a:lnTo>
                  <a:pt x="472302" y="415587"/>
                </a:lnTo>
                <a:cubicBezTo>
                  <a:pt x="472302" y="412064"/>
                  <a:pt x="475180" y="409186"/>
                  <a:pt x="478702" y="409186"/>
                </a:cubicBezTo>
                <a:close/>
                <a:moveTo>
                  <a:pt x="391035" y="409186"/>
                </a:moveTo>
                <a:cubicBezTo>
                  <a:pt x="394557" y="409186"/>
                  <a:pt x="397435" y="412064"/>
                  <a:pt x="397435" y="415587"/>
                </a:cubicBezTo>
                <a:lnTo>
                  <a:pt x="397435" y="425637"/>
                </a:lnTo>
                <a:lnTo>
                  <a:pt x="387582" y="425637"/>
                </a:lnTo>
                <a:lnTo>
                  <a:pt x="384634" y="425637"/>
                </a:lnTo>
                <a:lnTo>
                  <a:pt x="384634" y="415587"/>
                </a:lnTo>
                <a:cubicBezTo>
                  <a:pt x="384634" y="412064"/>
                  <a:pt x="387512" y="409186"/>
                  <a:pt x="391035" y="409186"/>
                </a:cubicBezTo>
                <a:close/>
                <a:moveTo>
                  <a:pt x="609931" y="408808"/>
                </a:moveTo>
                <a:cubicBezTo>
                  <a:pt x="614764" y="408808"/>
                  <a:pt x="619242" y="410762"/>
                  <a:pt x="622614" y="413957"/>
                </a:cubicBezTo>
                <a:lnTo>
                  <a:pt x="626938" y="422963"/>
                </a:lnTo>
                <a:lnTo>
                  <a:pt x="615448" y="425329"/>
                </a:lnTo>
                <a:lnTo>
                  <a:pt x="609888" y="420191"/>
                </a:lnTo>
                <a:lnTo>
                  <a:pt x="604442" y="425637"/>
                </a:lnTo>
                <a:lnTo>
                  <a:pt x="592293" y="425637"/>
                </a:lnTo>
                <a:lnTo>
                  <a:pt x="597056" y="414145"/>
                </a:lnTo>
                <a:cubicBezTo>
                  <a:pt x="600353" y="410848"/>
                  <a:pt x="604906" y="408808"/>
                  <a:pt x="609931" y="408808"/>
                </a:cubicBezTo>
                <a:close/>
                <a:moveTo>
                  <a:pt x="522261" y="408808"/>
                </a:moveTo>
                <a:cubicBezTo>
                  <a:pt x="527093" y="408808"/>
                  <a:pt x="531571" y="410762"/>
                  <a:pt x="534943" y="413957"/>
                </a:cubicBezTo>
                <a:lnTo>
                  <a:pt x="540551" y="425637"/>
                </a:lnTo>
                <a:lnTo>
                  <a:pt x="528109" y="425637"/>
                </a:lnTo>
                <a:lnTo>
                  <a:pt x="522218" y="420191"/>
                </a:lnTo>
                <a:lnTo>
                  <a:pt x="516771" y="425637"/>
                </a:lnTo>
                <a:lnTo>
                  <a:pt x="504621" y="425637"/>
                </a:lnTo>
                <a:lnTo>
                  <a:pt x="509385" y="414145"/>
                </a:lnTo>
                <a:cubicBezTo>
                  <a:pt x="512682" y="410848"/>
                  <a:pt x="517235" y="408808"/>
                  <a:pt x="522261" y="408808"/>
                </a:cubicBezTo>
                <a:close/>
                <a:moveTo>
                  <a:pt x="434591" y="408808"/>
                </a:moveTo>
                <a:cubicBezTo>
                  <a:pt x="439423" y="408808"/>
                  <a:pt x="443901" y="410762"/>
                  <a:pt x="447273" y="413957"/>
                </a:cubicBezTo>
                <a:lnTo>
                  <a:pt x="452881" y="425637"/>
                </a:lnTo>
                <a:lnTo>
                  <a:pt x="440482" y="425637"/>
                </a:lnTo>
                <a:lnTo>
                  <a:pt x="434591" y="420191"/>
                </a:lnTo>
                <a:lnTo>
                  <a:pt x="429144" y="425637"/>
                </a:lnTo>
                <a:lnTo>
                  <a:pt x="416951" y="425637"/>
                </a:lnTo>
                <a:lnTo>
                  <a:pt x="421715" y="414145"/>
                </a:lnTo>
                <a:cubicBezTo>
                  <a:pt x="425011" y="410848"/>
                  <a:pt x="429565" y="408808"/>
                  <a:pt x="434591" y="408808"/>
                </a:cubicBezTo>
                <a:close/>
                <a:moveTo>
                  <a:pt x="313454" y="357023"/>
                </a:moveTo>
                <a:cubicBezTo>
                  <a:pt x="310447" y="357023"/>
                  <a:pt x="306538" y="360073"/>
                  <a:pt x="306538" y="364410"/>
                </a:cubicBezTo>
                <a:lnTo>
                  <a:pt x="306538" y="379188"/>
                </a:lnTo>
                <a:cubicBezTo>
                  <a:pt x="306839" y="382753"/>
                  <a:pt x="310189" y="386017"/>
                  <a:pt x="313927" y="386017"/>
                </a:cubicBezTo>
                <a:cubicBezTo>
                  <a:pt x="317621" y="386017"/>
                  <a:pt x="320756" y="382881"/>
                  <a:pt x="320756" y="379188"/>
                </a:cubicBezTo>
                <a:lnTo>
                  <a:pt x="320756" y="364410"/>
                </a:lnTo>
                <a:cubicBezTo>
                  <a:pt x="320756" y="360674"/>
                  <a:pt x="317492" y="357366"/>
                  <a:pt x="313454" y="357023"/>
                </a:cubicBezTo>
                <a:close/>
                <a:moveTo>
                  <a:pt x="225786" y="357023"/>
                </a:moveTo>
                <a:cubicBezTo>
                  <a:pt x="222779" y="357023"/>
                  <a:pt x="218870" y="360073"/>
                  <a:pt x="218870" y="364410"/>
                </a:cubicBezTo>
                <a:lnTo>
                  <a:pt x="218870" y="379188"/>
                </a:lnTo>
                <a:cubicBezTo>
                  <a:pt x="219172" y="382753"/>
                  <a:pt x="222522" y="386017"/>
                  <a:pt x="226258" y="386017"/>
                </a:cubicBezTo>
                <a:cubicBezTo>
                  <a:pt x="229952" y="386017"/>
                  <a:pt x="233088" y="382881"/>
                  <a:pt x="233088" y="379188"/>
                </a:cubicBezTo>
                <a:lnTo>
                  <a:pt x="233088" y="364410"/>
                </a:lnTo>
                <a:cubicBezTo>
                  <a:pt x="233088" y="360674"/>
                  <a:pt x="229823" y="357366"/>
                  <a:pt x="225786" y="357023"/>
                </a:cubicBezTo>
                <a:close/>
                <a:moveTo>
                  <a:pt x="138115" y="357023"/>
                </a:moveTo>
                <a:cubicBezTo>
                  <a:pt x="135108" y="357023"/>
                  <a:pt x="131199" y="360073"/>
                  <a:pt x="131199" y="364410"/>
                </a:cubicBezTo>
                <a:lnTo>
                  <a:pt x="131199" y="379188"/>
                </a:lnTo>
                <a:cubicBezTo>
                  <a:pt x="131500" y="382753"/>
                  <a:pt x="134851" y="386017"/>
                  <a:pt x="138588" y="386017"/>
                </a:cubicBezTo>
                <a:cubicBezTo>
                  <a:pt x="142282" y="386017"/>
                  <a:pt x="145418" y="382881"/>
                  <a:pt x="145418" y="379188"/>
                </a:cubicBezTo>
                <a:lnTo>
                  <a:pt x="145418" y="364410"/>
                </a:lnTo>
                <a:cubicBezTo>
                  <a:pt x="145418" y="360674"/>
                  <a:pt x="142153" y="357366"/>
                  <a:pt x="138115" y="357023"/>
                </a:cubicBezTo>
                <a:close/>
                <a:moveTo>
                  <a:pt x="43885" y="357023"/>
                </a:moveTo>
                <a:cubicBezTo>
                  <a:pt x="40878" y="357023"/>
                  <a:pt x="36969" y="360073"/>
                  <a:pt x="36969" y="364410"/>
                </a:cubicBezTo>
                <a:lnTo>
                  <a:pt x="36969" y="379188"/>
                </a:lnTo>
                <a:cubicBezTo>
                  <a:pt x="37270" y="382753"/>
                  <a:pt x="40620" y="386017"/>
                  <a:pt x="44358" y="386017"/>
                </a:cubicBezTo>
                <a:cubicBezTo>
                  <a:pt x="48052" y="386017"/>
                  <a:pt x="51187" y="382881"/>
                  <a:pt x="51187" y="379188"/>
                </a:cubicBezTo>
                <a:lnTo>
                  <a:pt x="51187" y="364410"/>
                </a:lnTo>
                <a:cubicBezTo>
                  <a:pt x="51187" y="360674"/>
                  <a:pt x="47923" y="357366"/>
                  <a:pt x="43885" y="357023"/>
                </a:cubicBezTo>
                <a:close/>
                <a:moveTo>
                  <a:pt x="672460" y="356390"/>
                </a:moveTo>
                <a:cubicBezTo>
                  <a:pt x="669453" y="356390"/>
                  <a:pt x="665544" y="359440"/>
                  <a:pt x="665544" y="363778"/>
                </a:cubicBezTo>
                <a:lnTo>
                  <a:pt x="665544" y="378555"/>
                </a:lnTo>
                <a:cubicBezTo>
                  <a:pt x="665845" y="382120"/>
                  <a:pt x="669195" y="385385"/>
                  <a:pt x="672932" y="385385"/>
                </a:cubicBezTo>
                <a:cubicBezTo>
                  <a:pt x="676626" y="385385"/>
                  <a:pt x="679761" y="382249"/>
                  <a:pt x="679761" y="378555"/>
                </a:cubicBezTo>
                <a:lnTo>
                  <a:pt x="679761" y="363778"/>
                </a:lnTo>
                <a:cubicBezTo>
                  <a:pt x="679761" y="360041"/>
                  <a:pt x="676497" y="356733"/>
                  <a:pt x="672460" y="356390"/>
                </a:cubicBezTo>
                <a:close/>
                <a:moveTo>
                  <a:pt x="578229" y="356390"/>
                </a:moveTo>
                <a:cubicBezTo>
                  <a:pt x="575222" y="356390"/>
                  <a:pt x="571313" y="359440"/>
                  <a:pt x="571313" y="363778"/>
                </a:cubicBezTo>
                <a:lnTo>
                  <a:pt x="571313" y="378555"/>
                </a:lnTo>
                <a:cubicBezTo>
                  <a:pt x="571614" y="382120"/>
                  <a:pt x="574964" y="385385"/>
                  <a:pt x="578702" y="385385"/>
                </a:cubicBezTo>
                <a:cubicBezTo>
                  <a:pt x="582395" y="385385"/>
                  <a:pt x="585531" y="382249"/>
                  <a:pt x="585531" y="378555"/>
                </a:cubicBezTo>
                <a:lnTo>
                  <a:pt x="585531" y="363778"/>
                </a:lnTo>
                <a:cubicBezTo>
                  <a:pt x="585531" y="360041"/>
                  <a:pt x="582266" y="356733"/>
                  <a:pt x="578229" y="356390"/>
                </a:cubicBezTo>
                <a:close/>
                <a:moveTo>
                  <a:pt x="490561" y="356390"/>
                </a:moveTo>
                <a:cubicBezTo>
                  <a:pt x="487554" y="356390"/>
                  <a:pt x="483646" y="359440"/>
                  <a:pt x="483646" y="363778"/>
                </a:cubicBezTo>
                <a:lnTo>
                  <a:pt x="483646" y="378555"/>
                </a:lnTo>
                <a:cubicBezTo>
                  <a:pt x="483946" y="382120"/>
                  <a:pt x="487296" y="385385"/>
                  <a:pt x="491033" y="385385"/>
                </a:cubicBezTo>
                <a:cubicBezTo>
                  <a:pt x="494728" y="385385"/>
                  <a:pt x="497863" y="382249"/>
                  <a:pt x="497863" y="378555"/>
                </a:cubicBezTo>
                <a:lnTo>
                  <a:pt x="497863" y="363778"/>
                </a:lnTo>
                <a:cubicBezTo>
                  <a:pt x="497863" y="360041"/>
                  <a:pt x="494599" y="356733"/>
                  <a:pt x="490561" y="356390"/>
                </a:cubicBezTo>
                <a:close/>
                <a:moveTo>
                  <a:pt x="402891" y="356390"/>
                </a:moveTo>
                <a:cubicBezTo>
                  <a:pt x="399884" y="356390"/>
                  <a:pt x="395975" y="359440"/>
                  <a:pt x="395975" y="363778"/>
                </a:cubicBezTo>
                <a:lnTo>
                  <a:pt x="395975" y="378555"/>
                </a:lnTo>
                <a:cubicBezTo>
                  <a:pt x="396276" y="382120"/>
                  <a:pt x="399626" y="385385"/>
                  <a:pt x="403363" y="385385"/>
                </a:cubicBezTo>
                <a:cubicBezTo>
                  <a:pt x="407058" y="385385"/>
                  <a:pt x="410192" y="382249"/>
                  <a:pt x="410192" y="378555"/>
                </a:cubicBezTo>
                <a:lnTo>
                  <a:pt x="410192" y="363778"/>
                </a:lnTo>
                <a:cubicBezTo>
                  <a:pt x="410192" y="360041"/>
                  <a:pt x="406929" y="356733"/>
                  <a:pt x="402891" y="356390"/>
                </a:cubicBezTo>
                <a:close/>
                <a:moveTo>
                  <a:pt x="313927" y="345640"/>
                </a:moveTo>
                <a:cubicBezTo>
                  <a:pt x="324364" y="346499"/>
                  <a:pt x="332139" y="354747"/>
                  <a:pt x="332139" y="364410"/>
                </a:cubicBezTo>
                <a:lnTo>
                  <a:pt x="332139" y="379188"/>
                </a:lnTo>
                <a:cubicBezTo>
                  <a:pt x="332139" y="389238"/>
                  <a:pt x="323977" y="397400"/>
                  <a:pt x="313927" y="397400"/>
                </a:cubicBezTo>
                <a:cubicBezTo>
                  <a:pt x="304261" y="397400"/>
                  <a:pt x="296015" y="389582"/>
                  <a:pt x="295198" y="379660"/>
                </a:cubicBezTo>
                <a:lnTo>
                  <a:pt x="295156" y="364410"/>
                </a:lnTo>
                <a:cubicBezTo>
                  <a:pt x="295156" y="354231"/>
                  <a:pt x="303746" y="345640"/>
                  <a:pt x="313927" y="345640"/>
                </a:cubicBezTo>
                <a:close/>
                <a:moveTo>
                  <a:pt x="226258" y="345640"/>
                </a:moveTo>
                <a:cubicBezTo>
                  <a:pt x="236697" y="346499"/>
                  <a:pt x="244471" y="354747"/>
                  <a:pt x="244471" y="364410"/>
                </a:cubicBezTo>
                <a:lnTo>
                  <a:pt x="244471" y="379188"/>
                </a:lnTo>
                <a:cubicBezTo>
                  <a:pt x="244471" y="389238"/>
                  <a:pt x="236310" y="397400"/>
                  <a:pt x="226258" y="397400"/>
                </a:cubicBezTo>
                <a:cubicBezTo>
                  <a:pt x="216594" y="397400"/>
                  <a:pt x="208347" y="389582"/>
                  <a:pt x="207530" y="379660"/>
                </a:cubicBezTo>
                <a:lnTo>
                  <a:pt x="207488" y="364410"/>
                </a:lnTo>
                <a:cubicBezTo>
                  <a:pt x="207488" y="354231"/>
                  <a:pt x="216079" y="345640"/>
                  <a:pt x="226258" y="345640"/>
                </a:cubicBezTo>
                <a:close/>
                <a:moveTo>
                  <a:pt x="138588" y="345640"/>
                </a:moveTo>
                <a:cubicBezTo>
                  <a:pt x="149026" y="346499"/>
                  <a:pt x="156800" y="354747"/>
                  <a:pt x="156800" y="364410"/>
                </a:cubicBezTo>
                <a:lnTo>
                  <a:pt x="156800" y="379188"/>
                </a:lnTo>
                <a:cubicBezTo>
                  <a:pt x="156800" y="389238"/>
                  <a:pt x="148639" y="397400"/>
                  <a:pt x="138588" y="397400"/>
                </a:cubicBezTo>
                <a:cubicBezTo>
                  <a:pt x="128923" y="397400"/>
                  <a:pt x="120676" y="389582"/>
                  <a:pt x="119860" y="379660"/>
                </a:cubicBezTo>
                <a:lnTo>
                  <a:pt x="119817" y="364410"/>
                </a:lnTo>
                <a:cubicBezTo>
                  <a:pt x="119817" y="354231"/>
                  <a:pt x="128407" y="345640"/>
                  <a:pt x="138588" y="345640"/>
                </a:cubicBezTo>
                <a:close/>
                <a:moveTo>
                  <a:pt x="44358" y="345640"/>
                </a:moveTo>
                <a:cubicBezTo>
                  <a:pt x="54796" y="346499"/>
                  <a:pt x="62570" y="354747"/>
                  <a:pt x="62570" y="364410"/>
                </a:cubicBezTo>
                <a:lnTo>
                  <a:pt x="62570" y="379188"/>
                </a:lnTo>
                <a:cubicBezTo>
                  <a:pt x="62570" y="389238"/>
                  <a:pt x="54409" y="397400"/>
                  <a:pt x="44358" y="397400"/>
                </a:cubicBezTo>
                <a:cubicBezTo>
                  <a:pt x="34692" y="397400"/>
                  <a:pt x="26446" y="389582"/>
                  <a:pt x="25629" y="379660"/>
                </a:cubicBezTo>
                <a:lnTo>
                  <a:pt x="25587" y="364410"/>
                </a:lnTo>
                <a:cubicBezTo>
                  <a:pt x="25587" y="354231"/>
                  <a:pt x="34177" y="345640"/>
                  <a:pt x="44358" y="345640"/>
                </a:cubicBezTo>
                <a:close/>
                <a:moveTo>
                  <a:pt x="357483" y="345421"/>
                </a:moveTo>
                <a:cubicBezTo>
                  <a:pt x="361005" y="345421"/>
                  <a:pt x="363884" y="348299"/>
                  <a:pt x="363884" y="351822"/>
                </a:cubicBezTo>
                <a:lnTo>
                  <a:pt x="363884" y="390609"/>
                </a:lnTo>
                <a:cubicBezTo>
                  <a:pt x="363884" y="394132"/>
                  <a:pt x="361005" y="397009"/>
                  <a:pt x="357483" y="397009"/>
                </a:cubicBezTo>
                <a:cubicBezTo>
                  <a:pt x="353961" y="397009"/>
                  <a:pt x="351083" y="394132"/>
                  <a:pt x="351083" y="390609"/>
                </a:cubicBezTo>
                <a:lnTo>
                  <a:pt x="351083" y="351822"/>
                </a:lnTo>
                <a:cubicBezTo>
                  <a:pt x="351083" y="348299"/>
                  <a:pt x="353961" y="345421"/>
                  <a:pt x="357483" y="345421"/>
                </a:cubicBezTo>
                <a:close/>
                <a:moveTo>
                  <a:pt x="269812" y="345421"/>
                </a:moveTo>
                <a:cubicBezTo>
                  <a:pt x="273335" y="345421"/>
                  <a:pt x="276213" y="348299"/>
                  <a:pt x="276213" y="351822"/>
                </a:cubicBezTo>
                <a:lnTo>
                  <a:pt x="276213" y="390609"/>
                </a:lnTo>
                <a:cubicBezTo>
                  <a:pt x="276213" y="394132"/>
                  <a:pt x="273335" y="397009"/>
                  <a:pt x="269812" y="397009"/>
                </a:cubicBezTo>
                <a:cubicBezTo>
                  <a:pt x="266290" y="397009"/>
                  <a:pt x="263412" y="394132"/>
                  <a:pt x="263412" y="390609"/>
                </a:cubicBezTo>
                <a:lnTo>
                  <a:pt x="263412" y="351822"/>
                </a:lnTo>
                <a:cubicBezTo>
                  <a:pt x="263412" y="348299"/>
                  <a:pt x="266290" y="345421"/>
                  <a:pt x="269812" y="345421"/>
                </a:cubicBezTo>
                <a:close/>
                <a:moveTo>
                  <a:pt x="182142" y="345421"/>
                </a:moveTo>
                <a:cubicBezTo>
                  <a:pt x="185665" y="345421"/>
                  <a:pt x="188543" y="348299"/>
                  <a:pt x="188543" y="351822"/>
                </a:cubicBezTo>
                <a:lnTo>
                  <a:pt x="188543" y="390609"/>
                </a:lnTo>
                <a:cubicBezTo>
                  <a:pt x="188543" y="394132"/>
                  <a:pt x="185665" y="397009"/>
                  <a:pt x="182142" y="397009"/>
                </a:cubicBezTo>
                <a:cubicBezTo>
                  <a:pt x="178620" y="397009"/>
                  <a:pt x="175742" y="394132"/>
                  <a:pt x="175742" y="390609"/>
                </a:cubicBezTo>
                <a:lnTo>
                  <a:pt x="175742" y="351822"/>
                </a:lnTo>
                <a:cubicBezTo>
                  <a:pt x="175742" y="348299"/>
                  <a:pt x="178620" y="345421"/>
                  <a:pt x="182142" y="345421"/>
                </a:cubicBezTo>
                <a:close/>
                <a:moveTo>
                  <a:pt x="87914" y="345421"/>
                </a:moveTo>
                <a:cubicBezTo>
                  <a:pt x="91437" y="345421"/>
                  <a:pt x="94315" y="348299"/>
                  <a:pt x="94315" y="351822"/>
                </a:cubicBezTo>
                <a:lnTo>
                  <a:pt x="94315" y="390609"/>
                </a:lnTo>
                <a:cubicBezTo>
                  <a:pt x="94315" y="394132"/>
                  <a:pt x="91437" y="397009"/>
                  <a:pt x="87914" y="397009"/>
                </a:cubicBezTo>
                <a:cubicBezTo>
                  <a:pt x="84392" y="397009"/>
                  <a:pt x="81514" y="394132"/>
                  <a:pt x="81514" y="390609"/>
                </a:cubicBezTo>
                <a:lnTo>
                  <a:pt x="81514" y="351822"/>
                </a:lnTo>
                <a:cubicBezTo>
                  <a:pt x="81514" y="348299"/>
                  <a:pt x="84392" y="345421"/>
                  <a:pt x="87914" y="345421"/>
                </a:cubicBezTo>
                <a:close/>
                <a:moveTo>
                  <a:pt x="243" y="345421"/>
                </a:moveTo>
                <a:cubicBezTo>
                  <a:pt x="3766" y="345421"/>
                  <a:pt x="6644" y="348299"/>
                  <a:pt x="6644" y="351822"/>
                </a:cubicBezTo>
                <a:lnTo>
                  <a:pt x="6644" y="377865"/>
                </a:lnTo>
                <a:lnTo>
                  <a:pt x="6035" y="376928"/>
                </a:lnTo>
                <a:cubicBezTo>
                  <a:pt x="2145" y="367362"/>
                  <a:pt x="0" y="356830"/>
                  <a:pt x="0" y="345752"/>
                </a:cubicBezTo>
                <a:lnTo>
                  <a:pt x="21" y="345643"/>
                </a:lnTo>
                <a:close/>
                <a:moveTo>
                  <a:pt x="672932" y="345007"/>
                </a:moveTo>
                <a:cubicBezTo>
                  <a:pt x="678151" y="345437"/>
                  <a:pt x="682704" y="347714"/>
                  <a:pt x="685953" y="351091"/>
                </a:cubicBezTo>
                <a:lnTo>
                  <a:pt x="689291" y="359249"/>
                </a:lnTo>
                <a:lnTo>
                  <a:pt x="685814" y="376928"/>
                </a:lnTo>
                <a:lnTo>
                  <a:pt x="672785" y="396708"/>
                </a:lnTo>
                <a:lnTo>
                  <a:pt x="660250" y="391618"/>
                </a:lnTo>
                <a:cubicBezTo>
                  <a:pt x="656878" y="388423"/>
                  <a:pt x="654612" y="383988"/>
                  <a:pt x="654204" y="379027"/>
                </a:cubicBezTo>
                <a:lnTo>
                  <a:pt x="654161" y="363778"/>
                </a:lnTo>
                <a:cubicBezTo>
                  <a:pt x="654161" y="353598"/>
                  <a:pt x="662752" y="345007"/>
                  <a:pt x="672932" y="345007"/>
                </a:cubicBezTo>
                <a:close/>
                <a:moveTo>
                  <a:pt x="578702" y="345007"/>
                </a:moveTo>
                <a:cubicBezTo>
                  <a:pt x="589139" y="345867"/>
                  <a:pt x="596915" y="354114"/>
                  <a:pt x="596915" y="363778"/>
                </a:cubicBezTo>
                <a:lnTo>
                  <a:pt x="596915" y="378555"/>
                </a:lnTo>
                <a:cubicBezTo>
                  <a:pt x="596915" y="388606"/>
                  <a:pt x="588753" y="396767"/>
                  <a:pt x="578702" y="396767"/>
                </a:cubicBezTo>
                <a:cubicBezTo>
                  <a:pt x="569037" y="396767"/>
                  <a:pt x="560789" y="388950"/>
                  <a:pt x="559974" y="379027"/>
                </a:cubicBezTo>
                <a:lnTo>
                  <a:pt x="559931" y="363778"/>
                </a:lnTo>
                <a:cubicBezTo>
                  <a:pt x="559931" y="353598"/>
                  <a:pt x="568522" y="345007"/>
                  <a:pt x="578702" y="345007"/>
                </a:cubicBezTo>
                <a:close/>
                <a:moveTo>
                  <a:pt x="491033" y="345007"/>
                </a:moveTo>
                <a:cubicBezTo>
                  <a:pt x="501472" y="345867"/>
                  <a:pt x="509246" y="354114"/>
                  <a:pt x="509246" y="363778"/>
                </a:cubicBezTo>
                <a:lnTo>
                  <a:pt x="509246" y="378555"/>
                </a:lnTo>
                <a:cubicBezTo>
                  <a:pt x="509246" y="388606"/>
                  <a:pt x="501085" y="396767"/>
                  <a:pt x="491033" y="396767"/>
                </a:cubicBezTo>
                <a:cubicBezTo>
                  <a:pt x="481368" y="396767"/>
                  <a:pt x="473122" y="388950"/>
                  <a:pt x="472305" y="379027"/>
                </a:cubicBezTo>
                <a:lnTo>
                  <a:pt x="472262" y="363778"/>
                </a:lnTo>
                <a:cubicBezTo>
                  <a:pt x="472262" y="353598"/>
                  <a:pt x="480853" y="345007"/>
                  <a:pt x="491033" y="345007"/>
                </a:cubicBezTo>
                <a:close/>
                <a:moveTo>
                  <a:pt x="403363" y="345007"/>
                </a:moveTo>
                <a:cubicBezTo>
                  <a:pt x="413801" y="345867"/>
                  <a:pt x="421576" y="354114"/>
                  <a:pt x="421576" y="363778"/>
                </a:cubicBezTo>
                <a:lnTo>
                  <a:pt x="421576" y="378555"/>
                </a:lnTo>
                <a:cubicBezTo>
                  <a:pt x="421576" y="388606"/>
                  <a:pt x="413414" y="396767"/>
                  <a:pt x="403363" y="396767"/>
                </a:cubicBezTo>
                <a:cubicBezTo>
                  <a:pt x="393699" y="396767"/>
                  <a:pt x="385452" y="388950"/>
                  <a:pt x="384635" y="379027"/>
                </a:cubicBezTo>
                <a:lnTo>
                  <a:pt x="384592" y="363778"/>
                </a:lnTo>
                <a:cubicBezTo>
                  <a:pt x="384592" y="353598"/>
                  <a:pt x="393183" y="345007"/>
                  <a:pt x="403363" y="345007"/>
                </a:cubicBezTo>
                <a:close/>
                <a:moveTo>
                  <a:pt x="622258" y="344788"/>
                </a:moveTo>
                <a:cubicBezTo>
                  <a:pt x="625781" y="344788"/>
                  <a:pt x="628659" y="347666"/>
                  <a:pt x="628659" y="351189"/>
                </a:cubicBezTo>
                <a:lnTo>
                  <a:pt x="628659" y="389976"/>
                </a:lnTo>
                <a:cubicBezTo>
                  <a:pt x="628659" y="393499"/>
                  <a:pt x="625781" y="396376"/>
                  <a:pt x="622258" y="396376"/>
                </a:cubicBezTo>
                <a:cubicBezTo>
                  <a:pt x="618737" y="396376"/>
                  <a:pt x="615858" y="393499"/>
                  <a:pt x="615858" y="389976"/>
                </a:cubicBezTo>
                <a:lnTo>
                  <a:pt x="615858" y="351189"/>
                </a:lnTo>
                <a:cubicBezTo>
                  <a:pt x="615858" y="347666"/>
                  <a:pt x="618737" y="344788"/>
                  <a:pt x="622258" y="344788"/>
                </a:cubicBezTo>
                <a:close/>
                <a:moveTo>
                  <a:pt x="534587" y="344788"/>
                </a:moveTo>
                <a:cubicBezTo>
                  <a:pt x="538110" y="344788"/>
                  <a:pt x="540988" y="347666"/>
                  <a:pt x="540988" y="351189"/>
                </a:cubicBezTo>
                <a:lnTo>
                  <a:pt x="540988" y="389976"/>
                </a:lnTo>
                <a:cubicBezTo>
                  <a:pt x="540988" y="393499"/>
                  <a:pt x="538110" y="396376"/>
                  <a:pt x="534587" y="396376"/>
                </a:cubicBezTo>
                <a:cubicBezTo>
                  <a:pt x="531065" y="396376"/>
                  <a:pt x="528187" y="393499"/>
                  <a:pt x="528187" y="389976"/>
                </a:cubicBezTo>
                <a:lnTo>
                  <a:pt x="528187" y="351189"/>
                </a:lnTo>
                <a:cubicBezTo>
                  <a:pt x="528187" y="347666"/>
                  <a:pt x="531065" y="344788"/>
                  <a:pt x="534587" y="344788"/>
                </a:cubicBezTo>
                <a:close/>
                <a:moveTo>
                  <a:pt x="446917" y="344788"/>
                </a:moveTo>
                <a:cubicBezTo>
                  <a:pt x="450439" y="344788"/>
                  <a:pt x="453317" y="347666"/>
                  <a:pt x="453317" y="351189"/>
                </a:cubicBezTo>
                <a:lnTo>
                  <a:pt x="453317" y="389976"/>
                </a:lnTo>
                <a:cubicBezTo>
                  <a:pt x="453317" y="393499"/>
                  <a:pt x="450439" y="396376"/>
                  <a:pt x="446917" y="396376"/>
                </a:cubicBezTo>
                <a:cubicBezTo>
                  <a:pt x="443395" y="396376"/>
                  <a:pt x="440517" y="393499"/>
                  <a:pt x="440517" y="389976"/>
                </a:cubicBezTo>
                <a:lnTo>
                  <a:pt x="440517" y="351189"/>
                </a:lnTo>
                <a:cubicBezTo>
                  <a:pt x="440517" y="347666"/>
                  <a:pt x="443395" y="344788"/>
                  <a:pt x="446917" y="344788"/>
                </a:cubicBezTo>
                <a:close/>
                <a:moveTo>
                  <a:pt x="6362" y="314325"/>
                </a:moveTo>
                <a:lnTo>
                  <a:pt x="5790" y="315682"/>
                </a:lnTo>
                <a:lnTo>
                  <a:pt x="5918" y="315015"/>
                </a:lnTo>
                <a:close/>
                <a:moveTo>
                  <a:pt x="345113" y="291947"/>
                </a:moveTo>
                <a:cubicBezTo>
                  <a:pt x="341419" y="291947"/>
                  <a:pt x="338283" y="295083"/>
                  <a:pt x="338283" y="298777"/>
                </a:cubicBezTo>
                <a:lnTo>
                  <a:pt x="338283" y="313553"/>
                </a:lnTo>
                <a:cubicBezTo>
                  <a:pt x="338283" y="317291"/>
                  <a:pt x="341548" y="320598"/>
                  <a:pt x="345585" y="320942"/>
                </a:cubicBezTo>
                <a:cubicBezTo>
                  <a:pt x="348593" y="320942"/>
                  <a:pt x="352501" y="317892"/>
                  <a:pt x="352501" y="313553"/>
                </a:cubicBezTo>
                <a:lnTo>
                  <a:pt x="352501" y="298777"/>
                </a:lnTo>
                <a:cubicBezTo>
                  <a:pt x="352201" y="295212"/>
                  <a:pt x="348850" y="291947"/>
                  <a:pt x="345113" y="291947"/>
                </a:cubicBezTo>
                <a:close/>
                <a:moveTo>
                  <a:pt x="257442" y="291947"/>
                </a:moveTo>
                <a:cubicBezTo>
                  <a:pt x="253748" y="291947"/>
                  <a:pt x="250612" y="295083"/>
                  <a:pt x="250612" y="298777"/>
                </a:cubicBezTo>
                <a:lnTo>
                  <a:pt x="250612" y="313553"/>
                </a:lnTo>
                <a:cubicBezTo>
                  <a:pt x="250612" y="317291"/>
                  <a:pt x="253877" y="320598"/>
                  <a:pt x="257915" y="320942"/>
                </a:cubicBezTo>
                <a:cubicBezTo>
                  <a:pt x="260922" y="320942"/>
                  <a:pt x="264831" y="317892"/>
                  <a:pt x="264831" y="313553"/>
                </a:cubicBezTo>
                <a:lnTo>
                  <a:pt x="264831" y="298777"/>
                </a:lnTo>
                <a:cubicBezTo>
                  <a:pt x="264530" y="295212"/>
                  <a:pt x="261179" y="291947"/>
                  <a:pt x="257442" y="291947"/>
                </a:cubicBezTo>
                <a:close/>
                <a:moveTo>
                  <a:pt x="169815" y="291947"/>
                </a:moveTo>
                <a:cubicBezTo>
                  <a:pt x="166121" y="291947"/>
                  <a:pt x="162985" y="295083"/>
                  <a:pt x="162985" y="298777"/>
                </a:cubicBezTo>
                <a:lnTo>
                  <a:pt x="162985" y="313553"/>
                </a:lnTo>
                <a:cubicBezTo>
                  <a:pt x="162985" y="317291"/>
                  <a:pt x="166250" y="320598"/>
                  <a:pt x="170288" y="320942"/>
                </a:cubicBezTo>
                <a:cubicBezTo>
                  <a:pt x="173294" y="320942"/>
                  <a:pt x="177202" y="317892"/>
                  <a:pt x="177202" y="313553"/>
                </a:cubicBezTo>
                <a:lnTo>
                  <a:pt x="177202" y="298777"/>
                </a:lnTo>
                <a:cubicBezTo>
                  <a:pt x="176902" y="295212"/>
                  <a:pt x="173552" y="291947"/>
                  <a:pt x="169815" y="291947"/>
                </a:cubicBezTo>
                <a:close/>
                <a:moveTo>
                  <a:pt x="75544" y="291947"/>
                </a:moveTo>
                <a:cubicBezTo>
                  <a:pt x="71850" y="291947"/>
                  <a:pt x="68714" y="295083"/>
                  <a:pt x="68714" y="298777"/>
                </a:cubicBezTo>
                <a:lnTo>
                  <a:pt x="68714" y="313553"/>
                </a:lnTo>
                <a:cubicBezTo>
                  <a:pt x="68714" y="317291"/>
                  <a:pt x="71979" y="320598"/>
                  <a:pt x="76017" y="320942"/>
                </a:cubicBezTo>
                <a:cubicBezTo>
                  <a:pt x="79024" y="320942"/>
                  <a:pt x="82932" y="317892"/>
                  <a:pt x="82932" y="313553"/>
                </a:cubicBezTo>
                <a:lnTo>
                  <a:pt x="82932" y="298777"/>
                </a:lnTo>
                <a:cubicBezTo>
                  <a:pt x="82633" y="295212"/>
                  <a:pt x="79282" y="291947"/>
                  <a:pt x="75544" y="291947"/>
                </a:cubicBezTo>
                <a:close/>
                <a:moveTo>
                  <a:pt x="609888" y="291315"/>
                </a:moveTo>
                <a:cubicBezTo>
                  <a:pt x="606195" y="291315"/>
                  <a:pt x="603059" y="294451"/>
                  <a:pt x="603059" y="298144"/>
                </a:cubicBezTo>
                <a:lnTo>
                  <a:pt x="603059" y="312921"/>
                </a:lnTo>
                <a:cubicBezTo>
                  <a:pt x="603059" y="316658"/>
                  <a:pt x="606323" y="319965"/>
                  <a:pt x="610361" y="320309"/>
                </a:cubicBezTo>
                <a:cubicBezTo>
                  <a:pt x="613368" y="320309"/>
                  <a:pt x="617277" y="317259"/>
                  <a:pt x="617277" y="312921"/>
                </a:cubicBezTo>
                <a:lnTo>
                  <a:pt x="617277" y="298144"/>
                </a:lnTo>
                <a:cubicBezTo>
                  <a:pt x="616976" y="294580"/>
                  <a:pt x="613625" y="291315"/>
                  <a:pt x="609888" y="291315"/>
                </a:cubicBezTo>
                <a:close/>
                <a:moveTo>
                  <a:pt x="522218" y="291315"/>
                </a:moveTo>
                <a:cubicBezTo>
                  <a:pt x="518523" y="291315"/>
                  <a:pt x="515387" y="294451"/>
                  <a:pt x="515387" y="298144"/>
                </a:cubicBezTo>
                <a:lnTo>
                  <a:pt x="515387" y="312921"/>
                </a:lnTo>
                <a:cubicBezTo>
                  <a:pt x="515387" y="316658"/>
                  <a:pt x="518652" y="319965"/>
                  <a:pt x="522690" y="320309"/>
                </a:cubicBezTo>
                <a:cubicBezTo>
                  <a:pt x="525697" y="320309"/>
                  <a:pt x="529606" y="317259"/>
                  <a:pt x="529606" y="312921"/>
                </a:cubicBezTo>
                <a:lnTo>
                  <a:pt x="529606" y="298144"/>
                </a:lnTo>
                <a:cubicBezTo>
                  <a:pt x="529306" y="294580"/>
                  <a:pt x="525955" y="291315"/>
                  <a:pt x="522218" y="291315"/>
                </a:cubicBezTo>
                <a:close/>
                <a:moveTo>
                  <a:pt x="434591" y="291315"/>
                </a:moveTo>
                <a:cubicBezTo>
                  <a:pt x="430896" y="291315"/>
                  <a:pt x="427761" y="294451"/>
                  <a:pt x="427761" y="298144"/>
                </a:cubicBezTo>
                <a:lnTo>
                  <a:pt x="427761" y="312921"/>
                </a:lnTo>
                <a:cubicBezTo>
                  <a:pt x="427761" y="316658"/>
                  <a:pt x="431025" y="319965"/>
                  <a:pt x="435062" y="320309"/>
                </a:cubicBezTo>
                <a:cubicBezTo>
                  <a:pt x="438069" y="320309"/>
                  <a:pt x="441978" y="317259"/>
                  <a:pt x="441978" y="312921"/>
                </a:cubicBezTo>
                <a:lnTo>
                  <a:pt x="441978" y="298144"/>
                </a:lnTo>
                <a:cubicBezTo>
                  <a:pt x="441678" y="294580"/>
                  <a:pt x="438327" y="291315"/>
                  <a:pt x="434591" y="291315"/>
                </a:cubicBezTo>
                <a:close/>
                <a:moveTo>
                  <a:pt x="658782" y="282090"/>
                </a:moveTo>
                <a:lnTo>
                  <a:pt x="667001" y="287751"/>
                </a:lnTo>
                <a:lnTo>
                  <a:pt x="667001" y="325458"/>
                </a:lnTo>
                <a:cubicBezTo>
                  <a:pt x="667001" y="329024"/>
                  <a:pt x="664123" y="331902"/>
                  <a:pt x="660602" y="331902"/>
                </a:cubicBezTo>
                <a:cubicBezTo>
                  <a:pt x="657079" y="331902"/>
                  <a:pt x="654201" y="329024"/>
                  <a:pt x="654201" y="325501"/>
                </a:cubicBezTo>
                <a:lnTo>
                  <a:pt x="654201" y="286671"/>
                </a:lnTo>
                <a:close/>
                <a:moveTo>
                  <a:pt x="33094" y="282011"/>
                </a:moveTo>
                <a:lnTo>
                  <a:pt x="38387" y="287304"/>
                </a:lnTo>
                <a:lnTo>
                  <a:pt x="38387" y="326091"/>
                </a:lnTo>
                <a:cubicBezTo>
                  <a:pt x="38430" y="329657"/>
                  <a:pt x="35552" y="332535"/>
                  <a:pt x="31987" y="332535"/>
                </a:cubicBezTo>
                <a:cubicBezTo>
                  <a:pt x="28464" y="332535"/>
                  <a:pt x="25587" y="329657"/>
                  <a:pt x="25587" y="326134"/>
                </a:cubicBezTo>
                <a:lnTo>
                  <a:pt x="25587" y="287380"/>
                </a:lnTo>
                <a:close/>
                <a:moveTo>
                  <a:pt x="301556" y="280904"/>
                </a:moveTo>
                <a:cubicBezTo>
                  <a:pt x="305078" y="280904"/>
                  <a:pt x="307956" y="283782"/>
                  <a:pt x="307956" y="287304"/>
                </a:cubicBezTo>
                <a:lnTo>
                  <a:pt x="307956" y="326091"/>
                </a:lnTo>
                <a:cubicBezTo>
                  <a:pt x="307999" y="329657"/>
                  <a:pt x="305121" y="332535"/>
                  <a:pt x="301556" y="332535"/>
                </a:cubicBezTo>
                <a:cubicBezTo>
                  <a:pt x="298033" y="332535"/>
                  <a:pt x="295156" y="329657"/>
                  <a:pt x="295156" y="326134"/>
                </a:cubicBezTo>
                <a:lnTo>
                  <a:pt x="295156" y="287304"/>
                </a:lnTo>
                <a:cubicBezTo>
                  <a:pt x="295156" y="283782"/>
                  <a:pt x="298033" y="280904"/>
                  <a:pt x="301556" y="280904"/>
                </a:cubicBezTo>
                <a:close/>
                <a:moveTo>
                  <a:pt x="213927" y="280904"/>
                </a:moveTo>
                <a:cubicBezTo>
                  <a:pt x="217449" y="280904"/>
                  <a:pt x="220327" y="283782"/>
                  <a:pt x="220327" y="287304"/>
                </a:cubicBezTo>
                <a:lnTo>
                  <a:pt x="220327" y="326091"/>
                </a:lnTo>
                <a:cubicBezTo>
                  <a:pt x="220327" y="329657"/>
                  <a:pt x="217449" y="332535"/>
                  <a:pt x="213927" y="332535"/>
                </a:cubicBezTo>
                <a:cubicBezTo>
                  <a:pt x="210405" y="332535"/>
                  <a:pt x="207527" y="329657"/>
                  <a:pt x="207527" y="326134"/>
                </a:cubicBezTo>
                <a:lnTo>
                  <a:pt x="207527" y="287304"/>
                </a:lnTo>
                <a:cubicBezTo>
                  <a:pt x="207527" y="283782"/>
                  <a:pt x="210405" y="280904"/>
                  <a:pt x="213927" y="280904"/>
                </a:cubicBezTo>
                <a:close/>
                <a:moveTo>
                  <a:pt x="126257" y="280904"/>
                </a:moveTo>
                <a:cubicBezTo>
                  <a:pt x="129779" y="280904"/>
                  <a:pt x="132657" y="283782"/>
                  <a:pt x="132657" y="287304"/>
                </a:cubicBezTo>
                <a:lnTo>
                  <a:pt x="132657" y="326091"/>
                </a:lnTo>
                <a:cubicBezTo>
                  <a:pt x="132657" y="329657"/>
                  <a:pt x="129779" y="332535"/>
                  <a:pt x="126257" y="332535"/>
                </a:cubicBezTo>
                <a:cubicBezTo>
                  <a:pt x="122735" y="332535"/>
                  <a:pt x="119857" y="329657"/>
                  <a:pt x="119857" y="326134"/>
                </a:cubicBezTo>
                <a:lnTo>
                  <a:pt x="119857" y="287304"/>
                </a:lnTo>
                <a:cubicBezTo>
                  <a:pt x="119814" y="283782"/>
                  <a:pt x="122692" y="280904"/>
                  <a:pt x="126257" y="280904"/>
                </a:cubicBezTo>
                <a:close/>
                <a:moveTo>
                  <a:pt x="345157" y="280565"/>
                </a:moveTo>
                <a:cubicBezTo>
                  <a:pt x="354820" y="280565"/>
                  <a:pt x="363068" y="288382"/>
                  <a:pt x="363885" y="298305"/>
                </a:cubicBezTo>
                <a:lnTo>
                  <a:pt x="363928" y="313553"/>
                </a:lnTo>
                <a:cubicBezTo>
                  <a:pt x="363928" y="323734"/>
                  <a:pt x="355336" y="332324"/>
                  <a:pt x="345157" y="332324"/>
                </a:cubicBezTo>
                <a:cubicBezTo>
                  <a:pt x="334718" y="331465"/>
                  <a:pt x="326944" y="323218"/>
                  <a:pt x="326944" y="313553"/>
                </a:cubicBezTo>
                <a:lnTo>
                  <a:pt x="326944" y="298777"/>
                </a:lnTo>
                <a:cubicBezTo>
                  <a:pt x="326944" y="288726"/>
                  <a:pt x="335105" y="280565"/>
                  <a:pt x="345157" y="280565"/>
                </a:cubicBezTo>
                <a:close/>
                <a:moveTo>
                  <a:pt x="257485" y="280565"/>
                </a:moveTo>
                <a:cubicBezTo>
                  <a:pt x="267150" y="280565"/>
                  <a:pt x="275397" y="288382"/>
                  <a:pt x="276213" y="298305"/>
                </a:cubicBezTo>
                <a:lnTo>
                  <a:pt x="276256" y="313553"/>
                </a:lnTo>
                <a:cubicBezTo>
                  <a:pt x="276256" y="323734"/>
                  <a:pt x="267666" y="332324"/>
                  <a:pt x="257485" y="332324"/>
                </a:cubicBezTo>
                <a:cubicBezTo>
                  <a:pt x="247048" y="331465"/>
                  <a:pt x="239273" y="323218"/>
                  <a:pt x="239273" y="313553"/>
                </a:cubicBezTo>
                <a:lnTo>
                  <a:pt x="239273" y="298777"/>
                </a:lnTo>
                <a:cubicBezTo>
                  <a:pt x="239273" y="288726"/>
                  <a:pt x="247434" y="280565"/>
                  <a:pt x="257485" y="280565"/>
                </a:cubicBezTo>
                <a:close/>
                <a:moveTo>
                  <a:pt x="169815" y="280565"/>
                </a:moveTo>
                <a:cubicBezTo>
                  <a:pt x="179481" y="280565"/>
                  <a:pt x="187727" y="288382"/>
                  <a:pt x="188544" y="298305"/>
                </a:cubicBezTo>
                <a:lnTo>
                  <a:pt x="188586" y="313553"/>
                </a:lnTo>
                <a:cubicBezTo>
                  <a:pt x="188586" y="323734"/>
                  <a:pt x="179995" y="332324"/>
                  <a:pt x="169815" y="332324"/>
                </a:cubicBezTo>
                <a:cubicBezTo>
                  <a:pt x="159377" y="331465"/>
                  <a:pt x="151603" y="323218"/>
                  <a:pt x="151603" y="313553"/>
                </a:cubicBezTo>
                <a:lnTo>
                  <a:pt x="151603" y="298777"/>
                </a:lnTo>
                <a:cubicBezTo>
                  <a:pt x="151603" y="288726"/>
                  <a:pt x="159764" y="280565"/>
                  <a:pt x="169815" y="280565"/>
                </a:cubicBezTo>
                <a:close/>
                <a:moveTo>
                  <a:pt x="75588" y="280565"/>
                </a:moveTo>
                <a:cubicBezTo>
                  <a:pt x="85252" y="280565"/>
                  <a:pt x="93499" y="288382"/>
                  <a:pt x="94316" y="298305"/>
                </a:cubicBezTo>
                <a:lnTo>
                  <a:pt x="94359" y="313553"/>
                </a:lnTo>
                <a:cubicBezTo>
                  <a:pt x="94359" y="323734"/>
                  <a:pt x="85767" y="332324"/>
                  <a:pt x="75588" y="332324"/>
                </a:cubicBezTo>
                <a:cubicBezTo>
                  <a:pt x="65149" y="331465"/>
                  <a:pt x="57375" y="323218"/>
                  <a:pt x="57375" y="313553"/>
                </a:cubicBezTo>
                <a:lnTo>
                  <a:pt x="57375" y="298777"/>
                </a:lnTo>
                <a:cubicBezTo>
                  <a:pt x="57375" y="288726"/>
                  <a:pt x="65536" y="280565"/>
                  <a:pt x="75588" y="280565"/>
                </a:cubicBezTo>
                <a:close/>
                <a:moveTo>
                  <a:pt x="566331" y="280271"/>
                </a:moveTo>
                <a:cubicBezTo>
                  <a:pt x="569853" y="280271"/>
                  <a:pt x="572730" y="283149"/>
                  <a:pt x="572730" y="286671"/>
                </a:cubicBezTo>
                <a:lnTo>
                  <a:pt x="572730" y="325458"/>
                </a:lnTo>
                <a:cubicBezTo>
                  <a:pt x="572774" y="329024"/>
                  <a:pt x="569895" y="331902"/>
                  <a:pt x="566331" y="331902"/>
                </a:cubicBezTo>
                <a:cubicBezTo>
                  <a:pt x="562809" y="331902"/>
                  <a:pt x="559931" y="329024"/>
                  <a:pt x="559931" y="325501"/>
                </a:cubicBezTo>
                <a:lnTo>
                  <a:pt x="559931" y="286671"/>
                </a:lnTo>
                <a:cubicBezTo>
                  <a:pt x="559931" y="283149"/>
                  <a:pt x="562809" y="280271"/>
                  <a:pt x="566331" y="280271"/>
                </a:cubicBezTo>
                <a:close/>
                <a:moveTo>
                  <a:pt x="478702" y="280271"/>
                </a:moveTo>
                <a:cubicBezTo>
                  <a:pt x="482225" y="280271"/>
                  <a:pt x="485103" y="283149"/>
                  <a:pt x="485103" y="286671"/>
                </a:cubicBezTo>
                <a:lnTo>
                  <a:pt x="485103" y="325458"/>
                </a:lnTo>
                <a:cubicBezTo>
                  <a:pt x="485103" y="329024"/>
                  <a:pt x="482225" y="331902"/>
                  <a:pt x="478702" y="331902"/>
                </a:cubicBezTo>
                <a:cubicBezTo>
                  <a:pt x="475180" y="331902"/>
                  <a:pt x="472302" y="329024"/>
                  <a:pt x="472302" y="325501"/>
                </a:cubicBezTo>
                <a:lnTo>
                  <a:pt x="472302" y="286671"/>
                </a:lnTo>
                <a:cubicBezTo>
                  <a:pt x="472302" y="283149"/>
                  <a:pt x="475180" y="280271"/>
                  <a:pt x="478702" y="280271"/>
                </a:cubicBezTo>
                <a:close/>
                <a:moveTo>
                  <a:pt x="391033" y="280271"/>
                </a:moveTo>
                <a:cubicBezTo>
                  <a:pt x="394555" y="280271"/>
                  <a:pt x="397433" y="283149"/>
                  <a:pt x="397433" y="286671"/>
                </a:cubicBezTo>
                <a:lnTo>
                  <a:pt x="397433" y="325458"/>
                </a:lnTo>
                <a:cubicBezTo>
                  <a:pt x="397433" y="329024"/>
                  <a:pt x="394555" y="331902"/>
                  <a:pt x="391033" y="331902"/>
                </a:cubicBezTo>
                <a:cubicBezTo>
                  <a:pt x="387510" y="331902"/>
                  <a:pt x="384632" y="329024"/>
                  <a:pt x="384632" y="325501"/>
                </a:cubicBezTo>
                <a:lnTo>
                  <a:pt x="384632" y="286671"/>
                </a:lnTo>
                <a:cubicBezTo>
                  <a:pt x="384589" y="283149"/>
                  <a:pt x="387467" y="280271"/>
                  <a:pt x="391033" y="280271"/>
                </a:cubicBezTo>
                <a:close/>
                <a:moveTo>
                  <a:pt x="609931" y="279932"/>
                </a:moveTo>
                <a:cubicBezTo>
                  <a:pt x="619596" y="279932"/>
                  <a:pt x="627844" y="287750"/>
                  <a:pt x="628659" y="297673"/>
                </a:cubicBezTo>
                <a:lnTo>
                  <a:pt x="628702" y="312921"/>
                </a:lnTo>
                <a:cubicBezTo>
                  <a:pt x="628702" y="323101"/>
                  <a:pt x="620112" y="331691"/>
                  <a:pt x="609931" y="331691"/>
                </a:cubicBezTo>
                <a:cubicBezTo>
                  <a:pt x="599494" y="330833"/>
                  <a:pt x="591719" y="322585"/>
                  <a:pt x="591719" y="312921"/>
                </a:cubicBezTo>
                <a:lnTo>
                  <a:pt x="591719" y="298144"/>
                </a:lnTo>
                <a:cubicBezTo>
                  <a:pt x="591719" y="288094"/>
                  <a:pt x="599881" y="279932"/>
                  <a:pt x="609931" y="279932"/>
                </a:cubicBezTo>
                <a:close/>
                <a:moveTo>
                  <a:pt x="522261" y="279932"/>
                </a:moveTo>
                <a:cubicBezTo>
                  <a:pt x="531925" y="279932"/>
                  <a:pt x="540173" y="287750"/>
                  <a:pt x="540989" y="297673"/>
                </a:cubicBezTo>
                <a:lnTo>
                  <a:pt x="541032" y="312921"/>
                </a:lnTo>
                <a:cubicBezTo>
                  <a:pt x="541032" y="323101"/>
                  <a:pt x="532441" y="331691"/>
                  <a:pt x="522261" y="331691"/>
                </a:cubicBezTo>
                <a:cubicBezTo>
                  <a:pt x="511822" y="330833"/>
                  <a:pt x="504048" y="322585"/>
                  <a:pt x="504048" y="312921"/>
                </a:cubicBezTo>
                <a:lnTo>
                  <a:pt x="504048" y="298144"/>
                </a:lnTo>
                <a:cubicBezTo>
                  <a:pt x="504048" y="288094"/>
                  <a:pt x="512209" y="279932"/>
                  <a:pt x="522261" y="279932"/>
                </a:cubicBezTo>
                <a:close/>
                <a:moveTo>
                  <a:pt x="434591" y="279932"/>
                </a:moveTo>
                <a:cubicBezTo>
                  <a:pt x="444255" y="279932"/>
                  <a:pt x="452503" y="287750"/>
                  <a:pt x="453318" y="297673"/>
                </a:cubicBezTo>
                <a:lnTo>
                  <a:pt x="453361" y="312921"/>
                </a:lnTo>
                <a:cubicBezTo>
                  <a:pt x="453361" y="323101"/>
                  <a:pt x="444770" y="331691"/>
                  <a:pt x="434591" y="331691"/>
                </a:cubicBezTo>
                <a:cubicBezTo>
                  <a:pt x="424153" y="330833"/>
                  <a:pt x="416377" y="322585"/>
                  <a:pt x="416377" y="312921"/>
                </a:cubicBezTo>
                <a:lnTo>
                  <a:pt x="416377" y="298144"/>
                </a:lnTo>
                <a:cubicBezTo>
                  <a:pt x="416377" y="288094"/>
                  <a:pt x="424539" y="279932"/>
                  <a:pt x="434591" y="279932"/>
                </a:cubicBezTo>
                <a:close/>
                <a:moveTo>
                  <a:pt x="210384" y="236381"/>
                </a:moveTo>
                <a:lnTo>
                  <a:pt x="203870" y="242894"/>
                </a:lnTo>
                <a:lnTo>
                  <a:pt x="203870" y="257670"/>
                </a:lnTo>
                <a:lnTo>
                  <a:pt x="211111" y="264996"/>
                </a:lnTo>
                <a:lnTo>
                  <a:pt x="217717" y="257936"/>
                </a:lnTo>
                <a:lnTo>
                  <a:pt x="217717" y="243160"/>
                </a:lnTo>
                <a:close/>
                <a:moveTo>
                  <a:pt x="122714" y="236381"/>
                </a:moveTo>
                <a:lnTo>
                  <a:pt x="116200" y="242894"/>
                </a:lnTo>
                <a:lnTo>
                  <a:pt x="116200" y="257670"/>
                </a:lnTo>
                <a:lnTo>
                  <a:pt x="123440" y="264996"/>
                </a:lnTo>
                <a:lnTo>
                  <a:pt x="130047" y="257936"/>
                </a:lnTo>
                <a:lnTo>
                  <a:pt x="130047" y="243160"/>
                </a:lnTo>
                <a:close/>
                <a:moveTo>
                  <a:pt x="480270" y="236064"/>
                </a:moveTo>
                <a:cubicBezTo>
                  <a:pt x="476576" y="236064"/>
                  <a:pt x="473440" y="239199"/>
                  <a:pt x="473440" y="242894"/>
                </a:cubicBezTo>
                <a:lnTo>
                  <a:pt x="473440" y="257670"/>
                </a:lnTo>
                <a:cubicBezTo>
                  <a:pt x="473440" y="261407"/>
                  <a:pt x="476704" y="264715"/>
                  <a:pt x="480743" y="265059"/>
                </a:cubicBezTo>
                <a:cubicBezTo>
                  <a:pt x="483750" y="265059"/>
                  <a:pt x="487659" y="262009"/>
                  <a:pt x="487659" y="257670"/>
                </a:cubicBezTo>
                <a:lnTo>
                  <a:pt x="487659" y="242894"/>
                </a:lnTo>
                <a:cubicBezTo>
                  <a:pt x="487358" y="239328"/>
                  <a:pt x="484007" y="236064"/>
                  <a:pt x="480270" y="236064"/>
                </a:cubicBezTo>
                <a:close/>
                <a:moveTo>
                  <a:pt x="392599" y="236064"/>
                </a:moveTo>
                <a:cubicBezTo>
                  <a:pt x="388905" y="236064"/>
                  <a:pt x="385769" y="239199"/>
                  <a:pt x="385769" y="242894"/>
                </a:cubicBezTo>
                <a:lnTo>
                  <a:pt x="385769" y="257670"/>
                </a:lnTo>
                <a:cubicBezTo>
                  <a:pt x="385769" y="261407"/>
                  <a:pt x="389034" y="264715"/>
                  <a:pt x="393071" y="265059"/>
                </a:cubicBezTo>
                <a:cubicBezTo>
                  <a:pt x="396079" y="265059"/>
                  <a:pt x="399987" y="262009"/>
                  <a:pt x="399987" y="257670"/>
                </a:cubicBezTo>
                <a:lnTo>
                  <a:pt x="399987" y="242894"/>
                </a:lnTo>
                <a:cubicBezTo>
                  <a:pt x="399687" y="239328"/>
                  <a:pt x="396336" y="236064"/>
                  <a:pt x="392599" y="236064"/>
                </a:cubicBezTo>
                <a:close/>
                <a:moveTo>
                  <a:pt x="304971" y="236064"/>
                </a:moveTo>
                <a:cubicBezTo>
                  <a:pt x="301277" y="236064"/>
                  <a:pt x="298141" y="239199"/>
                  <a:pt x="298141" y="242894"/>
                </a:cubicBezTo>
                <a:lnTo>
                  <a:pt x="298141" y="257670"/>
                </a:lnTo>
                <a:cubicBezTo>
                  <a:pt x="298141" y="261407"/>
                  <a:pt x="301406" y="264715"/>
                  <a:pt x="305444" y="265059"/>
                </a:cubicBezTo>
                <a:cubicBezTo>
                  <a:pt x="308450" y="265059"/>
                  <a:pt x="312359" y="262009"/>
                  <a:pt x="312359" y="257670"/>
                </a:cubicBezTo>
                <a:lnTo>
                  <a:pt x="312359" y="242894"/>
                </a:lnTo>
                <a:cubicBezTo>
                  <a:pt x="312059" y="239328"/>
                  <a:pt x="308708" y="236064"/>
                  <a:pt x="304971" y="236064"/>
                </a:cubicBezTo>
                <a:close/>
                <a:moveTo>
                  <a:pt x="569375" y="235698"/>
                </a:moveTo>
                <a:cubicBezTo>
                  <a:pt x="565681" y="235698"/>
                  <a:pt x="562546" y="238834"/>
                  <a:pt x="562546" y="242528"/>
                </a:cubicBezTo>
                <a:lnTo>
                  <a:pt x="562546" y="257304"/>
                </a:lnTo>
                <a:cubicBezTo>
                  <a:pt x="562546" y="261042"/>
                  <a:pt x="565810" y="264349"/>
                  <a:pt x="569847" y="264693"/>
                </a:cubicBezTo>
                <a:cubicBezTo>
                  <a:pt x="572854" y="264693"/>
                  <a:pt x="576763" y="261643"/>
                  <a:pt x="576763" y="257304"/>
                </a:cubicBezTo>
                <a:lnTo>
                  <a:pt x="576763" y="242528"/>
                </a:lnTo>
                <a:cubicBezTo>
                  <a:pt x="576463" y="238963"/>
                  <a:pt x="573112" y="235698"/>
                  <a:pt x="569375" y="235698"/>
                </a:cubicBezTo>
                <a:close/>
                <a:moveTo>
                  <a:pt x="436712" y="225060"/>
                </a:moveTo>
                <a:cubicBezTo>
                  <a:pt x="440234" y="225060"/>
                  <a:pt x="443112" y="227938"/>
                  <a:pt x="443112" y="231461"/>
                </a:cubicBezTo>
                <a:lnTo>
                  <a:pt x="443112" y="270248"/>
                </a:lnTo>
                <a:cubicBezTo>
                  <a:pt x="443156" y="273770"/>
                  <a:pt x="440277" y="276648"/>
                  <a:pt x="436712" y="276648"/>
                </a:cubicBezTo>
                <a:cubicBezTo>
                  <a:pt x="433190" y="276648"/>
                  <a:pt x="430312" y="273770"/>
                  <a:pt x="430312" y="270248"/>
                </a:cubicBezTo>
                <a:lnTo>
                  <a:pt x="430312" y="231461"/>
                </a:lnTo>
                <a:cubicBezTo>
                  <a:pt x="430312" y="227938"/>
                  <a:pt x="433190" y="225060"/>
                  <a:pt x="436712" y="225060"/>
                </a:cubicBezTo>
                <a:close/>
                <a:moveTo>
                  <a:pt x="349084" y="225060"/>
                </a:moveTo>
                <a:cubicBezTo>
                  <a:pt x="352606" y="225060"/>
                  <a:pt x="355484" y="227938"/>
                  <a:pt x="355484" y="231461"/>
                </a:cubicBezTo>
                <a:lnTo>
                  <a:pt x="355484" y="270248"/>
                </a:lnTo>
                <a:cubicBezTo>
                  <a:pt x="355484" y="273770"/>
                  <a:pt x="352606" y="276648"/>
                  <a:pt x="349084" y="276648"/>
                </a:cubicBezTo>
                <a:cubicBezTo>
                  <a:pt x="345562" y="276648"/>
                  <a:pt x="342684" y="273770"/>
                  <a:pt x="342684" y="270248"/>
                </a:cubicBezTo>
                <a:lnTo>
                  <a:pt x="342684" y="231461"/>
                </a:lnTo>
                <a:cubicBezTo>
                  <a:pt x="342684" y="227938"/>
                  <a:pt x="345562" y="225060"/>
                  <a:pt x="349084" y="225060"/>
                </a:cubicBezTo>
                <a:close/>
                <a:moveTo>
                  <a:pt x="261415" y="225060"/>
                </a:moveTo>
                <a:cubicBezTo>
                  <a:pt x="264937" y="225060"/>
                  <a:pt x="267815" y="227938"/>
                  <a:pt x="267815" y="231461"/>
                </a:cubicBezTo>
                <a:lnTo>
                  <a:pt x="267815" y="270248"/>
                </a:lnTo>
                <a:cubicBezTo>
                  <a:pt x="267815" y="273770"/>
                  <a:pt x="264937" y="276648"/>
                  <a:pt x="261415" y="276648"/>
                </a:cubicBezTo>
                <a:cubicBezTo>
                  <a:pt x="257894" y="276648"/>
                  <a:pt x="255015" y="273770"/>
                  <a:pt x="255015" y="270248"/>
                </a:cubicBezTo>
                <a:lnTo>
                  <a:pt x="255015" y="231461"/>
                </a:lnTo>
                <a:cubicBezTo>
                  <a:pt x="255015" y="227938"/>
                  <a:pt x="257894" y="225060"/>
                  <a:pt x="261415" y="225060"/>
                </a:cubicBezTo>
                <a:close/>
                <a:moveTo>
                  <a:pt x="167143" y="225060"/>
                </a:moveTo>
                <a:cubicBezTo>
                  <a:pt x="170665" y="225060"/>
                  <a:pt x="173543" y="227938"/>
                  <a:pt x="173543" y="231461"/>
                </a:cubicBezTo>
                <a:lnTo>
                  <a:pt x="173543" y="270248"/>
                </a:lnTo>
                <a:cubicBezTo>
                  <a:pt x="173586" y="273770"/>
                  <a:pt x="170708" y="276648"/>
                  <a:pt x="167143" y="276648"/>
                </a:cubicBezTo>
                <a:lnTo>
                  <a:pt x="167090" y="276596"/>
                </a:lnTo>
                <a:lnTo>
                  <a:pt x="166772" y="276914"/>
                </a:lnTo>
                <a:cubicBezTo>
                  <a:pt x="163249" y="276914"/>
                  <a:pt x="160372" y="274037"/>
                  <a:pt x="160372" y="270514"/>
                </a:cubicBezTo>
                <a:lnTo>
                  <a:pt x="160372" y="231727"/>
                </a:lnTo>
                <a:cubicBezTo>
                  <a:pt x="160372" y="228204"/>
                  <a:pt x="163249" y="225326"/>
                  <a:pt x="166772" y="225326"/>
                </a:cubicBezTo>
                <a:lnTo>
                  <a:pt x="166824" y="225379"/>
                </a:lnTo>
                <a:close/>
                <a:moveTo>
                  <a:pt x="79515" y="225060"/>
                </a:moveTo>
                <a:cubicBezTo>
                  <a:pt x="83037" y="225060"/>
                  <a:pt x="85915" y="227938"/>
                  <a:pt x="85915" y="231461"/>
                </a:cubicBezTo>
                <a:lnTo>
                  <a:pt x="85915" y="270248"/>
                </a:lnTo>
                <a:cubicBezTo>
                  <a:pt x="85915" y="273770"/>
                  <a:pt x="83037" y="276648"/>
                  <a:pt x="79515" y="276648"/>
                </a:cubicBezTo>
                <a:lnTo>
                  <a:pt x="79462" y="276596"/>
                </a:lnTo>
                <a:lnTo>
                  <a:pt x="79143" y="276914"/>
                </a:lnTo>
                <a:cubicBezTo>
                  <a:pt x="75622" y="276914"/>
                  <a:pt x="72744" y="274037"/>
                  <a:pt x="72744" y="270514"/>
                </a:cubicBezTo>
                <a:lnTo>
                  <a:pt x="72744" y="266509"/>
                </a:lnTo>
                <a:lnTo>
                  <a:pt x="75497" y="265867"/>
                </a:lnTo>
                <a:lnTo>
                  <a:pt x="72744" y="244589"/>
                </a:lnTo>
                <a:lnTo>
                  <a:pt x="72744" y="231727"/>
                </a:lnTo>
                <a:cubicBezTo>
                  <a:pt x="72744" y="228204"/>
                  <a:pt x="75622" y="225326"/>
                  <a:pt x="79143" y="225326"/>
                </a:cubicBezTo>
                <a:lnTo>
                  <a:pt x="79196" y="225379"/>
                </a:lnTo>
                <a:close/>
                <a:moveTo>
                  <a:pt x="613487" y="224693"/>
                </a:moveTo>
                <a:lnTo>
                  <a:pt x="619351" y="230557"/>
                </a:lnTo>
                <a:lnTo>
                  <a:pt x="612706" y="265867"/>
                </a:lnTo>
                <a:cubicBezTo>
                  <a:pt x="612706" y="265867"/>
                  <a:pt x="612706" y="265867"/>
                  <a:pt x="613954" y="265867"/>
                </a:cubicBezTo>
                <a:lnTo>
                  <a:pt x="619888" y="267089"/>
                </a:lnTo>
                <a:lnTo>
                  <a:pt x="619888" y="269882"/>
                </a:lnTo>
                <a:cubicBezTo>
                  <a:pt x="619888" y="273405"/>
                  <a:pt x="617010" y="276282"/>
                  <a:pt x="613487" y="276282"/>
                </a:cubicBezTo>
                <a:cubicBezTo>
                  <a:pt x="609965" y="276282"/>
                  <a:pt x="607087" y="273405"/>
                  <a:pt x="607087" y="269882"/>
                </a:cubicBezTo>
                <a:lnTo>
                  <a:pt x="607087" y="231094"/>
                </a:lnTo>
                <a:cubicBezTo>
                  <a:pt x="607087" y="227572"/>
                  <a:pt x="609965" y="224693"/>
                  <a:pt x="613487" y="224693"/>
                </a:cubicBezTo>
                <a:close/>
                <a:moveTo>
                  <a:pt x="525820" y="224693"/>
                </a:moveTo>
                <a:cubicBezTo>
                  <a:pt x="529342" y="224693"/>
                  <a:pt x="532220" y="227572"/>
                  <a:pt x="532220" y="231094"/>
                </a:cubicBezTo>
                <a:lnTo>
                  <a:pt x="532220" y="269882"/>
                </a:lnTo>
                <a:cubicBezTo>
                  <a:pt x="532220" y="273405"/>
                  <a:pt x="529342" y="276282"/>
                  <a:pt x="525820" y="276282"/>
                </a:cubicBezTo>
                <a:cubicBezTo>
                  <a:pt x="522297" y="276282"/>
                  <a:pt x="519419" y="273405"/>
                  <a:pt x="519419" y="269882"/>
                </a:cubicBezTo>
                <a:lnTo>
                  <a:pt x="519419" y="231094"/>
                </a:lnTo>
                <a:cubicBezTo>
                  <a:pt x="519419" y="227572"/>
                  <a:pt x="522297" y="224693"/>
                  <a:pt x="525820" y="224693"/>
                </a:cubicBezTo>
                <a:close/>
                <a:moveTo>
                  <a:pt x="480313" y="224681"/>
                </a:moveTo>
                <a:cubicBezTo>
                  <a:pt x="489978" y="224681"/>
                  <a:pt x="498225" y="232499"/>
                  <a:pt x="499041" y="242421"/>
                </a:cubicBezTo>
                <a:lnTo>
                  <a:pt x="499084" y="257670"/>
                </a:lnTo>
                <a:cubicBezTo>
                  <a:pt x="499084" y="267851"/>
                  <a:pt x="490494" y="276441"/>
                  <a:pt x="480313" y="276441"/>
                </a:cubicBezTo>
                <a:cubicBezTo>
                  <a:pt x="469875" y="275582"/>
                  <a:pt x="462100" y="267335"/>
                  <a:pt x="462100" y="257670"/>
                </a:cubicBezTo>
                <a:lnTo>
                  <a:pt x="462100" y="242894"/>
                </a:lnTo>
                <a:cubicBezTo>
                  <a:pt x="462100" y="232842"/>
                  <a:pt x="470262" y="224681"/>
                  <a:pt x="480313" y="224681"/>
                </a:cubicBezTo>
                <a:close/>
                <a:moveTo>
                  <a:pt x="392643" y="224681"/>
                </a:moveTo>
                <a:cubicBezTo>
                  <a:pt x="402306" y="224681"/>
                  <a:pt x="410554" y="232499"/>
                  <a:pt x="411371" y="242421"/>
                </a:cubicBezTo>
                <a:lnTo>
                  <a:pt x="411414" y="257670"/>
                </a:lnTo>
                <a:cubicBezTo>
                  <a:pt x="411414" y="267851"/>
                  <a:pt x="402822" y="276441"/>
                  <a:pt x="392643" y="276441"/>
                </a:cubicBezTo>
                <a:cubicBezTo>
                  <a:pt x="382204" y="275582"/>
                  <a:pt x="374430" y="267335"/>
                  <a:pt x="374430" y="257670"/>
                </a:cubicBezTo>
                <a:lnTo>
                  <a:pt x="374430" y="242894"/>
                </a:lnTo>
                <a:cubicBezTo>
                  <a:pt x="374430" y="232842"/>
                  <a:pt x="382591" y="224681"/>
                  <a:pt x="392643" y="224681"/>
                </a:cubicBezTo>
                <a:close/>
                <a:moveTo>
                  <a:pt x="304971" y="224681"/>
                </a:moveTo>
                <a:cubicBezTo>
                  <a:pt x="314637" y="224681"/>
                  <a:pt x="322883" y="232499"/>
                  <a:pt x="323700" y="242421"/>
                </a:cubicBezTo>
                <a:lnTo>
                  <a:pt x="323742" y="257670"/>
                </a:lnTo>
                <a:cubicBezTo>
                  <a:pt x="323742" y="267851"/>
                  <a:pt x="315152" y="276441"/>
                  <a:pt x="304971" y="276441"/>
                </a:cubicBezTo>
                <a:cubicBezTo>
                  <a:pt x="294534" y="275582"/>
                  <a:pt x="286759" y="267335"/>
                  <a:pt x="286759" y="257670"/>
                </a:cubicBezTo>
                <a:lnTo>
                  <a:pt x="286759" y="242894"/>
                </a:lnTo>
                <a:cubicBezTo>
                  <a:pt x="286759" y="232842"/>
                  <a:pt x="294920" y="224681"/>
                  <a:pt x="304971" y="224681"/>
                </a:cubicBezTo>
                <a:close/>
                <a:moveTo>
                  <a:pt x="210744" y="224681"/>
                </a:moveTo>
                <a:cubicBezTo>
                  <a:pt x="220408" y="224681"/>
                  <a:pt x="228655" y="232499"/>
                  <a:pt x="229472" y="242421"/>
                </a:cubicBezTo>
                <a:lnTo>
                  <a:pt x="229515" y="257670"/>
                </a:lnTo>
                <a:cubicBezTo>
                  <a:pt x="229515" y="262760"/>
                  <a:pt x="227367" y="267453"/>
                  <a:pt x="223947" y="270873"/>
                </a:cubicBezTo>
                <a:lnTo>
                  <a:pt x="223632" y="271007"/>
                </a:lnTo>
                <a:lnTo>
                  <a:pt x="223576" y="271140"/>
                </a:lnTo>
                <a:cubicBezTo>
                  <a:pt x="220155" y="274560"/>
                  <a:pt x="215463" y="276708"/>
                  <a:pt x="210373" y="276708"/>
                </a:cubicBezTo>
                <a:cubicBezTo>
                  <a:pt x="199934" y="275849"/>
                  <a:pt x="192160" y="267601"/>
                  <a:pt x="192160" y="257936"/>
                </a:cubicBezTo>
                <a:lnTo>
                  <a:pt x="192160" y="243160"/>
                </a:lnTo>
                <a:cubicBezTo>
                  <a:pt x="192160" y="238135"/>
                  <a:pt x="194201" y="233581"/>
                  <a:pt x="197497" y="230285"/>
                </a:cubicBezTo>
                <a:lnTo>
                  <a:pt x="197812" y="230155"/>
                </a:lnTo>
                <a:lnTo>
                  <a:pt x="197869" y="230019"/>
                </a:lnTo>
                <a:cubicBezTo>
                  <a:pt x="201165" y="226722"/>
                  <a:pt x="205719" y="224681"/>
                  <a:pt x="210744" y="224681"/>
                </a:cubicBezTo>
                <a:close/>
                <a:moveTo>
                  <a:pt x="123073" y="224681"/>
                </a:moveTo>
                <a:cubicBezTo>
                  <a:pt x="132738" y="224681"/>
                  <a:pt x="140985" y="232499"/>
                  <a:pt x="141801" y="242421"/>
                </a:cubicBezTo>
                <a:lnTo>
                  <a:pt x="141844" y="257670"/>
                </a:lnTo>
                <a:cubicBezTo>
                  <a:pt x="141844" y="262760"/>
                  <a:pt x="139696" y="267453"/>
                  <a:pt x="136276" y="270873"/>
                </a:cubicBezTo>
                <a:lnTo>
                  <a:pt x="135961" y="271007"/>
                </a:lnTo>
                <a:lnTo>
                  <a:pt x="135904" y="271140"/>
                </a:lnTo>
                <a:cubicBezTo>
                  <a:pt x="132485" y="274560"/>
                  <a:pt x="127792" y="276708"/>
                  <a:pt x="122701" y="276708"/>
                </a:cubicBezTo>
                <a:cubicBezTo>
                  <a:pt x="112264" y="275849"/>
                  <a:pt x="104489" y="267601"/>
                  <a:pt x="104489" y="257936"/>
                </a:cubicBezTo>
                <a:lnTo>
                  <a:pt x="104489" y="243160"/>
                </a:lnTo>
                <a:cubicBezTo>
                  <a:pt x="104489" y="238135"/>
                  <a:pt x="106529" y="233581"/>
                  <a:pt x="109826" y="230285"/>
                </a:cubicBezTo>
                <a:lnTo>
                  <a:pt x="110141" y="230155"/>
                </a:lnTo>
                <a:lnTo>
                  <a:pt x="110197" y="230019"/>
                </a:lnTo>
                <a:cubicBezTo>
                  <a:pt x="113494" y="226722"/>
                  <a:pt x="118047" y="224681"/>
                  <a:pt x="123073" y="224681"/>
                </a:cubicBezTo>
                <a:close/>
                <a:moveTo>
                  <a:pt x="569375" y="224316"/>
                </a:moveTo>
                <a:cubicBezTo>
                  <a:pt x="579040" y="224316"/>
                  <a:pt x="587288" y="232133"/>
                  <a:pt x="588103" y="242056"/>
                </a:cubicBezTo>
                <a:lnTo>
                  <a:pt x="588146" y="257304"/>
                </a:lnTo>
                <a:cubicBezTo>
                  <a:pt x="588146" y="267485"/>
                  <a:pt x="579555" y="276076"/>
                  <a:pt x="569375" y="276076"/>
                </a:cubicBezTo>
                <a:cubicBezTo>
                  <a:pt x="558938" y="275216"/>
                  <a:pt x="551162" y="266969"/>
                  <a:pt x="551162" y="257304"/>
                </a:cubicBezTo>
                <a:lnTo>
                  <a:pt x="551162" y="242528"/>
                </a:lnTo>
                <a:cubicBezTo>
                  <a:pt x="551162" y="232477"/>
                  <a:pt x="559324" y="224316"/>
                  <a:pt x="569375" y="224316"/>
                </a:cubicBezTo>
                <a:close/>
                <a:moveTo>
                  <a:pt x="178732" y="172594"/>
                </a:moveTo>
                <a:lnTo>
                  <a:pt x="172126" y="179652"/>
                </a:lnTo>
                <a:lnTo>
                  <a:pt x="172126" y="194429"/>
                </a:lnTo>
                <a:lnTo>
                  <a:pt x="179459" y="201207"/>
                </a:lnTo>
                <a:lnTo>
                  <a:pt x="185972" y="194695"/>
                </a:lnTo>
                <a:lnTo>
                  <a:pt x="185972" y="179919"/>
                </a:lnTo>
                <a:close/>
                <a:moveTo>
                  <a:pt x="91065" y="172594"/>
                </a:moveTo>
                <a:lnTo>
                  <a:pt x="84457" y="179652"/>
                </a:lnTo>
                <a:lnTo>
                  <a:pt x="84457" y="194429"/>
                </a:lnTo>
                <a:lnTo>
                  <a:pt x="91791" y="201207"/>
                </a:lnTo>
                <a:lnTo>
                  <a:pt x="98304" y="194695"/>
                </a:lnTo>
                <a:lnTo>
                  <a:pt x="98304" y="179919"/>
                </a:lnTo>
                <a:close/>
                <a:moveTo>
                  <a:pt x="448610" y="172264"/>
                </a:moveTo>
                <a:cubicBezTo>
                  <a:pt x="445603" y="172264"/>
                  <a:pt x="441695" y="175314"/>
                  <a:pt x="441695" y="179652"/>
                </a:cubicBezTo>
                <a:lnTo>
                  <a:pt x="441695" y="194429"/>
                </a:lnTo>
                <a:cubicBezTo>
                  <a:pt x="441996" y="197994"/>
                  <a:pt x="445345" y="201259"/>
                  <a:pt x="449083" y="201259"/>
                </a:cubicBezTo>
                <a:cubicBezTo>
                  <a:pt x="452777" y="201259"/>
                  <a:pt x="455913" y="198123"/>
                  <a:pt x="455913" y="194429"/>
                </a:cubicBezTo>
                <a:lnTo>
                  <a:pt x="455913" y="179652"/>
                </a:lnTo>
                <a:cubicBezTo>
                  <a:pt x="455913" y="175915"/>
                  <a:pt x="452648" y="172607"/>
                  <a:pt x="448610" y="172264"/>
                </a:cubicBezTo>
                <a:close/>
                <a:moveTo>
                  <a:pt x="360942" y="172264"/>
                </a:moveTo>
                <a:cubicBezTo>
                  <a:pt x="357935" y="172264"/>
                  <a:pt x="354026" y="175314"/>
                  <a:pt x="354026" y="179652"/>
                </a:cubicBezTo>
                <a:lnTo>
                  <a:pt x="354026" y="194429"/>
                </a:lnTo>
                <a:cubicBezTo>
                  <a:pt x="354328" y="197994"/>
                  <a:pt x="357678" y="201259"/>
                  <a:pt x="361415" y="201259"/>
                </a:cubicBezTo>
                <a:cubicBezTo>
                  <a:pt x="365109" y="201259"/>
                  <a:pt x="368245" y="198123"/>
                  <a:pt x="368245" y="194429"/>
                </a:cubicBezTo>
                <a:lnTo>
                  <a:pt x="368245" y="179652"/>
                </a:lnTo>
                <a:cubicBezTo>
                  <a:pt x="368245" y="175915"/>
                  <a:pt x="364980" y="172607"/>
                  <a:pt x="360942" y="172264"/>
                </a:cubicBezTo>
                <a:close/>
                <a:moveTo>
                  <a:pt x="273272" y="172264"/>
                </a:moveTo>
                <a:cubicBezTo>
                  <a:pt x="270265" y="172264"/>
                  <a:pt x="266356" y="175314"/>
                  <a:pt x="266356" y="179652"/>
                </a:cubicBezTo>
                <a:lnTo>
                  <a:pt x="266356" y="194429"/>
                </a:lnTo>
                <a:cubicBezTo>
                  <a:pt x="266657" y="197994"/>
                  <a:pt x="270008" y="201259"/>
                  <a:pt x="273744" y="201259"/>
                </a:cubicBezTo>
                <a:cubicBezTo>
                  <a:pt x="277438" y="201259"/>
                  <a:pt x="280574" y="198123"/>
                  <a:pt x="280574" y="194429"/>
                </a:cubicBezTo>
                <a:lnTo>
                  <a:pt x="280574" y="179652"/>
                </a:lnTo>
                <a:cubicBezTo>
                  <a:pt x="280574" y="175915"/>
                  <a:pt x="277309" y="172607"/>
                  <a:pt x="273272" y="172264"/>
                </a:cubicBezTo>
                <a:close/>
                <a:moveTo>
                  <a:pt x="537676" y="171898"/>
                </a:moveTo>
                <a:cubicBezTo>
                  <a:pt x="534669" y="171898"/>
                  <a:pt x="530760" y="174948"/>
                  <a:pt x="530760" y="179286"/>
                </a:cubicBezTo>
                <a:lnTo>
                  <a:pt x="530760" y="194062"/>
                </a:lnTo>
                <a:cubicBezTo>
                  <a:pt x="531061" y="197627"/>
                  <a:pt x="534411" y="200892"/>
                  <a:pt x="538148" y="200892"/>
                </a:cubicBezTo>
                <a:cubicBezTo>
                  <a:pt x="541842" y="200892"/>
                  <a:pt x="544977" y="197756"/>
                  <a:pt x="544977" y="194062"/>
                </a:cubicBezTo>
                <a:lnTo>
                  <a:pt x="544977" y="179286"/>
                </a:lnTo>
                <a:cubicBezTo>
                  <a:pt x="544977" y="175548"/>
                  <a:pt x="541714" y="172241"/>
                  <a:pt x="537676" y="171898"/>
                </a:cubicBezTo>
                <a:close/>
                <a:moveTo>
                  <a:pt x="613467" y="165724"/>
                </a:moveTo>
                <a:lnTo>
                  <a:pt x="618431" y="191073"/>
                </a:lnTo>
                <a:lnTo>
                  <a:pt x="618431" y="194062"/>
                </a:lnTo>
                <a:lnTo>
                  <a:pt x="619146" y="194723"/>
                </a:lnTo>
                <a:lnTo>
                  <a:pt x="622303" y="210848"/>
                </a:lnTo>
                <a:lnTo>
                  <a:pt x="613136" y="207126"/>
                </a:lnTo>
                <a:cubicBezTo>
                  <a:pt x="609764" y="203931"/>
                  <a:pt x="607499" y="199496"/>
                  <a:pt x="607090" y="194535"/>
                </a:cubicBezTo>
                <a:lnTo>
                  <a:pt x="607047" y="179286"/>
                </a:lnTo>
                <a:cubicBezTo>
                  <a:pt x="607047" y="174196"/>
                  <a:pt x="609195" y="169503"/>
                  <a:pt x="612615" y="166083"/>
                </a:cubicBezTo>
                <a:close/>
                <a:moveTo>
                  <a:pt x="449083" y="160881"/>
                </a:moveTo>
                <a:cubicBezTo>
                  <a:pt x="459521" y="161740"/>
                  <a:pt x="467296" y="169988"/>
                  <a:pt x="467296" y="179652"/>
                </a:cubicBezTo>
                <a:lnTo>
                  <a:pt x="467296" y="194429"/>
                </a:lnTo>
                <a:cubicBezTo>
                  <a:pt x="467296" y="204479"/>
                  <a:pt x="459135" y="212641"/>
                  <a:pt x="449083" y="212641"/>
                </a:cubicBezTo>
                <a:cubicBezTo>
                  <a:pt x="439418" y="212641"/>
                  <a:pt x="431171" y="204823"/>
                  <a:pt x="430355" y="194901"/>
                </a:cubicBezTo>
                <a:lnTo>
                  <a:pt x="430312" y="179652"/>
                </a:lnTo>
                <a:cubicBezTo>
                  <a:pt x="430312" y="169472"/>
                  <a:pt x="438903" y="160881"/>
                  <a:pt x="449083" y="160881"/>
                </a:cubicBezTo>
                <a:close/>
                <a:moveTo>
                  <a:pt x="361415" y="160881"/>
                </a:moveTo>
                <a:cubicBezTo>
                  <a:pt x="371853" y="161740"/>
                  <a:pt x="379628" y="169988"/>
                  <a:pt x="379628" y="179652"/>
                </a:cubicBezTo>
                <a:lnTo>
                  <a:pt x="379628" y="194429"/>
                </a:lnTo>
                <a:cubicBezTo>
                  <a:pt x="379628" y="204479"/>
                  <a:pt x="371467" y="212641"/>
                  <a:pt x="361415" y="212641"/>
                </a:cubicBezTo>
                <a:cubicBezTo>
                  <a:pt x="351750" y="212641"/>
                  <a:pt x="343504" y="204823"/>
                  <a:pt x="342687" y="194901"/>
                </a:cubicBezTo>
                <a:lnTo>
                  <a:pt x="342644" y="179652"/>
                </a:lnTo>
                <a:cubicBezTo>
                  <a:pt x="342644" y="169472"/>
                  <a:pt x="351235" y="160881"/>
                  <a:pt x="361415" y="160881"/>
                </a:cubicBezTo>
                <a:close/>
                <a:moveTo>
                  <a:pt x="273744" y="160881"/>
                </a:moveTo>
                <a:cubicBezTo>
                  <a:pt x="284182" y="161740"/>
                  <a:pt x="291956" y="169988"/>
                  <a:pt x="291956" y="179652"/>
                </a:cubicBezTo>
                <a:lnTo>
                  <a:pt x="291956" y="194429"/>
                </a:lnTo>
                <a:cubicBezTo>
                  <a:pt x="291956" y="204479"/>
                  <a:pt x="283795" y="212641"/>
                  <a:pt x="273744" y="212641"/>
                </a:cubicBezTo>
                <a:cubicBezTo>
                  <a:pt x="264080" y="212641"/>
                  <a:pt x="255832" y="204823"/>
                  <a:pt x="255017" y="194901"/>
                </a:cubicBezTo>
                <a:lnTo>
                  <a:pt x="254974" y="179652"/>
                </a:lnTo>
                <a:cubicBezTo>
                  <a:pt x="254974" y="169472"/>
                  <a:pt x="263564" y="160881"/>
                  <a:pt x="273744" y="160881"/>
                </a:cubicBezTo>
                <a:close/>
                <a:moveTo>
                  <a:pt x="179514" y="160881"/>
                </a:moveTo>
                <a:cubicBezTo>
                  <a:pt x="189952" y="161740"/>
                  <a:pt x="197726" y="169988"/>
                  <a:pt x="197726" y="179652"/>
                </a:cubicBezTo>
                <a:lnTo>
                  <a:pt x="197726" y="194429"/>
                </a:lnTo>
                <a:cubicBezTo>
                  <a:pt x="197726" y="199454"/>
                  <a:pt x="195687" y="204008"/>
                  <a:pt x="192390" y="207304"/>
                </a:cubicBezTo>
                <a:lnTo>
                  <a:pt x="192075" y="207434"/>
                </a:lnTo>
                <a:lnTo>
                  <a:pt x="192018" y="207570"/>
                </a:lnTo>
                <a:cubicBezTo>
                  <a:pt x="188722" y="210867"/>
                  <a:pt x="184168" y="212908"/>
                  <a:pt x="179143" y="212908"/>
                </a:cubicBezTo>
                <a:cubicBezTo>
                  <a:pt x="169477" y="212908"/>
                  <a:pt x="161231" y="205089"/>
                  <a:pt x="160414" y="195168"/>
                </a:cubicBezTo>
                <a:lnTo>
                  <a:pt x="160372" y="179919"/>
                </a:lnTo>
                <a:cubicBezTo>
                  <a:pt x="160372" y="174828"/>
                  <a:pt x="162519" y="170135"/>
                  <a:pt x="165940" y="166716"/>
                </a:cubicBezTo>
                <a:lnTo>
                  <a:pt x="166255" y="166583"/>
                </a:lnTo>
                <a:lnTo>
                  <a:pt x="166311" y="166448"/>
                </a:lnTo>
                <a:cubicBezTo>
                  <a:pt x="169732" y="163029"/>
                  <a:pt x="174425" y="160881"/>
                  <a:pt x="179514" y="160881"/>
                </a:cubicBezTo>
                <a:close/>
                <a:moveTo>
                  <a:pt x="91846" y="160881"/>
                </a:moveTo>
                <a:cubicBezTo>
                  <a:pt x="102285" y="161740"/>
                  <a:pt x="110059" y="169988"/>
                  <a:pt x="110059" y="179652"/>
                </a:cubicBezTo>
                <a:lnTo>
                  <a:pt x="110059" y="194429"/>
                </a:lnTo>
                <a:cubicBezTo>
                  <a:pt x="110059" y="199454"/>
                  <a:pt x="108018" y="204008"/>
                  <a:pt x="104722" y="207304"/>
                </a:cubicBezTo>
                <a:lnTo>
                  <a:pt x="104406" y="207434"/>
                </a:lnTo>
                <a:lnTo>
                  <a:pt x="104350" y="207570"/>
                </a:lnTo>
                <a:cubicBezTo>
                  <a:pt x="101053" y="210867"/>
                  <a:pt x="96500" y="212908"/>
                  <a:pt x="91474" y="212908"/>
                </a:cubicBezTo>
                <a:cubicBezTo>
                  <a:pt x="81810" y="212908"/>
                  <a:pt x="73563" y="205089"/>
                  <a:pt x="72747" y="195168"/>
                </a:cubicBezTo>
                <a:lnTo>
                  <a:pt x="72738" y="191940"/>
                </a:lnTo>
                <a:lnTo>
                  <a:pt x="77195" y="169269"/>
                </a:lnTo>
                <a:lnTo>
                  <a:pt x="78271" y="166716"/>
                </a:lnTo>
                <a:lnTo>
                  <a:pt x="78587" y="166583"/>
                </a:lnTo>
                <a:lnTo>
                  <a:pt x="78643" y="166448"/>
                </a:lnTo>
                <a:cubicBezTo>
                  <a:pt x="82063" y="163029"/>
                  <a:pt x="86756" y="160881"/>
                  <a:pt x="91846" y="160881"/>
                </a:cubicBezTo>
                <a:close/>
                <a:moveTo>
                  <a:pt x="492640" y="160662"/>
                </a:moveTo>
                <a:cubicBezTo>
                  <a:pt x="496163" y="160662"/>
                  <a:pt x="499041" y="163540"/>
                  <a:pt x="499041" y="167063"/>
                </a:cubicBezTo>
                <a:lnTo>
                  <a:pt x="499041" y="205850"/>
                </a:lnTo>
                <a:cubicBezTo>
                  <a:pt x="499041" y="209373"/>
                  <a:pt x="496163" y="212250"/>
                  <a:pt x="492640" y="212250"/>
                </a:cubicBezTo>
                <a:cubicBezTo>
                  <a:pt x="489118" y="212250"/>
                  <a:pt x="486240" y="209373"/>
                  <a:pt x="486240" y="205850"/>
                </a:cubicBezTo>
                <a:lnTo>
                  <a:pt x="486240" y="167063"/>
                </a:lnTo>
                <a:cubicBezTo>
                  <a:pt x="486240" y="163540"/>
                  <a:pt x="489118" y="160662"/>
                  <a:pt x="492640" y="160662"/>
                </a:cubicBezTo>
                <a:close/>
                <a:moveTo>
                  <a:pt x="404969" y="160662"/>
                </a:moveTo>
                <a:cubicBezTo>
                  <a:pt x="408491" y="160662"/>
                  <a:pt x="411370" y="163540"/>
                  <a:pt x="411370" y="167063"/>
                </a:cubicBezTo>
                <a:lnTo>
                  <a:pt x="411370" y="205850"/>
                </a:lnTo>
                <a:cubicBezTo>
                  <a:pt x="411370" y="209373"/>
                  <a:pt x="408491" y="212250"/>
                  <a:pt x="404969" y="212250"/>
                </a:cubicBezTo>
                <a:cubicBezTo>
                  <a:pt x="401447" y="212250"/>
                  <a:pt x="398569" y="209373"/>
                  <a:pt x="398569" y="205850"/>
                </a:cubicBezTo>
                <a:lnTo>
                  <a:pt x="398569" y="167063"/>
                </a:lnTo>
                <a:cubicBezTo>
                  <a:pt x="398569" y="163540"/>
                  <a:pt x="401447" y="160662"/>
                  <a:pt x="404969" y="160662"/>
                </a:cubicBezTo>
                <a:close/>
                <a:moveTo>
                  <a:pt x="317298" y="160662"/>
                </a:moveTo>
                <a:cubicBezTo>
                  <a:pt x="320821" y="160662"/>
                  <a:pt x="323699" y="163540"/>
                  <a:pt x="323699" y="167063"/>
                </a:cubicBezTo>
                <a:lnTo>
                  <a:pt x="323699" y="205850"/>
                </a:lnTo>
                <a:cubicBezTo>
                  <a:pt x="323699" y="209373"/>
                  <a:pt x="320821" y="212250"/>
                  <a:pt x="317298" y="212250"/>
                </a:cubicBezTo>
                <a:cubicBezTo>
                  <a:pt x="313776" y="212250"/>
                  <a:pt x="310898" y="209373"/>
                  <a:pt x="310898" y="205850"/>
                </a:cubicBezTo>
                <a:lnTo>
                  <a:pt x="310898" y="167063"/>
                </a:lnTo>
                <a:cubicBezTo>
                  <a:pt x="310898" y="163540"/>
                  <a:pt x="313776" y="160662"/>
                  <a:pt x="317298" y="160662"/>
                </a:cubicBezTo>
                <a:close/>
                <a:moveTo>
                  <a:pt x="223070" y="160662"/>
                </a:moveTo>
                <a:cubicBezTo>
                  <a:pt x="226593" y="160662"/>
                  <a:pt x="229471" y="163540"/>
                  <a:pt x="229471" y="167063"/>
                </a:cubicBezTo>
                <a:lnTo>
                  <a:pt x="229471" y="205850"/>
                </a:lnTo>
                <a:cubicBezTo>
                  <a:pt x="229471" y="209373"/>
                  <a:pt x="226593" y="212250"/>
                  <a:pt x="223070" y="212250"/>
                </a:cubicBezTo>
                <a:lnTo>
                  <a:pt x="223018" y="212198"/>
                </a:lnTo>
                <a:lnTo>
                  <a:pt x="222699" y="212517"/>
                </a:lnTo>
                <a:cubicBezTo>
                  <a:pt x="219177" y="212517"/>
                  <a:pt x="216299" y="209639"/>
                  <a:pt x="216299" y="206117"/>
                </a:cubicBezTo>
                <a:lnTo>
                  <a:pt x="216299" y="167329"/>
                </a:lnTo>
                <a:cubicBezTo>
                  <a:pt x="216299" y="163806"/>
                  <a:pt x="219177" y="160929"/>
                  <a:pt x="222699" y="160929"/>
                </a:cubicBezTo>
                <a:lnTo>
                  <a:pt x="222752" y="160981"/>
                </a:lnTo>
                <a:close/>
                <a:moveTo>
                  <a:pt x="135400" y="160662"/>
                </a:moveTo>
                <a:cubicBezTo>
                  <a:pt x="138923" y="160662"/>
                  <a:pt x="141801" y="163540"/>
                  <a:pt x="141801" y="167063"/>
                </a:cubicBezTo>
                <a:lnTo>
                  <a:pt x="141801" y="205850"/>
                </a:lnTo>
                <a:cubicBezTo>
                  <a:pt x="141801" y="209373"/>
                  <a:pt x="138923" y="212250"/>
                  <a:pt x="135400" y="212250"/>
                </a:cubicBezTo>
                <a:lnTo>
                  <a:pt x="135347" y="212198"/>
                </a:lnTo>
                <a:lnTo>
                  <a:pt x="135028" y="212517"/>
                </a:lnTo>
                <a:cubicBezTo>
                  <a:pt x="131506" y="212517"/>
                  <a:pt x="128628" y="209639"/>
                  <a:pt x="128628" y="206117"/>
                </a:cubicBezTo>
                <a:lnTo>
                  <a:pt x="128628" y="167329"/>
                </a:lnTo>
                <a:cubicBezTo>
                  <a:pt x="128628" y="163806"/>
                  <a:pt x="131506" y="160929"/>
                  <a:pt x="135028" y="160929"/>
                </a:cubicBezTo>
                <a:lnTo>
                  <a:pt x="135080" y="160981"/>
                </a:lnTo>
                <a:close/>
                <a:moveTo>
                  <a:pt x="538148" y="160515"/>
                </a:moveTo>
                <a:cubicBezTo>
                  <a:pt x="548586" y="161374"/>
                  <a:pt x="556361" y="169621"/>
                  <a:pt x="556361" y="179286"/>
                </a:cubicBezTo>
                <a:lnTo>
                  <a:pt x="556361" y="194062"/>
                </a:lnTo>
                <a:cubicBezTo>
                  <a:pt x="556361" y="204113"/>
                  <a:pt x="548199" y="212275"/>
                  <a:pt x="538148" y="212275"/>
                </a:cubicBezTo>
                <a:cubicBezTo>
                  <a:pt x="528484" y="212275"/>
                  <a:pt x="520237" y="204457"/>
                  <a:pt x="519420" y="194535"/>
                </a:cubicBezTo>
                <a:lnTo>
                  <a:pt x="519377" y="179286"/>
                </a:lnTo>
                <a:cubicBezTo>
                  <a:pt x="519377" y="169105"/>
                  <a:pt x="527968" y="160515"/>
                  <a:pt x="538148" y="160515"/>
                </a:cubicBezTo>
                <a:close/>
                <a:moveTo>
                  <a:pt x="581702" y="160296"/>
                </a:moveTo>
                <a:cubicBezTo>
                  <a:pt x="585224" y="160296"/>
                  <a:pt x="588102" y="163173"/>
                  <a:pt x="588102" y="166696"/>
                </a:cubicBezTo>
                <a:lnTo>
                  <a:pt x="588102" y="205485"/>
                </a:lnTo>
                <a:cubicBezTo>
                  <a:pt x="588102" y="209006"/>
                  <a:pt x="585224" y="211884"/>
                  <a:pt x="581702" y="211884"/>
                </a:cubicBezTo>
                <a:cubicBezTo>
                  <a:pt x="578180" y="211884"/>
                  <a:pt x="575301" y="209006"/>
                  <a:pt x="575301" y="205485"/>
                </a:cubicBezTo>
                <a:lnTo>
                  <a:pt x="575301" y="166696"/>
                </a:lnTo>
                <a:cubicBezTo>
                  <a:pt x="575301" y="163173"/>
                  <a:pt x="578180" y="160296"/>
                  <a:pt x="581702" y="160296"/>
                </a:cubicBezTo>
                <a:close/>
                <a:moveTo>
                  <a:pt x="85915" y="128342"/>
                </a:moveTo>
                <a:lnTo>
                  <a:pt x="85915" y="141332"/>
                </a:lnTo>
                <a:lnTo>
                  <a:pt x="81890" y="145384"/>
                </a:lnTo>
                <a:lnTo>
                  <a:pt x="84953" y="129803"/>
                </a:lnTo>
                <a:close/>
                <a:moveTo>
                  <a:pt x="210384" y="107506"/>
                </a:moveTo>
                <a:lnTo>
                  <a:pt x="203870" y="114018"/>
                </a:lnTo>
                <a:lnTo>
                  <a:pt x="203870" y="128794"/>
                </a:lnTo>
                <a:lnTo>
                  <a:pt x="211111" y="136119"/>
                </a:lnTo>
                <a:lnTo>
                  <a:pt x="217717" y="129060"/>
                </a:lnTo>
                <a:lnTo>
                  <a:pt x="217717" y="114285"/>
                </a:lnTo>
                <a:close/>
                <a:moveTo>
                  <a:pt x="122714" y="107506"/>
                </a:moveTo>
                <a:lnTo>
                  <a:pt x="116200" y="114018"/>
                </a:lnTo>
                <a:lnTo>
                  <a:pt x="116200" y="128794"/>
                </a:lnTo>
                <a:lnTo>
                  <a:pt x="123439" y="136119"/>
                </a:lnTo>
                <a:lnTo>
                  <a:pt x="130047" y="129060"/>
                </a:lnTo>
                <a:lnTo>
                  <a:pt x="130047" y="114285"/>
                </a:lnTo>
                <a:close/>
                <a:moveTo>
                  <a:pt x="480270" y="107188"/>
                </a:moveTo>
                <a:cubicBezTo>
                  <a:pt x="476576" y="107188"/>
                  <a:pt x="473440" y="110324"/>
                  <a:pt x="473440" y="114018"/>
                </a:cubicBezTo>
                <a:lnTo>
                  <a:pt x="473440" y="128794"/>
                </a:lnTo>
                <a:cubicBezTo>
                  <a:pt x="473440" y="132532"/>
                  <a:pt x="476704" y="135839"/>
                  <a:pt x="480743" y="136183"/>
                </a:cubicBezTo>
                <a:cubicBezTo>
                  <a:pt x="483750" y="136183"/>
                  <a:pt x="487659" y="133133"/>
                  <a:pt x="487659" y="128794"/>
                </a:cubicBezTo>
                <a:lnTo>
                  <a:pt x="487659" y="114018"/>
                </a:lnTo>
                <a:cubicBezTo>
                  <a:pt x="487358" y="110453"/>
                  <a:pt x="484007" y="107188"/>
                  <a:pt x="480270" y="107188"/>
                </a:cubicBezTo>
                <a:close/>
                <a:moveTo>
                  <a:pt x="392599" y="107188"/>
                </a:moveTo>
                <a:cubicBezTo>
                  <a:pt x="388905" y="107188"/>
                  <a:pt x="385769" y="110324"/>
                  <a:pt x="385769" y="114018"/>
                </a:cubicBezTo>
                <a:lnTo>
                  <a:pt x="385769" y="128794"/>
                </a:lnTo>
                <a:cubicBezTo>
                  <a:pt x="385769" y="132532"/>
                  <a:pt x="389034" y="135839"/>
                  <a:pt x="393071" y="136183"/>
                </a:cubicBezTo>
                <a:cubicBezTo>
                  <a:pt x="396079" y="136183"/>
                  <a:pt x="399987" y="133133"/>
                  <a:pt x="399987" y="128794"/>
                </a:cubicBezTo>
                <a:lnTo>
                  <a:pt x="399987" y="114018"/>
                </a:lnTo>
                <a:cubicBezTo>
                  <a:pt x="399687" y="110453"/>
                  <a:pt x="396336" y="107188"/>
                  <a:pt x="392599" y="107188"/>
                </a:cubicBezTo>
                <a:close/>
                <a:moveTo>
                  <a:pt x="304971" y="107188"/>
                </a:moveTo>
                <a:cubicBezTo>
                  <a:pt x="301277" y="107188"/>
                  <a:pt x="298141" y="110324"/>
                  <a:pt x="298141" y="114018"/>
                </a:cubicBezTo>
                <a:lnTo>
                  <a:pt x="298141" y="128794"/>
                </a:lnTo>
                <a:cubicBezTo>
                  <a:pt x="298141" y="132532"/>
                  <a:pt x="301406" y="135839"/>
                  <a:pt x="305444" y="136183"/>
                </a:cubicBezTo>
                <a:cubicBezTo>
                  <a:pt x="308450" y="136183"/>
                  <a:pt x="312359" y="133133"/>
                  <a:pt x="312359" y="128794"/>
                </a:cubicBezTo>
                <a:lnTo>
                  <a:pt x="312359" y="114018"/>
                </a:lnTo>
                <a:cubicBezTo>
                  <a:pt x="312059" y="110453"/>
                  <a:pt x="308708" y="107188"/>
                  <a:pt x="304971" y="107188"/>
                </a:cubicBezTo>
                <a:close/>
                <a:moveTo>
                  <a:pt x="569375" y="106823"/>
                </a:moveTo>
                <a:cubicBezTo>
                  <a:pt x="565681" y="106823"/>
                  <a:pt x="562546" y="109958"/>
                  <a:pt x="562546" y="113653"/>
                </a:cubicBezTo>
                <a:lnTo>
                  <a:pt x="562546" y="128428"/>
                </a:lnTo>
                <a:cubicBezTo>
                  <a:pt x="562546" y="132166"/>
                  <a:pt x="565810" y="135472"/>
                  <a:pt x="569847" y="135816"/>
                </a:cubicBezTo>
                <a:cubicBezTo>
                  <a:pt x="572854" y="135816"/>
                  <a:pt x="576763" y="132767"/>
                  <a:pt x="576763" y="128428"/>
                </a:cubicBezTo>
                <a:lnTo>
                  <a:pt x="576763" y="113653"/>
                </a:lnTo>
                <a:cubicBezTo>
                  <a:pt x="576463" y="110087"/>
                  <a:pt x="573112" y="106823"/>
                  <a:pt x="569375" y="106823"/>
                </a:cubicBezTo>
                <a:close/>
                <a:moveTo>
                  <a:pt x="562281" y="98380"/>
                </a:moveTo>
                <a:lnTo>
                  <a:pt x="582211" y="112182"/>
                </a:lnTo>
                <a:lnTo>
                  <a:pt x="588126" y="121211"/>
                </a:lnTo>
                <a:lnTo>
                  <a:pt x="588146" y="128428"/>
                </a:lnTo>
                <a:cubicBezTo>
                  <a:pt x="588146" y="138608"/>
                  <a:pt x="579555" y="147199"/>
                  <a:pt x="569375" y="147199"/>
                </a:cubicBezTo>
                <a:cubicBezTo>
                  <a:pt x="558938" y="146341"/>
                  <a:pt x="551162" y="138094"/>
                  <a:pt x="551162" y="128428"/>
                </a:cubicBezTo>
                <a:lnTo>
                  <a:pt x="551162" y="113653"/>
                </a:lnTo>
                <a:cubicBezTo>
                  <a:pt x="551162" y="108627"/>
                  <a:pt x="553203" y="104074"/>
                  <a:pt x="556499" y="100777"/>
                </a:cubicBezTo>
                <a:close/>
                <a:moveTo>
                  <a:pt x="436712" y="96145"/>
                </a:moveTo>
                <a:cubicBezTo>
                  <a:pt x="440234" y="96145"/>
                  <a:pt x="443112" y="99023"/>
                  <a:pt x="443112" y="102545"/>
                </a:cubicBezTo>
                <a:lnTo>
                  <a:pt x="443112" y="141332"/>
                </a:lnTo>
                <a:cubicBezTo>
                  <a:pt x="443156" y="144898"/>
                  <a:pt x="440277" y="147776"/>
                  <a:pt x="436712" y="147776"/>
                </a:cubicBezTo>
                <a:cubicBezTo>
                  <a:pt x="433190" y="147776"/>
                  <a:pt x="430312" y="144898"/>
                  <a:pt x="430312" y="141375"/>
                </a:cubicBezTo>
                <a:lnTo>
                  <a:pt x="430312" y="102545"/>
                </a:lnTo>
                <a:cubicBezTo>
                  <a:pt x="430312" y="99023"/>
                  <a:pt x="433190" y="96145"/>
                  <a:pt x="436712" y="96145"/>
                </a:cubicBezTo>
                <a:close/>
                <a:moveTo>
                  <a:pt x="349084" y="96145"/>
                </a:moveTo>
                <a:cubicBezTo>
                  <a:pt x="352606" y="96145"/>
                  <a:pt x="355484" y="99023"/>
                  <a:pt x="355484" y="102545"/>
                </a:cubicBezTo>
                <a:lnTo>
                  <a:pt x="355484" y="141332"/>
                </a:lnTo>
                <a:cubicBezTo>
                  <a:pt x="355484" y="144898"/>
                  <a:pt x="352606" y="147776"/>
                  <a:pt x="349084" y="147776"/>
                </a:cubicBezTo>
                <a:cubicBezTo>
                  <a:pt x="345562" y="147776"/>
                  <a:pt x="342684" y="144898"/>
                  <a:pt x="342684" y="141375"/>
                </a:cubicBezTo>
                <a:lnTo>
                  <a:pt x="342684" y="102545"/>
                </a:lnTo>
                <a:cubicBezTo>
                  <a:pt x="342684" y="99023"/>
                  <a:pt x="345562" y="96145"/>
                  <a:pt x="349084" y="96145"/>
                </a:cubicBezTo>
                <a:close/>
                <a:moveTo>
                  <a:pt x="261413" y="96145"/>
                </a:moveTo>
                <a:cubicBezTo>
                  <a:pt x="264935" y="96145"/>
                  <a:pt x="267813" y="99023"/>
                  <a:pt x="267813" y="102545"/>
                </a:cubicBezTo>
                <a:lnTo>
                  <a:pt x="267813" y="141332"/>
                </a:lnTo>
                <a:cubicBezTo>
                  <a:pt x="267813" y="144898"/>
                  <a:pt x="264935" y="147776"/>
                  <a:pt x="261413" y="147776"/>
                </a:cubicBezTo>
                <a:cubicBezTo>
                  <a:pt x="257892" y="147776"/>
                  <a:pt x="255013" y="144898"/>
                  <a:pt x="255013" y="141375"/>
                </a:cubicBezTo>
                <a:lnTo>
                  <a:pt x="255013" y="102545"/>
                </a:lnTo>
                <a:cubicBezTo>
                  <a:pt x="254970" y="99023"/>
                  <a:pt x="257849" y="96145"/>
                  <a:pt x="261413" y="96145"/>
                </a:cubicBezTo>
                <a:close/>
                <a:moveTo>
                  <a:pt x="167143" y="96145"/>
                </a:moveTo>
                <a:cubicBezTo>
                  <a:pt x="170665" y="96145"/>
                  <a:pt x="173543" y="99023"/>
                  <a:pt x="173543" y="102545"/>
                </a:cubicBezTo>
                <a:lnTo>
                  <a:pt x="173543" y="141332"/>
                </a:lnTo>
                <a:cubicBezTo>
                  <a:pt x="173586" y="144898"/>
                  <a:pt x="170708" y="147776"/>
                  <a:pt x="167143" y="147776"/>
                </a:cubicBezTo>
                <a:lnTo>
                  <a:pt x="167089" y="147722"/>
                </a:lnTo>
                <a:lnTo>
                  <a:pt x="166772" y="148042"/>
                </a:lnTo>
                <a:cubicBezTo>
                  <a:pt x="163249" y="148042"/>
                  <a:pt x="160372" y="145164"/>
                  <a:pt x="160372" y="141642"/>
                </a:cubicBezTo>
                <a:lnTo>
                  <a:pt x="160372" y="102811"/>
                </a:lnTo>
                <a:cubicBezTo>
                  <a:pt x="160372" y="99289"/>
                  <a:pt x="163249" y="96411"/>
                  <a:pt x="166772" y="96411"/>
                </a:cubicBezTo>
                <a:lnTo>
                  <a:pt x="166824" y="96463"/>
                </a:lnTo>
                <a:close/>
                <a:moveTo>
                  <a:pt x="480313" y="95806"/>
                </a:moveTo>
                <a:cubicBezTo>
                  <a:pt x="489978" y="95806"/>
                  <a:pt x="498225" y="103623"/>
                  <a:pt x="499041" y="113546"/>
                </a:cubicBezTo>
                <a:lnTo>
                  <a:pt x="499084" y="128794"/>
                </a:lnTo>
                <a:cubicBezTo>
                  <a:pt x="499084" y="138975"/>
                  <a:pt x="490494" y="147565"/>
                  <a:pt x="480313" y="147565"/>
                </a:cubicBezTo>
                <a:cubicBezTo>
                  <a:pt x="469875" y="146706"/>
                  <a:pt x="462100" y="138459"/>
                  <a:pt x="462100" y="128794"/>
                </a:cubicBezTo>
                <a:lnTo>
                  <a:pt x="462100" y="114018"/>
                </a:lnTo>
                <a:cubicBezTo>
                  <a:pt x="462100" y="103967"/>
                  <a:pt x="470262" y="95806"/>
                  <a:pt x="480313" y="95806"/>
                </a:cubicBezTo>
                <a:close/>
                <a:moveTo>
                  <a:pt x="392643" y="95806"/>
                </a:moveTo>
                <a:cubicBezTo>
                  <a:pt x="402306" y="95806"/>
                  <a:pt x="410554" y="103623"/>
                  <a:pt x="411371" y="113546"/>
                </a:cubicBezTo>
                <a:lnTo>
                  <a:pt x="411414" y="128794"/>
                </a:lnTo>
                <a:cubicBezTo>
                  <a:pt x="411414" y="138975"/>
                  <a:pt x="402822" y="147565"/>
                  <a:pt x="392643" y="147565"/>
                </a:cubicBezTo>
                <a:cubicBezTo>
                  <a:pt x="382204" y="146706"/>
                  <a:pt x="374430" y="138459"/>
                  <a:pt x="374430" y="128794"/>
                </a:cubicBezTo>
                <a:lnTo>
                  <a:pt x="374430" y="114018"/>
                </a:lnTo>
                <a:cubicBezTo>
                  <a:pt x="374430" y="103967"/>
                  <a:pt x="382591" y="95806"/>
                  <a:pt x="392643" y="95806"/>
                </a:cubicBezTo>
                <a:close/>
                <a:moveTo>
                  <a:pt x="304971" y="95806"/>
                </a:moveTo>
                <a:cubicBezTo>
                  <a:pt x="314637" y="95806"/>
                  <a:pt x="322883" y="103623"/>
                  <a:pt x="323700" y="113546"/>
                </a:cubicBezTo>
                <a:lnTo>
                  <a:pt x="323742" y="128794"/>
                </a:lnTo>
                <a:cubicBezTo>
                  <a:pt x="323742" y="138975"/>
                  <a:pt x="315152" y="147565"/>
                  <a:pt x="304971" y="147565"/>
                </a:cubicBezTo>
                <a:cubicBezTo>
                  <a:pt x="294534" y="146706"/>
                  <a:pt x="286759" y="138459"/>
                  <a:pt x="286759" y="128794"/>
                </a:cubicBezTo>
                <a:lnTo>
                  <a:pt x="286759" y="114018"/>
                </a:lnTo>
                <a:cubicBezTo>
                  <a:pt x="286759" y="103967"/>
                  <a:pt x="294920" y="95806"/>
                  <a:pt x="304971" y="95806"/>
                </a:cubicBezTo>
                <a:close/>
                <a:moveTo>
                  <a:pt x="210744" y="95806"/>
                </a:moveTo>
                <a:cubicBezTo>
                  <a:pt x="220408" y="95806"/>
                  <a:pt x="228655" y="103623"/>
                  <a:pt x="229472" y="113546"/>
                </a:cubicBezTo>
                <a:lnTo>
                  <a:pt x="229515" y="128794"/>
                </a:lnTo>
                <a:cubicBezTo>
                  <a:pt x="229515" y="133884"/>
                  <a:pt x="227367" y="138577"/>
                  <a:pt x="223947" y="141997"/>
                </a:cubicBezTo>
                <a:lnTo>
                  <a:pt x="223632" y="142130"/>
                </a:lnTo>
                <a:lnTo>
                  <a:pt x="223576" y="142263"/>
                </a:lnTo>
                <a:cubicBezTo>
                  <a:pt x="220155" y="145684"/>
                  <a:pt x="215463" y="147831"/>
                  <a:pt x="210373" y="147831"/>
                </a:cubicBezTo>
                <a:cubicBezTo>
                  <a:pt x="199934" y="146973"/>
                  <a:pt x="192160" y="138726"/>
                  <a:pt x="192160" y="129060"/>
                </a:cubicBezTo>
                <a:lnTo>
                  <a:pt x="192160" y="114285"/>
                </a:lnTo>
                <a:cubicBezTo>
                  <a:pt x="192160" y="109259"/>
                  <a:pt x="194201" y="104706"/>
                  <a:pt x="197497" y="101410"/>
                </a:cubicBezTo>
                <a:lnTo>
                  <a:pt x="197812" y="101279"/>
                </a:lnTo>
                <a:lnTo>
                  <a:pt x="197869" y="101142"/>
                </a:lnTo>
                <a:cubicBezTo>
                  <a:pt x="201165" y="97846"/>
                  <a:pt x="205719" y="95806"/>
                  <a:pt x="210744" y="95806"/>
                </a:cubicBezTo>
                <a:close/>
                <a:moveTo>
                  <a:pt x="123073" y="95806"/>
                </a:moveTo>
                <a:cubicBezTo>
                  <a:pt x="132738" y="95806"/>
                  <a:pt x="140985" y="103623"/>
                  <a:pt x="141801" y="113546"/>
                </a:cubicBezTo>
                <a:lnTo>
                  <a:pt x="141844" y="128794"/>
                </a:lnTo>
                <a:cubicBezTo>
                  <a:pt x="141844" y="133884"/>
                  <a:pt x="139696" y="138577"/>
                  <a:pt x="136276" y="141997"/>
                </a:cubicBezTo>
                <a:lnTo>
                  <a:pt x="135961" y="142130"/>
                </a:lnTo>
                <a:lnTo>
                  <a:pt x="135904" y="142263"/>
                </a:lnTo>
                <a:cubicBezTo>
                  <a:pt x="132485" y="145684"/>
                  <a:pt x="127792" y="147831"/>
                  <a:pt x="122701" y="147831"/>
                </a:cubicBezTo>
                <a:cubicBezTo>
                  <a:pt x="112264" y="146973"/>
                  <a:pt x="104489" y="138726"/>
                  <a:pt x="104489" y="129060"/>
                </a:cubicBezTo>
                <a:lnTo>
                  <a:pt x="104489" y="114285"/>
                </a:lnTo>
                <a:cubicBezTo>
                  <a:pt x="104489" y="109259"/>
                  <a:pt x="106529" y="104706"/>
                  <a:pt x="109826" y="101410"/>
                </a:cubicBezTo>
                <a:lnTo>
                  <a:pt x="110141" y="101279"/>
                </a:lnTo>
                <a:lnTo>
                  <a:pt x="110197" y="101142"/>
                </a:lnTo>
                <a:cubicBezTo>
                  <a:pt x="113494" y="97846"/>
                  <a:pt x="118047" y="95806"/>
                  <a:pt x="123073" y="95806"/>
                </a:cubicBezTo>
                <a:close/>
                <a:moveTo>
                  <a:pt x="525818" y="95778"/>
                </a:moveTo>
                <a:cubicBezTo>
                  <a:pt x="529339" y="95778"/>
                  <a:pt x="532218" y="98656"/>
                  <a:pt x="532218" y="102178"/>
                </a:cubicBezTo>
                <a:lnTo>
                  <a:pt x="532218" y="140966"/>
                </a:lnTo>
                <a:cubicBezTo>
                  <a:pt x="532218" y="144531"/>
                  <a:pt x="529339" y="147409"/>
                  <a:pt x="525818" y="147409"/>
                </a:cubicBezTo>
                <a:cubicBezTo>
                  <a:pt x="522295" y="147409"/>
                  <a:pt x="519417" y="144531"/>
                  <a:pt x="519417" y="141010"/>
                </a:cubicBezTo>
                <a:lnTo>
                  <a:pt x="519417" y="102178"/>
                </a:lnTo>
                <a:cubicBezTo>
                  <a:pt x="519374" y="98656"/>
                  <a:pt x="522252" y="95778"/>
                  <a:pt x="525818" y="95778"/>
                </a:cubicBezTo>
                <a:close/>
                <a:moveTo>
                  <a:pt x="499147" y="73621"/>
                </a:moveTo>
                <a:lnTo>
                  <a:pt x="503721" y="74567"/>
                </a:lnTo>
                <a:lnTo>
                  <a:pt x="505756" y="77921"/>
                </a:lnTo>
                <a:lnTo>
                  <a:pt x="507642" y="84001"/>
                </a:lnTo>
                <a:lnTo>
                  <a:pt x="516722" y="80678"/>
                </a:lnTo>
                <a:lnTo>
                  <a:pt x="517789" y="81759"/>
                </a:lnTo>
                <a:lnTo>
                  <a:pt x="519884" y="79520"/>
                </a:lnTo>
                <a:lnTo>
                  <a:pt x="522694" y="78492"/>
                </a:lnTo>
                <a:lnTo>
                  <a:pt x="533454" y="80718"/>
                </a:lnTo>
                <a:lnTo>
                  <a:pt x="530564" y="87573"/>
                </a:lnTo>
                <a:cubicBezTo>
                  <a:pt x="527143" y="90994"/>
                  <a:pt x="522450" y="93141"/>
                  <a:pt x="517360" y="93141"/>
                </a:cubicBezTo>
                <a:cubicBezTo>
                  <a:pt x="506922" y="92281"/>
                  <a:pt x="499147" y="84035"/>
                  <a:pt x="499147" y="74370"/>
                </a:cubicBezTo>
                <a:close/>
                <a:moveTo>
                  <a:pt x="480203" y="71275"/>
                </a:moveTo>
                <a:lnTo>
                  <a:pt x="480203" y="86948"/>
                </a:lnTo>
                <a:cubicBezTo>
                  <a:pt x="480203" y="90469"/>
                  <a:pt x="477324" y="93348"/>
                  <a:pt x="473802" y="93348"/>
                </a:cubicBezTo>
                <a:cubicBezTo>
                  <a:pt x="470280" y="93348"/>
                  <a:pt x="467402" y="90469"/>
                  <a:pt x="467402" y="86948"/>
                </a:cubicBezTo>
                <a:lnTo>
                  <a:pt x="467402" y="73698"/>
                </a:lnTo>
                <a:close/>
                <a:moveTo>
                  <a:pt x="133031" y="59720"/>
                </a:moveTo>
                <a:lnTo>
                  <a:pt x="133031" y="85755"/>
                </a:lnTo>
                <a:cubicBezTo>
                  <a:pt x="133031" y="89278"/>
                  <a:pt x="130153" y="92155"/>
                  <a:pt x="126631" y="92155"/>
                </a:cubicBezTo>
                <a:cubicBezTo>
                  <a:pt x="123110" y="92155"/>
                  <a:pt x="120232" y="89278"/>
                  <a:pt x="120232" y="85755"/>
                </a:cubicBezTo>
                <a:lnTo>
                  <a:pt x="120232" y="76207"/>
                </a:lnTo>
                <a:lnTo>
                  <a:pt x="129467" y="62176"/>
                </a:lnTo>
                <a:close/>
                <a:moveTo>
                  <a:pt x="413671" y="54301"/>
                </a:moveTo>
                <a:lnTo>
                  <a:pt x="422860" y="63727"/>
                </a:lnTo>
                <a:lnTo>
                  <a:pt x="422860" y="74370"/>
                </a:lnTo>
                <a:cubicBezTo>
                  <a:pt x="422860" y="78107"/>
                  <a:pt x="426124" y="81415"/>
                  <a:pt x="430162" y="81759"/>
                </a:cubicBezTo>
                <a:lnTo>
                  <a:pt x="435196" y="76381"/>
                </a:lnTo>
                <a:lnTo>
                  <a:pt x="438004" y="79261"/>
                </a:lnTo>
                <a:lnTo>
                  <a:pt x="447126" y="77535"/>
                </a:lnTo>
                <a:lnTo>
                  <a:pt x="442893" y="87573"/>
                </a:lnTo>
                <a:cubicBezTo>
                  <a:pt x="439473" y="90993"/>
                  <a:pt x="434780" y="93141"/>
                  <a:pt x="429690" y="93141"/>
                </a:cubicBezTo>
                <a:cubicBezTo>
                  <a:pt x="419252" y="92281"/>
                  <a:pt x="411477" y="84035"/>
                  <a:pt x="411477" y="74370"/>
                </a:cubicBezTo>
                <a:lnTo>
                  <a:pt x="411477" y="59594"/>
                </a:lnTo>
                <a:close/>
                <a:moveTo>
                  <a:pt x="345485" y="51572"/>
                </a:moveTo>
                <a:cubicBezTo>
                  <a:pt x="341791" y="51572"/>
                  <a:pt x="338655" y="54708"/>
                  <a:pt x="338655" y="58401"/>
                </a:cubicBezTo>
                <a:lnTo>
                  <a:pt x="338655" y="73178"/>
                </a:lnTo>
                <a:cubicBezTo>
                  <a:pt x="338655" y="76915"/>
                  <a:pt x="341920" y="80222"/>
                  <a:pt x="345958" y="80566"/>
                </a:cubicBezTo>
                <a:cubicBezTo>
                  <a:pt x="348965" y="80566"/>
                  <a:pt x="352874" y="77516"/>
                  <a:pt x="352874" y="73178"/>
                </a:cubicBezTo>
                <a:lnTo>
                  <a:pt x="352874" y="58401"/>
                </a:lnTo>
                <a:cubicBezTo>
                  <a:pt x="352574" y="54837"/>
                  <a:pt x="349223" y="51572"/>
                  <a:pt x="345485" y="51572"/>
                </a:cubicBezTo>
                <a:close/>
                <a:moveTo>
                  <a:pt x="257815" y="51572"/>
                </a:moveTo>
                <a:cubicBezTo>
                  <a:pt x="254121" y="51572"/>
                  <a:pt x="250985" y="54708"/>
                  <a:pt x="250985" y="58401"/>
                </a:cubicBezTo>
                <a:lnTo>
                  <a:pt x="250985" y="73178"/>
                </a:lnTo>
                <a:cubicBezTo>
                  <a:pt x="250985" y="76915"/>
                  <a:pt x="254250" y="80222"/>
                  <a:pt x="258288" y="80566"/>
                </a:cubicBezTo>
                <a:cubicBezTo>
                  <a:pt x="261295" y="80566"/>
                  <a:pt x="265203" y="77516"/>
                  <a:pt x="265203" y="73178"/>
                </a:cubicBezTo>
                <a:lnTo>
                  <a:pt x="265203" y="58401"/>
                </a:lnTo>
                <a:cubicBezTo>
                  <a:pt x="264902" y="54837"/>
                  <a:pt x="261552" y="51572"/>
                  <a:pt x="257815" y="51572"/>
                </a:cubicBezTo>
                <a:close/>
                <a:moveTo>
                  <a:pt x="170187" y="51572"/>
                </a:moveTo>
                <a:cubicBezTo>
                  <a:pt x="166494" y="51572"/>
                  <a:pt x="163358" y="54708"/>
                  <a:pt x="163358" y="58401"/>
                </a:cubicBezTo>
                <a:lnTo>
                  <a:pt x="163358" y="73178"/>
                </a:lnTo>
                <a:cubicBezTo>
                  <a:pt x="163358" y="76915"/>
                  <a:pt x="166622" y="80222"/>
                  <a:pt x="170660" y="80566"/>
                </a:cubicBezTo>
                <a:cubicBezTo>
                  <a:pt x="173666" y="80566"/>
                  <a:pt x="177575" y="77516"/>
                  <a:pt x="177575" y="73178"/>
                </a:cubicBezTo>
                <a:lnTo>
                  <a:pt x="177575" y="58401"/>
                </a:lnTo>
                <a:cubicBezTo>
                  <a:pt x="177275" y="54837"/>
                  <a:pt x="173924" y="51572"/>
                  <a:pt x="170187" y="51572"/>
                </a:cubicBezTo>
                <a:close/>
                <a:moveTo>
                  <a:pt x="386134" y="41759"/>
                </a:moveTo>
                <a:cubicBezTo>
                  <a:pt x="389656" y="41759"/>
                  <a:pt x="392534" y="44637"/>
                  <a:pt x="392534" y="48160"/>
                </a:cubicBezTo>
                <a:lnTo>
                  <a:pt x="392534" y="86948"/>
                </a:lnTo>
                <a:cubicBezTo>
                  <a:pt x="392534" y="90469"/>
                  <a:pt x="389656" y="93348"/>
                  <a:pt x="386134" y="93348"/>
                </a:cubicBezTo>
                <a:cubicBezTo>
                  <a:pt x="382611" y="93348"/>
                  <a:pt x="379733" y="90469"/>
                  <a:pt x="379733" y="86948"/>
                </a:cubicBezTo>
                <a:lnTo>
                  <a:pt x="379733" y="48160"/>
                </a:lnTo>
                <a:cubicBezTo>
                  <a:pt x="379733" y="44637"/>
                  <a:pt x="382611" y="41759"/>
                  <a:pt x="386134" y="41759"/>
                </a:cubicBezTo>
                <a:close/>
                <a:moveTo>
                  <a:pt x="301928" y="40567"/>
                </a:moveTo>
                <a:cubicBezTo>
                  <a:pt x="305450" y="40567"/>
                  <a:pt x="308328" y="43445"/>
                  <a:pt x="308328" y="46968"/>
                </a:cubicBezTo>
                <a:lnTo>
                  <a:pt x="308328" y="85755"/>
                </a:lnTo>
                <a:cubicBezTo>
                  <a:pt x="308371" y="89278"/>
                  <a:pt x="305493" y="92155"/>
                  <a:pt x="301928" y="92155"/>
                </a:cubicBezTo>
                <a:cubicBezTo>
                  <a:pt x="298405" y="92155"/>
                  <a:pt x="295528" y="89278"/>
                  <a:pt x="295528" y="85755"/>
                </a:cubicBezTo>
                <a:lnTo>
                  <a:pt x="295528" y="46968"/>
                </a:lnTo>
                <a:cubicBezTo>
                  <a:pt x="295528" y="43445"/>
                  <a:pt x="298405" y="40567"/>
                  <a:pt x="301928" y="40567"/>
                </a:cubicBezTo>
                <a:close/>
                <a:moveTo>
                  <a:pt x="214300" y="40567"/>
                </a:moveTo>
                <a:cubicBezTo>
                  <a:pt x="217822" y="40567"/>
                  <a:pt x="220700" y="43445"/>
                  <a:pt x="220700" y="46968"/>
                </a:cubicBezTo>
                <a:lnTo>
                  <a:pt x="220700" y="85755"/>
                </a:lnTo>
                <a:cubicBezTo>
                  <a:pt x="220700" y="89278"/>
                  <a:pt x="217822" y="92155"/>
                  <a:pt x="214300" y="92155"/>
                </a:cubicBezTo>
                <a:cubicBezTo>
                  <a:pt x="210778" y="92155"/>
                  <a:pt x="207900" y="89278"/>
                  <a:pt x="207900" y="85755"/>
                </a:cubicBezTo>
                <a:lnTo>
                  <a:pt x="207900" y="46968"/>
                </a:lnTo>
                <a:cubicBezTo>
                  <a:pt x="207900" y="43445"/>
                  <a:pt x="210778" y="40567"/>
                  <a:pt x="214300" y="40567"/>
                </a:cubicBezTo>
                <a:close/>
                <a:moveTo>
                  <a:pt x="345529" y="40189"/>
                </a:moveTo>
                <a:cubicBezTo>
                  <a:pt x="355193" y="40189"/>
                  <a:pt x="363440" y="48007"/>
                  <a:pt x="364257" y="57930"/>
                </a:cubicBezTo>
                <a:lnTo>
                  <a:pt x="364300" y="73178"/>
                </a:lnTo>
                <a:cubicBezTo>
                  <a:pt x="364300" y="83358"/>
                  <a:pt x="355709" y="91949"/>
                  <a:pt x="345529" y="91949"/>
                </a:cubicBezTo>
                <a:cubicBezTo>
                  <a:pt x="335091" y="91090"/>
                  <a:pt x="327316" y="82842"/>
                  <a:pt x="327316" y="73178"/>
                </a:cubicBezTo>
                <a:lnTo>
                  <a:pt x="327316" y="58401"/>
                </a:lnTo>
                <a:cubicBezTo>
                  <a:pt x="327316" y="48351"/>
                  <a:pt x="335477" y="40189"/>
                  <a:pt x="345529" y="40189"/>
                </a:cubicBezTo>
                <a:close/>
                <a:moveTo>
                  <a:pt x="257858" y="40189"/>
                </a:moveTo>
                <a:cubicBezTo>
                  <a:pt x="267523" y="40189"/>
                  <a:pt x="275770" y="48007"/>
                  <a:pt x="276586" y="57930"/>
                </a:cubicBezTo>
                <a:lnTo>
                  <a:pt x="276629" y="73178"/>
                </a:lnTo>
                <a:cubicBezTo>
                  <a:pt x="276629" y="83358"/>
                  <a:pt x="268038" y="91949"/>
                  <a:pt x="257858" y="91949"/>
                </a:cubicBezTo>
                <a:cubicBezTo>
                  <a:pt x="247420" y="91090"/>
                  <a:pt x="239646" y="82842"/>
                  <a:pt x="239646" y="73178"/>
                </a:cubicBezTo>
                <a:lnTo>
                  <a:pt x="239646" y="58401"/>
                </a:lnTo>
                <a:cubicBezTo>
                  <a:pt x="239646" y="48351"/>
                  <a:pt x="247807" y="40189"/>
                  <a:pt x="257858" y="40189"/>
                </a:cubicBezTo>
                <a:close/>
                <a:moveTo>
                  <a:pt x="170187" y="40189"/>
                </a:moveTo>
                <a:cubicBezTo>
                  <a:pt x="179853" y="40189"/>
                  <a:pt x="188099" y="48007"/>
                  <a:pt x="188916" y="57930"/>
                </a:cubicBezTo>
                <a:lnTo>
                  <a:pt x="188958" y="73178"/>
                </a:lnTo>
                <a:cubicBezTo>
                  <a:pt x="188958" y="83358"/>
                  <a:pt x="180368" y="91949"/>
                  <a:pt x="170187" y="91949"/>
                </a:cubicBezTo>
                <a:cubicBezTo>
                  <a:pt x="159750" y="91090"/>
                  <a:pt x="151975" y="82842"/>
                  <a:pt x="151975" y="73178"/>
                </a:cubicBezTo>
                <a:lnTo>
                  <a:pt x="151975" y="58401"/>
                </a:lnTo>
                <a:cubicBezTo>
                  <a:pt x="151975" y="48351"/>
                  <a:pt x="160137" y="40189"/>
                  <a:pt x="170187" y="40189"/>
                </a:cubicBezTo>
                <a:close/>
                <a:moveTo>
                  <a:pt x="188915" y="21208"/>
                </a:moveTo>
                <a:lnTo>
                  <a:pt x="188915" y="21358"/>
                </a:lnTo>
                <a:cubicBezTo>
                  <a:pt x="188915" y="24880"/>
                  <a:pt x="186037" y="27758"/>
                  <a:pt x="182514" y="27758"/>
                </a:cubicBezTo>
                <a:lnTo>
                  <a:pt x="181248" y="26492"/>
                </a:lnTo>
                <a:close/>
                <a:moveTo>
                  <a:pt x="351455" y="15543"/>
                </a:moveTo>
                <a:lnTo>
                  <a:pt x="364256" y="20197"/>
                </a:lnTo>
                <a:lnTo>
                  <a:pt x="364256" y="21358"/>
                </a:lnTo>
                <a:cubicBezTo>
                  <a:pt x="364256" y="24880"/>
                  <a:pt x="361378" y="27758"/>
                  <a:pt x="357855" y="27758"/>
                </a:cubicBezTo>
                <a:cubicBezTo>
                  <a:pt x="354333" y="27758"/>
                  <a:pt x="351455" y="24880"/>
                  <a:pt x="351455" y="21358"/>
                </a:cubicBezTo>
                <a:close/>
                <a:moveTo>
                  <a:pt x="244844" y="3245"/>
                </a:moveTo>
                <a:lnTo>
                  <a:pt x="244844" y="9936"/>
                </a:lnTo>
                <a:cubicBezTo>
                  <a:pt x="244844" y="19987"/>
                  <a:pt x="236683" y="28149"/>
                  <a:pt x="226631" y="28149"/>
                </a:cubicBezTo>
                <a:cubicBezTo>
                  <a:pt x="221799" y="28149"/>
                  <a:pt x="217321" y="26194"/>
                  <a:pt x="213949" y="23000"/>
                </a:cubicBezTo>
                <a:lnTo>
                  <a:pt x="208874" y="12430"/>
                </a:lnTo>
                <a:lnTo>
                  <a:pt x="219242" y="9145"/>
                </a:lnTo>
                <a:lnTo>
                  <a:pt x="219242" y="9936"/>
                </a:lnTo>
                <a:cubicBezTo>
                  <a:pt x="219544" y="13501"/>
                  <a:pt x="222894" y="16766"/>
                  <a:pt x="226631" y="16766"/>
                </a:cubicBezTo>
                <a:cubicBezTo>
                  <a:pt x="230325" y="16766"/>
                  <a:pt x="233461" y="13630"/>
                  <a:pt x="233461" y="9936"/>
                </a:cubicBezTo>
                <a:lnTo>
                  <a:pt x="233461" y="4641"/>
                </a:lnTo>
                <a:lnTo>
                  <a:pt x="234515" y="4307"/>
                </a:lnTo>
                <a:close/>
                <a:moveTo>
                  <a:pt x="295548" y="2231"/>
                </a:moveTo>
                <a:lnTo>
                  <a:pt x="306911" y="3555"/>
                </a:lnTo>
                <a:lnTo>
                  <a:pt x="306911" y="9936"/>
                </a:lnTo>
                <a:cubicBezTo>
                  <a:pt x="307212" y="13501"/>
                  <a:pt x="310562" y="16766"/>
                  <a:pt x="314299" y="16766"/>
                </a:cubicBezTo>
                <a:cubicBezTo>
                  <a:pt x="317993" y="16766"/>
                  <a:pt x="321128" y="13630"/>
                  <a:pt x="321128" y="9936"/>
                </a:cubicBezTo>
                <a:lnTo>
                  <a:pt x="321128" y="5211"/>
                </a:lnTo>
                <a:lnTo>
                  <a:pt x="323940" y="5539"/>
                </a:lnTo>
                <a:lnTo>
                  <a:pt x="332511" y="8655"/>
                </a:lnTo>
                <a:lnTo>
                  <a:pt x="332511" y="9936"/>
                </a:lnTo>
                <a:cubicBezTo>
                  <a:pt x="332511" y="19987"/>
                  <a:pt x="324350" y="28149"/>
                  <a:pt x="314299" y="28149"/>
                </a:cubicBezTo>
                <a:cubicBezTo>
                  <a:pt x="304633" y="28149"/>
                  <a:pt x="296387" y="20331"/>
                  <a:pt x="295570" y="10409"/>
                </a:cubicBezTo>
                <a:close/>
                <a:moveTo>
                  <a:pt x="276404" y="0"/>
                </a:moveTo>
                <a:lnTo>
                  <a:pt x="276586" y="21"/>
                </a:lnTo>
                <a:lnTo>
                  <a:pt x="276586" y="21358"/>
                </a:lnTo>
                <a:cubicBezTo>
                  <a:pt x="276586" y="24880"/>
                  <a:pt x="273708" y="27758"/>
                  <a:pt x="270185" y="27758"/>
                </a:cubicBezTo>
                <a:cubicBezTo>
                  <a:pt x="266663" y="27758"/>
                  <a:pt x="263785" y="24880"/>
                  <a:pt x="263785" y="21358"/>
                </a:cubicBezTo>
                <a:lnTo>
                  <a:pt x="263785" y="1297"/>
                </a:lnTo>
                <a:close/>
              </a:path>
            </a:pathLst>
          </a:custGeom>
          <a:solidFill>
            <a:schemeClr val="accent1">
              <a:lumMod val="90000"/>
            </a:schemeClr>
          </a:solidFill>
          <a:ln w="9719" cap="flat">
            <a:noFill/>
            <a:prstDash val="solid"/>
            <a:miter/>
          </a:ln>
        </p:spPr>
        <p:txBody>
          <a:bodyPr wrap="square" rtlCol="0" anchor="ctr">
            <a:noAutofit/>
          </a:bodyPr>
          <a:lstStyle/>
          <a:p>
            <a:pPr defTabSz="914367">
              <a:defRPr/>
            </a:pPr>
            <a:endParaRPr lang="en-US" sz="1765" dirty="0">
              <a:solidFill>
                <a:srgbClr val="000000"/>
              </a:solidFill>
              <a:latin typeface="Segoe UI"/>
            </a:endParaRPr>
          </a:p>
        </p:txBody>
      </p:sp>
      <p:sp>
        <p:nvSpPr>
          <p:cNvPr id="83" name="Freeform 7">
            <a:extLst>
              <a:ext uri="{FF2B5EF4-FFF2-40B4-BE49-F238E27FC236}">
                <a16:creationId xmlns:a16="http://schemas.microsoft.com/office/drawing/2014/main" id="{FB7DD7F2-E913-43C8-A233-4BCD5499CCBB}"/>
              </a:ext>
            </a:extLst>
          </p:cNvPr>
          <p:cNvSpPr>
            <a:spLocks/>
          </p:cNvSpPr>
          <p:nvPr/>
        </p:nvSpPr>
        <p:spPr bwMode="auto">
          <a:xfrm>
            <a:off x="7398231" y="3253355"/>
            <a:ext cx="678344" cy="417270"/>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noFill/>
          <a:ln w="19050" cap="flat">
            <a:solidFill>
              <a:schemeClr val="tx2"/>
            </a:solidFill>
            <a:prstDash val="solid"/>
            <a:miter lim="800000"/>
            <a:headEnd/>
            <a:tailEnd/>
          </a:ln>
        </p:spPr>
        <p:txBody>
          <a:bodyPr vert="horz" wrap="square" lIns="61104" tIns="30551" rIns="61104" bIns="30551" numCol="1" anchor="t" anchorCtr="0" compatLnSpc="1">
            <a:prstTxWarp prst="textNoShape">
              <a:avLst/>
            </a:prstTxWarp>
          </a:bodyPr>
          <a:lstStyle/>
          <a:p>
            <a:pPr algn="ctr" defTabSz="610979">
              <a:defRPr/>
            </a:pPr>
            <a:endParaRPr lang="en-US" sz="1203" kern="0">
              <a:solidFill>
                <a:srgbClr val="353535"/>
              </a:solidFill>
              <a:latin typeface="Segoe UI Semilight"/>
            </a:endParaRPr>
          </a:p>
        </p:txBody>
      </p:sp>
      <p:grpSp>
        <p:nvGrpSpPr>
          <p:cNvPr id="84" name="magnifying glass" descr="magnifying glass, search, statistics">
            <a:extLst>
              <a:ext uri="{FF2B5EF4-FFF2-40B4-BE49-F238E27FC236}">
                <a16:creationId xmlns:a16="http://schemas.microsoft.com/office/drawing/2014/main" id="{0E62D6CA-057D-4A3D-B168-39BBBA4E4257}"/>
              </a:ext>
            </a:extLst>
          </p:cNvPr>
          <p:cNvGrpSpPr/>
          <p:nvPr/>
        </p:nvGrpSpPr>
        <p:grpSpPr>
          <a:xfrm>
            <a:off x="7812620" y="3449320"/>
            <a:ext cx="552393" cy="552393"/>
            <a:chOff x="6342178" y="3062267"/>
            <a:chExt cx="386282" cy="386282"/>
          </a:xfrm>
        </p:grpSpPr>
        <p:sp>
          <p:nvSpPr>
            <p:cNvPr id="85" name="Freeform: Shape 84">
              <a:extLst>
                <a:ext uri="{FF2B5EF4-FFF2-40B4-BE49-F238E27FC236}">
                  <a16:creationId xmlns:a16="http://schemas.microsoft.com/office/drawing/2014/main" id="{F9B45D42-3008-4FF3-9A1F-264CF7D339E1}"/>
                </a:ext>
              </a:extLst>
            </p:cNvPr>
            <p:cNvSpPr/>
            <p:nvPr/>
          </p:nvSpPr>
          <p:spPr>
            <a:xfrm>
              <a:off x="6358556" y="3079220"/>
              <a:ext cx="254866" cy="254866"/>
            </a:xfrm>
            <a:custGeom>
              <a:avLst/>
              <a:gdLst>
                <a:gd name="connsiteX0" fmla="*/ 127983 w 254866"/>
                <a:gd name="connsiteY0" fmla="*/ 254735 h 254866"/>
                <a:gd name="connsiteX1" fmla="*/ 254735 w 254866"/>
                <a:gd name="connsiteY1" fmla="*/ 127983 h 254866"/>
                <a:gd name="connsiteX2" fmla="*/ 127983 w 254866"/>
                <a:gd name="connsiteY2" fmla="*/ 1232 h 254866"/>
                <a:gd name="connsiteX3" fmla="*/ 1232 w 254866"/>
                <a:gd name="connsiteY3" fmla="*/ 127983 h 254866"/>
                <a:gd name="connsiteX4" fmla="*/ 127983 w 254866"/>
                <a:gd name="connsiteY4" fmla="*/ 254735 h 254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866" h="254866">
                  <a:moveTo>
                    <a:pt x="127983" y="254735"/>
                  </a:moveTo>
                  <a:cubicBezTo>
                    <a:pt x="197986" y="254735"/>
                    <a:pt x="254735" y="197986"/>
                    <a:pt x="254735" y="127983"/>
                  </a:cubicBezTo>
                  <a:cubicBezTo>
                    <a:pt x="254735" y="57980"/>
                    <a:pt x="197986" y="1232"/>
                    <a:pt x="127983" y="1232"/>
                  </a:cubicBezTo>
                  <a:cubicBezTo>
                    <a:pt x="57980" y="1232"/>
                    <a:pt x="1232" y="57980"/>
                    <a:pt x="1232" y="127983"/>
                  </a:cubicBezTo>
                  <a:cubicBezTo>
                    <a:pt x="1232" y="197986"/>
                    <a:pt x="57980" y="254735"/>
                    <a:pt x="127983" y="254735"/>
                  </a:cubicBezTo>
                  <a:close/>
                </a:path>
              </a:pathLst>
            </a:custGeom>
            <a:solidFill>
              <a:srgbClr val="F8F7F6"/>
            </a:solidFill>
            <a:ln w="3928" cap="flat">
              <a:noFill/>
              <a:prstDash val="solid"/>
              <a:miter/>
            </a:ln>
          </p:spPr>
          <p:txBody>
            <a:bodyPr rtlCol="0" anchor="ctr"/>
            <a:lstStyle/>
            <a:p>
              <a:pPr defTabSz="914367">
                <a:defRPr/>
              </a:pPr>
              <a:endParaRPr lang="en-US" sz="1765">
                <a:solidFill>
                  <a:srgbClr val="000000"/>
                </a:solidFill>
                <a:latin typeface="Segoe UI"/>
              </a:endParaRPr>
            </a:p>
          </p:txBody>
        </p:sp>
        <p:sp>
          <p:nvSpPr>
            <p:cNvPr id="86" name="Freeform: Shape 85">
              <a:extLst>
                <a:ext uri="{FF2B5EF4-FFF2-40B4-BE49-F238E27FC236}">
                  <a16:creationId xmlns:a16="http://schemas.microsoft.com/office/drawing/2014/main" id="{D25651E8-B108-40A3-BFF4-67A714B1A656}"/>
                </a:ext>
              </a:extLst>
            </p:cNvPr>
            <p:cNvSpPr/>
            <p:nvPr/>
          </p:nvSpPr>
          <p:spPr>
            <a:xfrm>
              <a:off x="6345290" y="3066371"/>
              <a:ext cx="374335" cy="378317"/>
            </a:xfrm>
            <a:custGeom>
              <a:avLst/>
              <a:gdLst>
                <a:gd name="connsiteX0" fmla="*/ 376949 w 374335"/>
                <a:gd name="connsiteY0" fmla="*/ 350958 h 378317"/>
                <a:gd name="connsiteX1" fmla="*/ 251954 w 374335"/>
                <a:gd name="connsiteY1" fmla="*/ 225985 h 378317"/>
                <a:gd name="connsiteX2" fmla="*/ 280809 w 374335"/>
                <a:gd name="connsiteY2" fmla="*/ 140963 h 378317"/>
                <a:gd name="connsiteX3" fmla="*/ 140987 w 374335"/>
                <a:gd name="connsiteY3" fmla="*/ 1232 h 378317"/>
                <a:gd name="connsiteX4" fmla="*/ 1232 w 374335"/>
                <a:gd name="connsiteY4" fmla="*/ 140963 h 378317"/>
                <a:gd name="connsiteX5" fmla="*/ 140987 w 374335"/>
                <a:gd name="connsiteY5" fmla="*/ 280694 h 378317"/>
                <a:gd name="connsiteX6" fmla="*/ 223763 w 374335"/>
                <a:gd name="connsiteY6" fmla="*/ 253572 h 378317"/>
                <a:gd name="connsiteX7" fmla="*/ 349025 w 374335"/>
                <a:gd name="connsiteY7" fmla="*/ 378811 h 378317"/>
                <a:gd name="connsiteX8" fmla="*/ 376949 w 374335"/>
                <a:gd name="connsiteY8" fmla="*/ 350958 h 378317"/>
                <a:gd name="connsiteX9" fmla="*/ 41390 w 374335"/>
                <a:gd name="connsiteY9" fmla="*/ 140963 h 378317"/>
                <a:gd name="connsiteX10" fmla="*/ 141054 w 374335"/>
                <a:gd name="connsiteY10" fmla="*/ 41316 h 378317"/>
                <a:gd name="connsiteX11" fmla="*/ 240718 w 374335"/>
                <a:gd name="connsiteY11" fmla="*/ 140963 h 378317"/>
                <a:gd name="connsiteX12" fmla="*/ 140987 w 374335"/>
                <a:gd name="connsiteY12" fmla="*/ 240609 h 378317"/>
                <a:gd name="connsiteX13" fmla="*/ 41390 w 374335"/>
                <a:gd name="connsiteY13" fmla="*/ 140963 h 37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4335" h="378317">
                  <a:moveTo>
                    <a:pt x="376949" y="350958"/>
                  </a:moveTo>
                  <a:lnTo>
                    <a:pt x="251954" y="225985"/>
                  </a:lnTo>
                  <a:cubicBezTo>
                    <a:pt x="270038" y="202453"/>
                    <a:pt x="280809" y="172937"/>
                    <a:pt x="280809" y="140963"/>
                  </a:cubicBezTo>
                  <a:cubicBezTo>
                    <a:pt x="280809" y="63785"/>
                    <a:pt x="218178" y="1232"/>
                    <a:pt x="140987" y="1232"/>
                  </a:cubicBezTo>
                  <a:cubicBezTo>
                    <a:pt x="63796" y="1232"/>
                    <a:pt x="1232" y="63785"/>
                    <a:pt x="1232" y="140963"/>
                  </a:cubicBezTo>
                  <a:cubicBezTo>
                    <a:pt x="1232" y="218140"/>
                    <a:pt x="63796" y="280694"/>
                    <a:pt x="140987" y="280694"/>
                  </a:cubicBezTo>
                  <a:cubicBezTo>
                    <a:pt x="171970" y="280694"/>
                    <a:pt x="200559" y="270590"/>
                    <a:pt x="223763" y="253572"/>
                  </a:cubicBezTo>
                  <a:lnTo>
                    <a:pt x="349025" y="378811"/>
                  </a:lnTo>
                  <a:lnTo>
                    <a:pt x="376949" y="350958"/>
                  </a:lnTo>
                  <a:close/>
                  <a:moveTo>
                    <a:pt x="41390" y="140963"/>
                  </a:moveTo>
                  <a:cubicBezTo>
                    <a:pt x="41390" y="85921"/>
                    <a:pt x="86003" y="41316"/>
                    <a:pt x="141054" y="41316"/>
                  </a:cubicBezTo>
                  <a:cubicBezTo>
                    <a:pt x="196105" y="41316"/>
                    <a:pt x="240718" y="85921"/>
                    <a:pt x="240718" y="140963"/>
                  </a:cubicBezTo>
                  <a:cubicBezTo>
                    <a:pt x="240718" y="196004"/>
                    <a:pt x="196038" y="240609"/>
                    <a:pt x="140987" y="240609"/>
                  </a:cubicBezTo>
                  <a:cubicBezTo>
                    <a:pt x="86003" y="240609"/>
                    <a:pt x="41390" y="196004"/>
                    <a:pt x="41390" y="140963"/>
                  </a:cubicBezTo>
                  <a:close/>
                </a:path>
              </a:pathLst>
            </a:custGeom>
            <a:solidFill>
              <a:srgbClr val="0078D4"/>
            </a:solidFill>
            <a:ln w="3928" cap="flat">
              <a:noFill/>
              <a:prstDash val="solid"/>
              <a:miter/>
            </a:ln>
          </p:spPr>
          <p:txBody>
            <a:bodyPr rtlCol="0" anchor="ctr"/>
            <a:lstStyle/>
            <a:p>
              <a:pPr defTabSz="914367">
                <a:defRPr/>
              </a:pPr>
              <a:endParaRPr lang="en-US" sz="1765">
                <a:solidFill>
                  <a:srgbClr val="000000"/>
                </a:solidFill>
                <a:latin typeface="Segoe UI"/>
              </a:endParaRPr>
            </a:p>
          </p:txBody>
        </p:sp>
        <p:sp>
          <p:nvSpPr>
            <p:cNvPr id="87" name="Freeform: Shape 86">
              <a:extLst>
                <a:ext uri="{FF2B5EF4-FFF2-40B4-BE49-F238E27FC236}">
                  <a16:creationId xmlns:a16="http://schemas.microsoft.com/office/drawing/2014/main" id="{84B61A0D-1AD3-41C2-B5AC-630FDE257A2A}"/>
                </a:ext>
              </a:extLst>
            </p:cNvPr>
            <p:cNvSpPr/>
            <p:nvPr/>
          </p:nvSpPr>
          <p:spPr>
            <a:xfrm>
              <a:off x="6435779" y="3146281"/>
              <a:ext cx="19911" cy="119469"/>
            </a:xfrm>
            <a:custGeom>
              <a:avLst/>
              <a:gdLst>
                <a:gd name="connsiteX0" fmla="*/ 20513 w 19911"/>
                <a:gd name="connsiteY0" fmla="*/ 1232 h 119468"/>
                <a:gd name="connsiteX1" fmla="*/ 1232 w 19911"/>
                <a:gd name="connsiteY1" fmla="*/ 1232 h 119468"/>
                <a:gd name="connsiteX2" fmla="*/ 1232 w 19911"/>
                <a:gd name="connsiteY2" fmla="*/ 120621 h 119468"/>
                <a:gd name="connsiteX3" fmla="*/ 20513 w 19911"/>
                <a:gd name="connsiteY3" fmla="*/ 120621 h 119468"/>
                <a:gd name="connsiteX4" fmla="*/ 20513 w 19911"/>
                <a:gd name="connsiteY4" fmla="*/ 1232 h 119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11" h="119468">
                  <a:moveTo>
                    <a:pt x="20513" y="1232"/>
                  </a:moveTo>
                  <a:lnTo>
                    <a:pt x="1232" y="1232"/>
                  </a:lnTo>
                  <a:lnTo>
                    <a:pt x="1232" y="120621"/>
                  </a:lnTo>
                  <a:lnTo>
                    <a:pt x="20513" y="120621"/>
                  </a:lnTo>
                  <a:lnTo>
                    <a:pt x="20513" y="1232"/>
                  </a:lnTo>
                  <a:close/>
                </a:path>
              </a:pathLst>
            </a:custGeom>
            <a:solidFill>
              <a:srgbClr val="0078D4"/>
            </a:solidFill>
            <a:ln w="3928" cap="flat">
              <a:noFill/>
              <a:prstDash val="solid"/>
              <a:miter/>
            </a:ln>
          </p:spPr>
          <p:txBody>
            <a:bodyPr rtlCol="0" anchor="ctr"/>
            <a:lstStyle/>
            <a:p>
              <a:pPr defTabSz="914367">
                <a:defRPr/>
              </a:pPr>
              <a:endParaRPr lang="en-US" sz="1765">
                <a:solidFill>
                  <a:srgbClr val="000000"/>
                </a:solidFill>
                <a:latin typeface="Segoe UI"/>
              </a:endParaRPr>
            </a:p>
          </p:txBody>
        </p:sp>
        <p:sp>
          <p:nvSpPr>
            <p:cNvPr id="88" name="Freeform: Shape 87">
              <a:extLst>
                <a:ext uri="{FF2B5EF4-FFF2-40B4-BE49-F238E27FC236}">
                  <a16:creationId xmlns:a16="http://schemas.microsoft.com/office/drawing/2014/main" id="{E17689ED-83CC-4E24-A696-E5168ABB0B55}"/>
                </a:ext>
              </a:extLst>
            </p:cNvPr>
            <p:cNvSpPr/>
            <p:nvPr/>
          </p:nvSpPr>
          <p:spPr>
            <a:xfrm>
              <a:off x="6475668" y="3186820"/>
              <a:ext cx="19911" cy="79646"/>
            </a:xfrm>
            <a:custGeom>
              <a:avLst/>
              <a:gdLst>
                <a:gd name="connsiteX0" fmla="*/ 20513 w 19911"/>
                <a:gd name="connsiteY0" fmla="*/ 1232 h 79645"/>
                <a:gd name="connsiteX1" fmla="*/ 1232 w 19911"/>
                <a:gd name="connsiteY1" fmla="*/ 1232 h 79645"/>
                <a:gd name="connsiteX2" fmla="*/ 1232 w 19911"/>
                <a:gd name="connsiteY2" fmla="*/ 80071 h 79645"/>
                <a:gd name="connsiteX3" fmla="*/ 20513 w 19911"/>
                <a:gd name="connsiteY3" fmla="*/ 80071 h 79645"/>
                <a:gd name="connsiteX4" fmla="*/ 20513 w 19911"/>
                <a:gd name="connsiteY4" fmla="*/ 1232 h 79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11" h="79645">
                  <a:moveTo>
                    <a:pt x="20513" y="1232"/>
                  </a:moveTo>
                  <a:lnTo>
                    <a:pt x="1232" y="1232"/>
                  </a:lnTo>
                  <a:lnTo>
                    <a:pt x="1232" y="80071"/>
                  </a:lnTo>
                  <a:lnTo>
                    <a:pt x="20513" y="80071"/>
                  </a:lnTo>
                  <a:lnTo>
                    <a:pt x="20513" y="1232"/>
                  </a:lnTo>
                  <a:close/>
                </a:path>
              </a:pathLst>
            </a:custGeom>
            <a:solidFill>
              <a:srgbClr val="50E6FF"/>
            </a:solidFill>
            <a:ln w="3928" cap="flat">
              <a:noFill/>
              <a:prstDash val="solid"/>
              <a:miter/>
            </a:ln>
          </p:spPr>
          <p:txBody>
            <a:bodyPr rtlCol="0" anchor="ctr"/>
            <a:lstStyle/>
            <a:p>
              <a:pPr defTabSz="914367">
                <a:defRPr/>
              </a:pPr>
              <a:endParaRPr lang="en-US" sz="1765">
                <a:solidFill>
                  <a:srgbClr val="000000"/>
                </a:solidFill>
                <a:latin typeface="Segoe UI"/>
              </a:endParaRPr>
            </a:p>
          </p:txBody>
        </p:sp>
        <p:sp>
          <p:nvSpPr>
            <p:cNvPr id="89" name="Freeform: Shape 88">
              <a:extLst>
                <a:ext uri="{FF2B5EF4-FFF2-40B4-BE49-F238E27FC236}">
                  <a16:creationId xmlns:a16="http://schemas.microsoft.com/office/drawing/2014/main" id="{2B8415AA-B509-4381-9FB9-04E18276731A}"/>
                </a:ext>
              </a:extLst>
            </p:cNvPr>
            <p:cNvSpPr/>
            <p:nvPr/>
          </p:nvSpPr>
          <p:spPr>
            <a:xfrm>
              <a:off x="6516093" y="3226907"/>
              <a:ext cx="19911" cy="39823"/>
            </a:xfrm>
            <a:custGeom>
              <a:avLst/>
              <a:gdLst>
                <a:gd name="connsiteX0" fmla="*/ 20513 w 19911"/>
                <a:gd name="connsiteY0" fmla="*/ 1232 h 39822"/>
                <a:gd name="connsiteX1" fmla="*/ 1232 w 19911"/>
                <a:gd name="connsiteY1" fmla="*/ 1232 h 39822"/>
                <a:gd name="connsiteX2" fmla="*/ 1232 w 19911"/>
                <a:gd name="connsiteY2" fmla="*/ 39987 h 39822"/>
                <a:gd name="connsiteX3" fmla="*/ 20513 w 19911"/>
                <a:gd name="connsiteY3" fmla="*/ 39987 h 39822"/>
                <a:gd name="connsiteX4" fmla="*/ 20513 w 19911"/>
                <a:gd name="connsiteY4" fmla="*/ 1232 h 39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11" h="39822">
                  <a:moveTo>
                    <a:pt x="20513" y="1232"/>
                  </a:moveTo>
                  <a:lnTo>
                    <a:pt x="1232" y="1232"/>
                  </a:lnTo>
                  <a:lnTo>
                    <a:pt x="1232" y="39987"/>
                  </a:lnTo>
                  <a:lnTo>
                    <a:pt x="20513" y="39987"/>
                  </a:lnTo>
                  <a:lnTo>
                    <a:pt x="20513" y="1232"/>
                  </a:lnTo>
                  <a:close/>
                </a:path>
              </a:pathLst>
            </a:custGeom>
            <a:solidFill>
              <a:srgbClr val="50E6FF"/>
            </a:solidFill>
            <a:ln w="3928" cap="flat">
              <a:noFill/>
              <a:prstDash val="solid"/>
              <a:miter/>
            </a:ln>
          </p:spPr>
          <p:txBody>
            <a:bodyPr rtlCol="0" anchor="ctr"/>
            <a:lstStyle/>
            <a:p>
              <a:pPr defTabSz="914367">
                <a:defRPr/>
              </a:pPr>
              <a:endParaRPr lang="en-US" sz="1765">
                <a:solidFill>
                  <a:srgbClr val="000000"/>
                </a:solidFill>
                <a:latin typeface="Segoe UI"/>
              </a:endParaRPr>
            </a:p>
          </p:txBody>
        </p:sp>
      </p:grpSp>
      <p:cxnSp>
        <p:nvCxnSpPr>
          <p:cNvPr id="51" name="Straight Arrow Connector 50">
            <a:extLst>
              <a:ext uri="{FF2B5EF4-FFF2-40B4-BE49-F238E27FC236}">
                <a16:creationId xmlns:a16="http://schemas.microsoft.com/office/drawing/2014/main" id="{A281E9FB-48B1-44A2-8CED-AF765FB1F05F}"/>
              </a:ext>
            </a:extLst>
          </p:cNvPr>
          <p:cNvCxnSpPr>
            <a:cxnSpLocks/>
          </p:cNvCxnSpPr>
          <p:nvPr/>
        </p:nvCxnSpPr>
        <p:spPr>
          <a:xfrm flipH="1">
            <a:off x="6421539" y="3629655"/>
            <a:ext cx="670559"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943EE777-AE81-48ED-9A1D-EE2C968AB55C}"/>
              </a:ext>
            </a:extLst>
          </p:cNvPr>
          <p:cNvCxnSpPr>
            <a:cxnSpLocks/>
          </p:cNvCxnSpPr>
          <p:nvPr/>
        </p:nvCxnSpPr>
        <p:spPr>
          <a:xfrm flipH="1">
            <a:off x="8454033" y="3637886"/>
            <a:ext cx="670559"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04EC9F51-284F-4AD3-9BBA-E4E1C846C086}"/>
              </a:ext>
            </a:extLst>
          </p:cNvPr>
          <p:cNvSpPr/>
          <p:nvPr/>
        </p:nvSpPr>
        <p:spPr>
          <a:xfrm flipH="1">
            <a:off x="9573267" y="4165815"/>
            <a:ext cx="1545887" cy="1231106"/>
          </a:xfrm>
          <a:prstGeom prst="rect">
            <a:avLst/>
          </a:prstGeom>
          <a:noFill/>
        </p:spPr>
        <p:txBody>
          <a:bodyPr wrap="square" lIns="0" tIns="0" rIns="0" bIns="0" anchor="ctr">
            <a:spAutoFit/>
          </a:bodyPr>
          <a:lstStyle/>
          <a:p>
            <a:pPr algn="ctr" defTabSz="950878">
              <a:defRPr/>
            </a:pPr>
            <a:r>
              <a:rPr lang="en-US" sz="1600" u="sng" dirty="0">
                <a:latin typeface="Segoe UI Semibold" panose="020B0702040204020203" pitchFamily="34" charset="0"/>
                <a:cs typeface="Segoe UI Semibold" panose="020B0702040204020203" pitchFamily="34" charset="0"/>
              </a:rPr>
              <a:t>Action</a:t>
            </a:r>
          </a:p>
          <a:p>
            <a:pPr algn="ctr" defTabSz="950878">
              <a:defRPr/>
            </a:pPr>
            <a:r>
              <a:rPr lang="en-US" sz="1600" i="1" dirty="0">
                <a:latin typeface="Segoe UI Semibold" panose="020B0702040204020203" pitchFamily="34" charset="0"/>
                <a:cs typeface="Segoe UI Semibold" panose="020B0702040204020203" pitchFamily="34" charset="0"/>
              </a:rPr>
              <a:t>Decision to retire and replace certain devices</a:t>
            </a:r>
          </a:p>
        </p:txBody>
      </p:sp>
      <p:sp>
        <p:nvSpPr>
          <p:cNvPr id="99" name="Freeform: Shape 98">
            <a:extLst>
              <a:ext uri="{FF2B5EF4-FFF2-40B4-BE49-F238E27FC236}">
                <a16:creationId xmlns:a16="http://schemas.microsoft.com/office/drawing/2014/main" id="{05A0CD19-323A-446E-9681-6DA854AA00BD}"/>
              </a:ext>
            </a:extLst>
          </p:cNvPr>
          <p:cNvSpPr/>
          <p:nvPr/>
        </p:nvSpPr>
        <p:spPr bwMode="auto">
          <a:xfrm>
            <a:off x="2769335" y="4970250"/>
            <a:ext cx="8423147" cy="1227480"/>
          </a:xfrm>
          <a:custGeom>
            <a:avLst/>
            <a:gdLst>
              <a:gd name="connsiteX0" fmla="*/ 7644665 w 8423147"/>
              <a:gd name="connsiteY0" fmla="*/ 69110 h 1227480"/>
              <a:gd name="connsiteX1" fmla="*/ 7705625 w 8423147"/>
              <a:gd name="connsiteY1" fmla="*/ 1227350 h 1227480"/>
              <a:gd name="connsiteX2" fmla="*/ 44985 w 8423147"/>
              <a:gd name="connsiteY2" fmla="*/ 8150 h 1227480"/>
              <a:gd name="connsiteX3" fmla="*/ 5114825 w 8423147"/>
              <a:gd name="connsiteY3" fmla="*/ 790470 h 1227480"/>
            </a:gdLst>
            <a:ahLst/>
            <a:cxnLst>
              <a:cxn ang="0">
                <a:pos x="connsiteX0" y="connsiteY0"/>
              </a:cxn>
              <a:cxn ang="0">
                <a:pos x="connsiteX1" y="connsiteY1"/>
              </a:cxn>
              <a:cxn ang="0">
                <a:pos x="connsiteX2" y="connsiteY2"/>
              </a:cxn>
              <a:cxn ang="0">
                <a:pos x="connsiteX3" y="connsiteY3"/>
              </a:cxn>
            </a:cxnLst>
            <a:rect l="l" t="t" r="r" b="b"/>
            <a:pathLst>
              <a:path w="8423147" h="1227480">
                <a:moveTo>
                  <a:pt x="7644665" y="69110"/>
                </a:moveTo>
                <a:cubicBezTo>
                  <a:pt x="8308451" y="653310"/>
                  <a:pt x="8972238" y="1237510"/>
                  <a:pt x="7705625" y="1227350"/>
                </a:cubicBezTo>
                <a:cubicBezTo>
                  <a:pt x="6439012" y="1217190"/>
                  <a:pt x="476785" y="80963"/>
                  <a:pt x="44985" y="8150"/>
                </a:cubicBezTo>
                <a:cubicBezTo>
                  <a:pt x="-386815" y="-64663"/>
                  <a:pt x="2364005" y="362903"/>
                  <a:pt x="5114825" y="7904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01" name="Connector: Elbow 100">
            <a:extLst>
              <a:ext uri="{FF2B5EF4-FFF2-40B4-BE49-F238E27FC236}">
                <a16:creationId xmlns:a16="http://schemas.microsoft.com/office/drawing/2014/main" id="{DAF20007-C3EC-407B-BB44-0E6B95C57282}"/>
              </a:ext>
            </a:extLst>
          </p:cNvPr>
          <p:cNvCxnSpPr>
            <a:cxnSpLocks/>
            <a:stCxn id="10" idx="2"/>
          </p:cNvCxnSpPr>
          <p:nvPr/>
        </p:nvCxnSpPr>
        <p:spPr>
          <a:xfrm rot="5400000" flipH="1" flipV="1">
            <a:off x="5713380" y="932206"/>
            <a:ext cx="2477823" cy="8122296"/>
          </a:xfrm>
          <a:prstGeom prst="bentConnector4">
            <a:avLst>
              <a:gd name="adj1" fmla="val -9226"/>
              <a:gd name="adj2" fmla="val 108921"/>
            </a:avLst>
          </a:prstGeom>
          <a:ln w="28575">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EAB93651-D20F-4D2A-8CE2-03311540932C}"/>
              </a:ext>
            </a:extLst>
          </p:cNvPr>
          <p:cNvSpPr txBox="1"/>
          <p:nvPr/>
        </p:nvSpPr>
        <p:spPr>
          <a:xfrm>
            <a:off x="7960708" y="167701"/>
            <a:ext cx="6219824" cy="369332"/>
          </a:xfrm>
          <a:prstGeom prst="rect">
            <a:avLst/>
          </a:prstGeom>
          <a:noFill/>
        </p:spPr>
        <p:txBody>
          <a:bodyPr wrap="square">
            <a:spAutoFit/>
          </a:bodyPr>
          <a:lstStyle/>
          <a:p>
            <a:r>
              <a:rPr lang="en-US" dirty="0"/>
              <a:t>https://aka.ms/get-started-azure-2021</a:t>
            </a:r>
          </a:p>
        </p:txBody>
      </p:sp>
      <p:sp>
        <p:nvSpPr>
          <p:cNvPr id="114" name="TextBox 113">
            <a:extLst>
              <a:ext uri="{FF2B5EF4-FFF2-40B4-BE49-F238E27FC236}">
                <a16:creationId xmlns:a16="http://schemas.microsoft.com/office/drawing/2014/main" id="{8D524D60-1C5F-4151-A6B5-A8E2247227AD}"/>
              </a:ext>
            </a:extLst>
          </p:cNvPr>
          <p:cNvSpPr txBox="1"/>
          <p:nvPr/>
        </p:nvSpPr>
        <p:spPr>
          <a:xfrm>
            <a:off x="7700537" y="152271"/>
            <a:ext cx="4505325" cy="369332"/>
          </a:xfrm>
          <a:prstGeom prst="rect">
            <a:avLst/>
          </a:prstGeom>
          <a:solidFill>
            <a:srgbClr val="FFC000"/>
          </a:solidFill>
        </p:spPr>
        <p:txBody>
          <a:bodyPr wrap="square">
            <a:spAutoFit/>
          </a:bodyPr>
          <a:lstStyle/>
          <a:p>
            <a:r>
              <a:rPr lang="en-US" b="1" dirty="0">
                <a:solidFill>
                  <a:schemeClr val="bg1"/>
                </a:solidFill>
                <a:latin typeface="+mj-lt"/>
              </a:rPr>
              <a:t>https://aka.ms/get-started-azure-2021</a:t>
            </a:r>
          </a:p>
        </p:txBody>
      </p:sp>
    </p:spTree>
    <p:extLst>
      <p:ext uri="{BB962C8B-B14F-4D97-AF65-F5344CB8AC3E}">
        <p14:creationId xmlns:p14="http://schemas.microsoft.com/office/powerpoint/2010/main" val="1115253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3.33333E-6 -3.33333E-6 L 3.33333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581C6455-EAAA-423E-B1A5-7DC597DEB662}"/>
              </a:ext>
            </a:extLst>
          </p:cNvPr>
          <p:cNvSpPr/>
          <p:nvPr/>
        </p:nvSpPr>
        <p:spPr bwMode="auto">
          <a:xfrm>
            <a:off x="691060" y="2059824"/>
            <a:ext cx="2335621" cy="913132"/>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91401" rIns="0" bIns="91375" numCol="1" spcCol="0" rtlCol="0" fromWordArt="0" anchor="b" anchorCtr="0" forceAA="0" compatLnSpc="1">
            <a:prstTxWarp prst="textNoShape">
              <a:avLst/>
            </a:prstTxWarp>
            <a:noAutofit/>
          </a:bodyPr>
          <a:lstStyle/>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cloud"/>
          <p:cNvSpPr>
            <a:spLocks noChangeAspect="1"/>
          </p:cNvSpPr>
          <p:nvPr/>
        </p:nvSpPr>
        <p:spPr bwMode="black">
          <a:xfrm>
            <a:off x="2732315" y="1541877"/>
            <a:ext cx="8905582" cy="46004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822610" rtlCol="0" anchor="ctr"/>
          <a:lstStyle/>
          <a:p>
            <a:pPr marL="0" marR="0" lvl="0" indent="0" algn="ctr" defTabSz="913874" rtl="0" eaLnBrk="1" fontAlgn="auto" latinLnBrk="0" hangingPunct="1">
              <a:lnSpc>
                <a:spcPct val="80000"/>
              </a:lnSpc>
              <a:spcBef>
                <a:spcPts val="0"/>
              </a:spcBef>
              <a:spcAft>
                <a:spcPts val="0"/>
              </a:spcAft>
              <a:buClrTx/>
              <a:buSzTx/>
              <a:buFontTx/>
              <a:buNone/>
              <a:tabLst/>
              <a:defRPr/>
            </a:pPr>
            <a:endParaRPr kumimoji="0" lang="en-US" sz="4400" b="0" i="0" u="none" strike="noStrike" kern="0" cap="none" spc="-15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74" name="Rectangle 73"/>
          <p:cNvSpPr/>
          <p:nvPr/>
        </p:nvSpPr>
        <p:spPr bwMode="auto">
          <a:xfrm>
            <a:off x="9276866" y="1922867"/>
            <a:ext cx="2324187" cy="172042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91401" rIns="0" bIns="91375" numCol="1" spcCol="0" rtlCol="0" fromWordArt="0" anchor="b" anchorCtr="0" forceAA="0" compatLnSpc="1">
            <a:prstTxWarp prst="textNoShape">
              <a:avLst/>
            </a:prstTxWarp>
            <a:noAutofit/>
          </a:bodyPr>
          <a:lstStyle/>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394741" y="2903892"/>
            <a:ext cx="763904" cy="785820"/>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grpSp>
      <p:sp>
        <p:nvSpPr>
          <p:cNvPr id="3" name="Rectangle 2"/>
          <p:cNvSpPr/>
          <p:nvPr/>
        </p:nvSpPr>
        <p:spPr>
          <a:xfrm>
            <a:off x="9607067" y="2716800"/>
            <a:ext cx="700926" cy="253611"/>
          </a:xfrm>
          <a:prstGeom prst="rect">
            <a:avLst/>
          </a:prstGeom>
        </p:spPr>
        <p:txBody>
          <a:bodyPr wrap="square">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Power BI</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sp>
        <p:nvSpPr>
          <p:cNvPr id="151" name="Rectangle 150"/>
          <p:cNvSpPr/>
          <p:nvPr/>
        </p:nvSpPr>
        <p:spPr>
          <a:xfrm>
            <a:off x="9471094" y="3409606"/>
            <a:ext cx="999247" cy="237357"/>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PowerApps</a:t>
            </a:r>
          </a:p>
        </p:txBody>
      </p:sp>
      <p:sp>
        <p:nvSpPr>
          <p:cNvPr id="166" name="Rectangle 165"/>
          <p:cNvSpPr/>
          <p:nvPr/>
        </p:nvSpPr>
        <p:spPr>
          <a:xfrm>
            <a:off x="10565966" y="3409606"/>
            <a:ext cx="807297" cy="237357"/>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Web Apps</a:t>
            </a:r>
          </a:p>
        </p:txBody>
      </p:sp>
      <p:sp>
        <p:nvSpPr>
          <p:cNvPr id="167" name="Rectangle 166"/>
          <p:cNvSpPr/>
          <p:nvPr/>
        </p:nvSpPr>
        <p:spPr>
          <a:xfrm>
            <a:off x="10419132" y="2766593"/>
            <a:ext cx="1064179" cy="237357"/>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Mobile Apps</a:t>
            </a:r>
          </a:p>
        </p:txBody>
      </p:sp>
      <p:sp>
        <p:nvSpPr>
          <p:cNvPr id="164" name="Rectangle 163"/>
          <p:cNvSpPr/>
          <p:nvPr/>
        </p:nvSpPr>
        <p:spPr>
          <a:xfrm>
            <a:off x="9351084" y="1935295"/>
            <a:ext cx="2245218" cy="466490"/>
          </a:xfrm>
          <a:prstGeom prst="rect">
            <a:avLst/>
          </a:prstGeom>
        </p:spPr>
        <p:txBody>
          <a:bodyPr wrap="square">
            <a:spAutoFit/>
          </a:bodyPr>
          <a:lstStyle/>
          <a:p>
            <a:pPr marL="0" marR="0" lvl="0" indent="0" algn="ctr" defTabSz="895403" rtl="0" eaLnBrk="1" fontAlgn="base" latinLnBrk="0" hangingPunct="1">
              <a:lnSpc>
                <a:spcPct val="90000"/>
              </a:lnSpc>
              <a:spcBef>
                <a:spcPct val="0"/>
              </a:spcBef>
              <a:spcAft>
                <a:spcPts val="588"/>
              </a:spcAft>
              <a:buClrTx/>
              <a:buSzTx/>
              <a:buFontTx/>
              <a:buNone/>
              <a:tabLst/>
              <a:defRPr/>
            </a:pP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Manage</a:t>
            </a:r>
          </a:p>
          <a:p>
            <a:pPr marL="0" marR="0" lvl="0" indent="0" algn="ctr" defTabSz="895403"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a:ea typeface="+mn-ea"/>
                <a:cs typeface="+mn-cs"/>
              </a:rPr>
              <a:t>View and manage solutions</a:t>
            </a:r>
          </a:p>
        </p:txBody>
      </p:sp>
      <p:sp>
        <p:nvSpPr>
          <p:cNvPr id="183" name="Rectangle 182">
            <a:extLst>
              <a:ext uri="{FF2B5EF4-FFF2-40B4-BE49-F238E27FC236}">
                <a16:creationId xmlns:a16="http://schemas.microsoft.com/office/drawing/2014/main" id="{54A6F7DA-8B8E-4D0C-B1AF-2072ED15DF9D}"/>
              </a:ext>
            </a:extLst>
          </p:cNvPr>
          <p:cNvSpPr/>
          <p:nvPr/>
        </p:nvSpPr>
        <p:spPr bwMode="auto">
          <a:xfrm>
            <a:off x="706763" y="4984575"/>
            <a:ext cx="2312743" cy="1065395"/>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01" rIns="0" bIns="91375" numCol="1" spcCol="0" rtlCol="0" fromWordArt="0" anchor="b" anchorCtr="0" forceAA="0" compatLnSpc="1">
            <a:prstTxWarp prst="textNoShape">
              <a:avLst/>
            </a:prstTxWarp>
            <a:no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Sphere</a:t>
            </a:r>
          </a:p>
        </p:txBody>
      </p:sp>
      <p:cxnSp>
        <p:nvCxnSpPr>
          <p:cNvPr id="148" name="2 Arrow">
            <a:extLst>
              <a:ext uri="{FF2B5EF4-FFF2-40B4-BE49-F238E27FC236}">
                <a16:creationId xmlns:a16="http://schemas.microsoft.com/office/drawing/2014/main" id="{34ABF04A-E2D6-4859-B2F2-9032F1DC0AC0}"/>
              </a:ext>
            </a:extLst>
          </p:cNvPr>
          <p:cNvCxnSpPr>
            <a:cxnSpLocks/>
            <a:stCxn id="9220" idx="3"/>
            <a:endCxn id="158" idx="2"/>
          </p:cNvCxnSpPr>
          <p:nvPr/>
        </p:nvCxnSpPr>
        <p:spPr>
          <a:xfrm>
            <a:off x="1294565" y="5456470"/>
            <a:ext cx="441334" cy="909"/>
          </a:xfrm>
          <a:prstGeom prst="straightConnector1">
            <a:avLst/>
          </a:prstGeom>
          <a:ln w="31750">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9220" name="Picture 4" descr="Image result for Azure Sphere logo">
            <a:extLst>
              <a:ext uri="{FF2B5EF4-FFF2-40B4-BE49-F238E27FC236}">
                <a16:creationId xmlns:a16="http://schemas.microsoft.com/office/drawing/2014/main" id="{06763744-A87F-40D5-9D28-6F1EECF12C2A}"/>
              </a:ext>
            </a:extLst>
          </p:cNvPr>
          <p:cNvPicPr>
            <a:picLocks noChangeAspect="1" noChangeArrowheads="1"/>
          </p:cNvPicPr>
          <p:nvPr/>
        </p:nvPicPr>
        <p:blipFill rotWithShape="1">
          <a:blip r:embed="rId3" cstate="print">
            <a:duotone>
              <a:prstClr val="black"/>
              <a:srgbClr val="D9C3A5">
                <a:tint val="50000"/>
                <a:satMod val="180000"/>
              </a:srgbClr>
            </a:duotone>
            <a:extLst>
              <a:ext uri="{28A0092B-C50C-407E-A947-70E740481C1C}">
                <a14:useLocalDpi xmlns:a14="http://schemas.microsoft.com/office/drawing/2010/main" val="0"/>
              </a:ext>
            </a:extLst>
          </a:blip>
          <a:srcRect l="20166" t="58207" r="63528" b="16896"/>
          <a:stretch/>
        </p:blipFill>
        <p:spPr bwMode="auto">
          <a:xfrm>
            <a:off x="1031032" y="5323908"/>
            <a:ext cx="263533" cy="265123"/>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4" descr="Image result for Azure Sphere logo">
            <a:extLst>
              <a:ext uri="{FF2B5EF4-FFF2-40B4-BE49-F238E27FC236}">
                <a16:creationId xmlns:a16="http://schemas.microsoft.com/office/drawing/2014/main" id="{C435FEFC-C68F-4E29-8D60-71CDE4E91F7C}"/>
              </a:ext>
            </a:extLst>
          </p:cNvPr>
          <p:cNvPicPr>
            <a:picLocks noChangeAspect="1" noChangeArrowheads="1"/>
          </p:cNvPicPr>
          <p:nvPr/>
        </p:nvPicPr>
        <p:blipFill rotWithShape="1">
          <a:blip r:embed="rId4" cstate="print">
            <a:duotone>
              <a:prstClr val="black"/>
              <a:srgbClr val="D9C3A5">
                <a:tint val="50000"/>
                <a:satMod val="180000"/>
              </a:srgbClr>
            </a:duotone>
            <a:extLst>
              <a:ext uri="{28A0092B-C50C-407E-A947-70E740481C1C}">
                <a14:useLocalDpi xmlns:a14="http://schemas.microsoft.com/office/drawing/2010/main" val="0"/>
              </a:ext>
            </a:extLst>
          </a:blip>
          <a:srcRect l="64216" t="57031" r="17628" b="15600"/>
          <a:stretch/>
        </p:blipFill>
        <p:spPr bwMode="auto">
          <a:xfrm>
            <a:off x="1735899" y="5319515"/>
            <a:ext cx="277656" cy="275727"/>
          </a:xfrm>
          <a:prstGeom prst="ellipse">
            <a:avLst/>
          </a:prstGeom>
          <a:noFill/>
          <a:extLst>
            <a:ext uri="{909E8E84-426E-40DD-AFC4-6F175D3DCCD1}">
              <a14:hiddenFill xmlns:a14="http://schemas.microsoft.com/office/drawing/2010/main">
                <a:solidFill>
                  <a:srgbClr val="FFFFFF"/>
                </a:solidFill>
              </a14:hiddenFill>
            </a:ext>
          </a:extLst>
        </p:spPr>
      </p:pic>
      <p:cxnSp>
        <p:nvCxnSpPr>
          <p:cNvPr id="171" name="2 Arrow">
            <a:extLst>
              <a:ext uri="{FF2B5EF4-FFF2-40B4-BE49-F238E27FC236}">
                <a16:creationId xmlns:a16="http://schemas.microsoft.com/office/drawing/2014/main" id="{01E594EB-7C9A-4CCD-9556-428836EB4FB4}"/>
              </a:ext>
            </a:extLst>
          </p:cNvPr>
          <p:cNvCxnSpPr>
            <a:cxnSpLocks/>
            <a:stCxn id="158" idx="6"/>
            <a:endCxn id="9234" idx="1"/>
          </p:cNvCxnSpPr>
          <p:nvPr/>
        </p:nvCxnSpPr>
        <p:spPr>
          <a:xfrm>
            <a:off x="2013555" y="5457379"/>
            <a:ext cx="474524" cy="3216"/>
          </a:xfrm>
          <a:prstGeom prst="straightConnector1">
            <a:avLst/>
          </a:prstGeom>
          <a:ln w="31750">
            <a:solidFill>
              <a:schemeClr val="bg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EAD382E-2ECD-42FE-B651-3378CD53DA58}"/>
              </a:ext>
            </a:extLst>
          </p:cNvPr>
          <p:cNvSpPr txBox="1"/>
          <p:nvPr/>
        </p:nvSpPr>
        <p:spPr>
          <a:xfrm>
            <a:off x="783269" y="5621605"/>
            <a:ext cx="742464" cy="13849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rPr>
              <a:t>Secured MCU</a:t>
            </a:r>
          </a:p>
        </p:txBody>
      </p:sp>
      <p:sp>
        <p:nvSpPr>
          <p:cNvPr id="132" name="Rectangle 131">
            <a:extLst>
              <a:ext uri="{FF2B5EF4-FFF2-40B4-BE49-F238E27FC236}">
                <a16:creationId xmlns:a16="http://schemas.microsoft.com/office/drawing/2014/main" id="{E4D8D7AD-94E8-4B58-B2F7-BDBE2DA5F9E8}"/>
              </a:ext>
            </a:extLst>
          </p:cNvPr>
          <p:cNvSpPr/>
          <p:nvPr/>
        </p:nvSpPr>
        <p:spPr bwMode="auto">
          <a:xfrm>
            <a:off x="9283065" y="4118775"/>
            <a:ext cx="2324187" cy="1439462"/>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91401" rIns="0" bIns="91375" numCol="1" spcCol="0" rtlCol="0" fromWordArt="0" anchor="b" anchorCtr="0" forceAA="0" compatLnSpc="1">
            <a:prstTxWarp prst="textNoShape">
              <a:avLst/>
            </a:prstTxWarp>
            <a:noAutofit/>
          </a:bodyPr>
          <a:lstStyle/>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222"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TextBox 171">
            <a:extLst>
              <a:ext uri="{FF2B5EF4-FFF2-40B4-BE49-F238E27FC236}">
                <a16:creationId xmlns:a16="http://schemas.microsoft.com/office/drawing/2014/main" id="{A74ED67D-0EAF-41C5-9BA4-072225AAC444}"/>
              </a:ext>
            </a:extLst>
          </p:cNvPr>
          <p:cNvSpPr txBox="1"/>
          <p:nvPr/>
        </p:nvSpPr>
        <p:spPr>
          <a:xfrm>
            <a:off x="1525001" y="5621605"/>
            <a:ext cx="689065" cy="13849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rPr>
              <a:t>Secured OS</a:t>
            </a:r>
          </a:p>
        </p:txBody>
      </p:sp>
      <p:sp>
        <p:nvSpPr>
          <p:cNvPr id="173" name="TextBox 172">
            <a:extLst>
              <a:ext uri="{FF2B5EF4-FFF2-40B4-BE49-F238E27FC236}">
                <a16:creationId xmlns:a16="http://schemas.microsoft.com/office/drawing/2014/main" id="{B66E424D-44E5-44D2-9DB0-FC7B9AD11E85}"/>
              </a:ext>
            </a:extLst>
          </p:cNvPr>
          <p:cNvSpPr txBox="1"/>
          <p:nvPr/>
        </p:nvSpPr>
        <p:spPr>
          <a:xfrm>
            <a:off x="2145887" y="5621605"/>
            <a:ext cx="964266" cy="13849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rPr>
              <a:t>Cloud Security</a:t>
            </a:r>
          </a:p>
        </p:txBody>
      </p:sp>
      <p:pic>
        <p:nvPicPr>
          <p:cNvPr id="9234" name="Picture 6" descr="https://azurecomcdn.azureedge.net/mediahandler/acomblog/media/Default/blog/bd5000d5-6cba-45c7-9d88-d081731c0989.png">
            <a:extLst>
              <a:ext uri="{FF2B5EF4-FFF2-40B4-BE49-F238E27FC236}">
                <a16:creationId xmlns:a16="http://schemas.microsoft.com/office/drawing/2014/main" id="{77840F2A-3195-4028-A2DD-BD8C2EEDED3B}"/>
              </a:ext>
            </a:extLst>
          </p:cNvPr>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l="42184" t="7472" r="40288" b="61275"/>
          <a:stretch/>
        </p:blipFill>
        <p:spPr bwMode="auto">
          <a:xfrm>
            <a:off x="2488079" y="5315581"/>
            <a:ext cx="247021" cy="290027"/>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Image result for Web Apps Logo 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81407" y="3063997"/>
            <a:ext cx="582971" cy="306060"/>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94242" y="2417812"/>
            <a:ext cx="328636" cy="328636"/>
          </a:xfrm>
          <a:prstGeom prst="rect">
            <a:avLst/>
          </a:prstGeom>
        </p:spPr>
      </p:pic>
      <p:sp>
        <p:nvSpPr>
          <p:cNvPr id="87" name="Rectangle 86"/>
          <p:cNvSpPr/>
          <p:nvPr/>
        </p:nvSpPr>
        <p:spPr>
          <a:xfrm>
            <a:off x="9192791" y="4173810"/>
            <a:ext cx="2469740" cy="466556"/>
          </a:xfrm>
          <a:prstGeom prst="rect">
            <a:avLst/>
          </a:prstGeom>
        </p:spPr>
        <p:txBody>
          <a:bodyPr wrap="square">
            <a:spAutoFit/>
          </a:bodyPr>
          <a:lstStyle/>
          <a:p>
            <a:pPr marL="0" marR="0" lvl="0" indent="0" algn="ctr" defTabSz="895403" rtl="0" eaLnBrk="1" fontAlgn="base" latinLnBrk="0" hangingPunct="1">
              <a:lnSpc>
                <a:spcPct val="90000"/>
              </a:lnSpc>
              <a:spcBef>
                <a:spcPct val="0"/>
              </a:spcBef>
              <a:spcAft>
                <a:spcPts val="588"/>
              </a:spcAft>
              <a:buClrTx/>
              <a:buSzTx/>
              <a:buFontTx/>
              <a:buNone/>
              <a:tabLst/>
              <a:defRPr/>
            </a:pP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Business Integration</a:t>
            </a:r>
          </a:p>
          <a:p>
            <a:pPr marL="0" marR="0" lvl="0" indent="0" algn="ctr" defTabSz="895403"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a:ea typeface="+mn-ea"/>
                <a:cs typeface="+mn-cs"/>
              </a:rPr>
              <a:t>Connect to business apps &amp; services</a:t>
            </a:r>
          </a:p>
        </p:txBody>
      </p:sp>
      <p:sp>
        <p:nvSpPr>
          <p:cNvPr id="155" name="Rectangle 154">
            <a:extLst>
              <a:ext uri="{FF2B5EF4-FFF2-40B4-BE49-F238E27FC236}">
                <a16:creationId xmlns:a16="http://schemas.microsoft.com/office/drawing/2014/main" id="{B60EADB8-674E-4037-87A4-EB2AE19BA511}"/>
              </a:ext>
            </a:extLst>
          </p:cNvPr>
          <p:cNvSpPr/>
          <p:nvPr/>
        </p:nvSpPr>
        <p:spPr>
          <a:xfrm>
            <a:off x="9895085" y="4960918"/>
            <a:ext cx="1129513" cy="286077"/>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Office 365</a:t>
            </a:r>
          </a:p>
        </p:txBody>
      </p:sp>
      <p:sp>
        <p:nvSpPr>
          <p:cNvPr id="170" name="Rectangle 169">
            <a:extLst>
              <a:ext uri="{FF2B5EF4-FFF2-40B4-BE49-F238E27FC236}">
                <a16:creationId xmlns:a16="http://schemas.microsoft.com/office/drawing/2014/main" id="{FF3D14F0-C999-4F42-95AF-CF85E93582FC}"/>
              </a:ext>
            </a:extLst>
          </p:cNvPr>
          <p:cNvSpPr/>
          <p:nvPr/>
        </p:nvSpPr>
        <p:spPr>
          <a:xfrm>
            <a:off x="9685539" y="4667578"/>
            <a:ext cx="1454802" cy="286232"/>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Dynamics 365</a:t>
            </a:r>
          </a:p>
        </p:txBody>
      </p:sp>
      <p:pic>
        <p:nvPicPr>
          <p:cNvPr id="2048" name="Picture 2047" descr="A picture containing paper clip&#10;&#10;Description generated with high confidence">
            <a:extLst>
              <a:ext uri="{FF2B5EF4-FFF2-40B4-BE49-F238E27FC236}">
                <a16:creationId xmlns:a16="http://schemas.microsoft.com/office/drawing/2014/main" id="{BD746B46-42AF-4F39-A6E3-B905037AA7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85539" y="2291282"/>
            <a:ext cx="572958" cy="572958"/>
          </a:xfrm>
          <a:prstGeom prst="rect">
            <a:avLst/>
          </a:prstGeom>
        </p:spPr>
      </p:pic>
      <p:cxnSp>
        <p:nvCxnSpPr>
          <p:cNvPr id="128" name="2 Arrow">
            <a:extLst>
              <a:ext uri="{FF2B5EF4-FFF2-40B4-BE49-F238E27FC236}">
                <a16:creationId xmlns:a16="http://schemas.microsoft.com/office/drawing/2014/main" id="{B9A264F2-14BA-4FAF-83F8-40E41B110E63}"/>
              </a:ext>
            </a:extLst>
          </p:cNvPr>
          <p:cNvCxnSpPr>
            <a:cxnSpLocks/>
            <a:stCxn id="183" idx="0"/>
            <a:endCxn id="124" idx="2"/>
          </p:cNvCxnSpPr>
          <p:nvPr/>
        </p:nvCxnSpPr>
        <p:spPr>
          <a:xfrm flipH="1" flipV="1">
            <a:off x="1852875" y="4718602"/>
            <a:ext cx="10260" cy="265973"/>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12E254B-2FF4-49CF-9C73-FB3637AEA62C}"/>
              </a:ext>
            </a:extLst>
          </p:cNvPr>
          <p:cNvGrpSpPr/>
          <p:nvPr/>
        </p:nvGrpSpPr>
        <p:grpSpPr>
          <a:xfrm>
            <a:off x="689717" y="3253163"/>
            <a:ext cx="2416207" cy="1465439"/>
            <a:chOff x="1317652" y="2287656"/>
            <a:chExt cx="2082726" cy="1651997"/>
          </a:xfrm>
        </p:grpSpPr>
        <p:sp>
          <p:nvSpPr>
            <p:cNvPr id="124" name="Rectangle 123"/>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01" rIns="0" bIns="91375" numCol="1" spcCol="0" rtlCol="0" fromWordArt="0" anchor="b" anchorCtr="0" forceAA="0" compatLnSpc="1">
              <a:prstTxWarp prst="textNoShape">
                <a:avLst/>
              </a:prstTxWarp>
              <a:no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endPar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Rectangle 126"/>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21" tIns="91401" rIns="0" bIns="91375" numCol="1" spcCol="0" rtlCol="0" fromWordArt="0" anchor="b" anchorCtr="0" forceAA="0" compatLnSpc="1">
              <a:prstTxWarp prst="textNoShape">
                <a:avLst/>
              </a:prstTxWarp>
              <a:noAutofit/>
            </a:bodyPr>
            <a:lstStyle/>
            <a:p>
              <a:pPr marL="0" marR="0" lvl="0" indent="0" algn="l" defTabSz="913222" rtl="0" eaLnBrk="1" fontAlgn="base" latinLnBrk="0" hangingPunct="1">
                <a:lnSpc>
                  <a:spcPct val="90000"/>
                </a:lnSpc>
                <a:spcBef>
                  <a:spcPct val="0"/>
                </a:spcBef>
                <a:spcAft>
                  <a:spcPts val="200"/>
                </a:spcAft>
                <a:buClrTx/>
                <a:buSzTx/>
                <a:buFontTx/>
                <a:buNone/>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Edge Modules:</a:t>
              </a:r>
            </a:p>
            <a:p>
              <a:pPr marL="112691" marR="0" lvl="0" indent="-112691" algn="l" defTabSz="913222" rtl="0" eaLnBrk="1" fontAlgn="base" latinLnBrk="0" hangingPunct="1">
                <a:lnSpc>
                  <a:spcPct val="90000"/>
                </a:lnSpc>
                <a:spcBef>
                  <a:spcPct val="0"/>
                </a:spcBef>
                <a:spcAft>
                  <a:spcPts val="1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Protocol Adaptation</a:t>
              </a:r>
            </a:p>
            <a:p>
              <a:pPr marL="112691" marR="0" lvl="0" indent="-112691" algn="l" defTabSz="913222" rtl="0" eaLnBrk="1" fontAlgn="base" latinLnBrk="0" hangingPunct="1">
                <a:lnSpc>
                  <a:spcPct val="90000"/>
                </a:lnSpc>
                <a:spcBef>
                  <a:spcPct val="0"/>
                </a:spcBef>
                <a:spcAft>
                  <a:spcPts val="1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Functions</a:t>
              </a:r>
            </a:p>
            <a:p>
              <a:pPr marL="112691" marR="0" lvl="0" indent="-112691" algn="l" defTabSz="913222" rtl="0" eaLnBrk="1" fontAlgn="base" latinLnBrk="0" hangingPunct="1">
                <a:lnSpc>
                  <a:spcPct val="90000"/>
                </a:lnSpc>
                <a:spcBef>
                  <a:spcPct val="0"/>
                </a:spcBef>
                <a:spcAft>
                  <a:spcPts val="1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Stream Analytics</a:t>
              </a:r>
            </a:p>
            <a:p>
              <a:pPr marL="112691" marR="0" lvl="0" indent="-112691" algn="l" defTabSz="913222" rtl="0" eaLnBrk="1" fontAlgn="base" latinLnBrk="0" hangingPunct="1">
                <a:lnSpc>
                  <a:spcPct val="90000"/>
                </a:lnSpc>
                <a:spcBef>
                  <a:spcPct val="0"/>
                </a:spcBef>
                <a:spcAft>
                  <a:spcPts val="1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Machine Learning</a:t>
              </a:r>
            </a:p>
            <a:p>
              <a:pPr marL="112691" marR="0" lvl="0" indent="-112691" algn="l" defTabSz="913222" rtl="0" eaLnBrk="1" fontAlgn="base" latinLnBrk="0" hangingPunct="1">
                <a:lnSpc>
                  <a:spcPct val="90000"/>
                </a:lnSpc>
                <a:spcBef>
                  <a:spcPct val="0"/>
                </a:spcBef>
                <a:spcAft>
                  <a:spcPts val="1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I</a:t>
              </a:r>
            </a:p>
          </p:txBody>
        </p:sp>
        <p:pic>
          <p:nvPicPr>
            <p:cNvPr id="129" name="Picture 8" descr="Image result for Azure IoT Edge logo png">
              <a:extLst>
                <a:ext uri="{FF2B5EF4-FFF2-40B4-BE49-F238E27FC236}">
                  <a16:creationId xmlns:a16="http://schemas.microsoft.com/office/drawing/2014/main" id="{F747B297-48AB-4EFF-B7CC-780901916D4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55486" y="2463377"/>
              <a:ext cx="322193" cy="400879"/>
            </a:xfrm>
            <a:prstGeom prst="rect">
              <a:avLst/>
            </a:prstGeom>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B085ECA-40D5-4A12-9C55-85ABCE56E43C}"/>
                </a:ext>
              </a:extLst>
            </p:cNvPr>
            <p:cNvSpPr/>
            <p:nvPr/>
          </p:nvSpPr>
          <p:spPr>
            <a:xfrm>
              <a:off x="1324829" y="2884060"/>
              <a:ext cx="780305" cy="448308"/>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a:t>
              </a:r>
              <a:b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IoT Edge</a:t>
              </a:r>
            </a:p>
          </p:txBody>
        </p:sp>
      </p:grpSp>
      <p:sp>
        <p:nvSpPr>
          <p:cNvPr id="154" name="Rectangle 153">
            <a:extLst>
              <a:ext uri="{FF2B5EF4-FFF2-40B4-BE49-F238E27FC236}">
                <a16:creationId xmlns:a16="http://schemas.microsoft.com/office/drawing/2014/main" id="{CF228F15-4C7B-4AF1-9745-A4C6A1B755CA}"/>
              </a:ext>
            </a:extLst>
          </p:cNvPr>
          <p:cNvSpPr/>
          <p:nvPr/>
        </p:nvSpPr>
        <p:spPr bwMode="auto">
          <a:xfrm>
            <a:off x="710636" y="6180637"/>
            <a:ext cx="10885666" cy="519360"/>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91401" rIns="91427" bIns="91375" numCol="1" spcCol="0" rtlCol="0" fromWordArt="0" anchor="ctr" anchorCtr="0" forceAA="0" compatLnSpc="1">
            <a:prstTxWarp prst="textNoShape">
              <a:avLst/>
            </a:prstTxWarp>
            <a:noAutofit/>
          </a:bodyPr>
          <a:lstStyle/>
          <a:p>
            <a:pPr marL="2112557" marR="0" lvl="0" indent="-115866" algn="l" defTabSz="6094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a:ea typeface="+mn-ea"/>
                <a:cs typeface="+mn-cs"/>
              </a:rPr>
              <a:t>Integrated view for </a:t>
            </a:r>
            <a:r>
              <a:rPr kumimoji="0" lang="en-US" sz="900" b="0" i="0" u="none" strike="noStrike" kern="0" cap="none" spc="0" normalizeH="0" baseline="0" noProof="0">
                <a:ln>
                  <a:noFill/>
                </a:ln>
                <a:solidFill>
                  <a:srgbClr val="37A5D1"/>
                </a:solidFill>
                <a:effectLst/>
                <a:uLnTx/>
                <a:uFillTx/>
                <a:latin typeface="Segoe UI"/>
                <a:ea typeface="+mn-ea"/>
                <a:cs typeface="+mn-cs"/>
              </a:rPr>
              <a:t>CISO &amp; SecOps personas </a:t>
            </a:r>
            <a:r>
              <a:rPr kumimoji="0" lang="en-US" sz="900" b="0" i="0" u="none" strike="noStrike" kern="0" cap="none" spc="0" normalizeH="0" baseline="0" noProof="0">
                <a:ln>
                  <a:noFill/>
                </a:ln>
                <a:solidFill>
                  <a:srgbClr val="000000">
                    <a:lumMod val="75000"/>
                    <a:lumOff val="25000"/>
                  </a:srgbClr>
                </a:solidFill>
                <a:effectLst/>
                <a:uLnTx/>
                <a:uFillTx/>
                <a:latin typeface="Segoe UI"/>
                <a:ea typeface="+mn-ea"/>
                <a:cs typeface="+mn-cs"/>
              </a:rPr>
              <a:t>to review enterprise security posture, including IoT solutions.</a:t>
            </a:r>
          </a:p>
          <a:p>
            <a:pPr marL="2112557" marR="0" lvl="0" indent="-115866" algn="l" defTabSz="6094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75000"/>
                    <a:lumOff val="25000"/>
                  </a:srgbClr>
                </a:solidFill>
                <a:effectLst/>
                <a:uLnTx/>
                <a:uFillTx/>
                <a:latin typeface="Segoe UI"/>
                <a:ea typeface="Calibri" panose="020F0502020204030204" pitchFamily="34" charset="0"/>
                <a:cs typeface="+mn-cs"/>
              </a:rPr>
              <a:t>Holistic view of IoT solution security posture for </a:t>
            </a:r>
            <a:r>
              <a:rPr kumimoji="0" lang="en-US" sz="900" b="0" i="0" u="none" strike="noStrike" kern="1200" cap="none" spc="0" normalizeH="0" baseline="0" noProof="0">
                <a:ln>
                  <a:noFill/>
                </a:ln>
                <a:solidFill>
                  <a:srgbClr val="37A5D1"/>
                </a:solidFill>
                <a:effectLst/>
                <a:uLnTx/>
                <a:uFillTx/>
                <a:latin typeface="Segoe UI"/>
                <a:ea typeface="Calibri" panose="020F0502020204030204" pitchFamily="34" charset="0"/>
                <a:cs typeface="+mn-cs"/>
              </a:rPr>
              <a:t>DevOps and IoT solution managers </a:t>
            </a:r>
            <a:r>
              <a:rPr kumimoji="0" lang="en-US" sz="900" b="0" i="0" u="none" strike="noStrike" kern="1200" cap="none" spc="0" normalizeH="0" baseline="0" noProof="0">
                <a:ln>
                  <a:noFill/>
                </a:ln>
                <a:solidFill>
                  <a:srgbClr val="000000">
                    <a:lumMod val="75000"/>
                    <a:lumOff val="25000"/>
                  </a:srgbClr>
                </a:solidFill>
                <a:effectLst/>
                <a:uLnTx/>
                <a:uFillTx/>
                <a:latin typeface="Segoe UI"/>
                <a:ea typeface="Calibri" panose="020F0502020204030204" pitchFamily="34" charset="0"/>
                <a:cs typeface="+mn-cs"/>
              </a:rPr>
              <a:t>to review and manage day to day security status</a:t>
            </a:r>
            <a:endParaRPr kumimoji="0" lang="en-US" sz="900" b="0" i="0" u="none" strike="noStrike" kern="0" cap="none" spc="0" normalizeH="0" baseline="0" noProof="0">
              <a:ln>
                <a:noFill/>
              </a:ln>
              <a:solidFill>
                <a:srgbClr val="000000">
                  <a:lumMod val="75000"/>
                  <a:lumOff val="25000"/>
                </a:srgbClr>
              </a:solidFill>
              <a:effectLst/>
              <a:uLnTx/>
              <a:uFillTx/>
              <a:latin typeface="Segoe UI"/>
              <a:ea typeface="+mn-ea"/>
              <a:cs typeface="+mn-cs"/>
            </a:endParaRPr>
          </a:p>
        </p:txBody>
      </p:sp>
      <p:pic>
        <p:nvPicPr>
          <p:cNvPr id="156" name="Picture 2" descr="Image result for Azure Security Center Icon">
            <a:extLst>
              <a:ext uri="{FF2B5EF4-FFF2-40B4-BE49-F238E27FC236}">
                <a16:creationId xmlns:a16="http://schemas.microsoft.com/office/drawing/2014/main" id="{9F976DFE-92AC-4A91-95AD-9CA3400485B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70591" y="6283185"/>
            <a:ext cx="336060" cy="33606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1E26FD01-7A81-4EA5-A5EA-2A31F9033A4F}"/>
              </a:ext>
            </a:extLst>
          </p:cNvPr>
          <p:cNvSpPr/>
          <p:nvPr/>
        </p:nvSpPr>
        <p:spPr>
          <a:xfrm>
            <a:off x="1144098" y="6252375"/>
            <a:ext cx="1303001" cy="397032"/>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0"/>
              </a:spcAft>
              <a:buClrTx/>
              <a:buSzTx/>
              <a:buFontTx/>
              <a:buNone/>
              <a:tabLst/>
              <a:defRPr/>
            </a:pPr>
            <a:r>
              <a:rPr kumimoji="0" lang="en-US" sz="1100" b="1" i="0" u="none" strike="noStrike" kern="0" cap="none" spc="0" normalizeH="0" baseline="0" noProof="0" dirty="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Defender for IoT</a:t>
            </a:r>
          </a:p>
        </p:txBody>
      </p:sp>
      <p:pic>
        <p:nvPicPr>
          <p:cNvPr id="7170" name="Picture 2" descr="Image result for PowerApps icon png">
            <a:extLst>
              <a:ext uri="{FF2B5EF4-FFF2-40B4-BE49-F238E27FC236}">
                <a16:creationId xmlns:a16="http://schemas.microsoft.com/office/drawing/2014/main" id="{74740930-B44B-4761-8FDA-6A82E572FB0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771284" y="3027240"/>
            <a:ext cx="414880" cy="351265"/>
          </a:xfrm>
          <a:prstGeom prst="rect">
            <a:avLst/>
          </a:prstGeom>
          <a:noFill/>
          <a:extLst>
            <a:ext uri="{909E8E84-426E-40DD-AFC4-6F175D3DCCD1}">
              <a14:hiddenFill xmlns:a14="http://schemas.microsoft.com/office/drawing/2010/main">
                <a:solidFill>
                  <a:srgbClr val="FFFFFF"/>
                </a:solidFill>
              </a14:hiddenFill>
            </a:ext>
          </a:extLst>
        </p:spPr>
      </p:pic>
      <p:sp>
        <p:nvSpPr>
          <p:cNvPr id="245" name="Rectangle 244">
            <a:extLst>
              <a:ext uri="{FF2B5EF4-FFF2-40B4-BE49-F238E27FC236}">
                <a16:creationId xmlns:a16="http://schemas.microsoft.com/office/drawing/2014/main" id="{A8A66C6E-568C-46D5-A888-3EC6658D9CC1}"/>
              </a:ext>
            </a:extLst>
          </p:cNvPr>
          <p:cNvSpPr/>
          <p:nvPr/>
        </p:nvSpPr>
        <p:spPr>
          <a:xfrm>
            <a:off x="9432579" y="5214300"/>
            <a:ext cx="2098617" cy="286232"/>
          </a:xfrm>
          <a:prstGeom prst="rect">
            <a:avLst/>
          </a:prstGeom>
        </p:spPr>
        <p:txBody>
          <a:bodyPr wrap="square">
            <a:spAutoFit/>
          </a:bodyPr>
          <a:lstStyle/>
          <a:p>
            <a:pPr marL="0" marR="0" lvl="0" indent="0" algn="ctr" defTabSz="913222"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3</a:t>
            </a:r>
            <a:r>
              <a:rPr kumimoji="0" lang="en-US" sz="1400" b="0" i="0" u="none" strike="noStrike" kern="0" cap="none" spc="0" normalizeH="0" baseline="3000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rd</a:t>
            </a:r>
            <a:r>
              <a:rPr kumimoji="0" lang="en-US" sz="140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 Party applications</a:t>
            </a:r>
          </a:p>
        </p:txBody>
      </p:sp>
      <p:cxnSp>
        <p:nvCxnSpPr>
          <p:cNvPr id="139" name="Straight Arrow Connector 138">
            <a:extLst>
              <a:ext uri="{FF2B5EF4-FFF2-40B4-BE49-F238E27FC236}">
                <a16:creationId xmlns:a16="http://schemas.microsoft.com/office/drawing/2014/main" id="{154495EE-119E-46D2-8973-604D5A20C4A4}"/>
              </a:ext>
            </a:extLst>
          </p:cNvPr>
          <p:cNvCxnSpPr>
            <a:cxnSpLocks/>
            <a:stCxn id="132" idx="0"/>
          </p:cNvCxnSpPr>
          <p:nvPr/>
        </p:nvCxnSpPr>
        <p:spPr>
          <a:xfrm flipV="1">
            <a:off x="10445159" y="3648171"/>
            <a:ext cx="0" cy="470604"/>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951666" y="2137135"/>
            <a:ext cx="1796176" cy="136627"/>
          </a:xfrm>
          <a:prstGeom prst="rect">
            <a:avLst/>
          </a:prstGeom>
          <a:solidFill>
            <a:schemeClr val="bg1"/>
          </a:solidFill>
          <a:ln>
            <a:noFill/>
            <a:headEnd type="none" w="med" len="med"/>
            <a:tailEnd type="none" w="med" len="med"/>
          </a:ln>
        </p:spPr>
        <p:txBody>
          <a:bodyPr wrap="square" lIns="0" tIns="0" rIns="0" bIns="0" rtlCol="0">
            <a:spAutoFit/>
          </a:bodyPr>
          <a:lstStyle/>
          <a:p>
            <a:pPr marL="0" marR="0" lvl="0" indent="0" algn="ctr" defTabSz="93184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lumMod val="65000"/>
                  <a:lumOff val="35000"/>
                </a:srgbClr>
              </a:solidFill>
              <a:effectLst/>
              <a:uLnTx/>
              <a:uFillTx/>
              <a:latin typeface="Segoe UI"/>
              <a:ea typeface="Segoe UI" panose="020B0502040204020203" pitchFamily="34" charset="0"/>
              <a:cs typeface="Segoe UI" panose="020B0502040204020203" pitchFamily="34" charset="0"/>
            </a:endParaRPr>
          </a:p>
        </p:txBody>
      </p:sp>
      <p:grpSp>
        <p:nvGrpSpPr>
          <p:cNvPr id="38" name="Group 37">
            <a:extLst>
              <a:ext uri="{FF2B5EF4-FFF2-40B4-BE49-F238E27FC236}">
                <a16:creationId xmlns:a16="http://schemas.microsoft.com/office/drawing/2014/main" id="{8B78670F-F152-41D3-95AF-4F76BC221B56}"/>
              </a:ext>
            </a:extLst>
          </p:cNvPr>
          <p:cNvGrpSpPr/>
          <p:nvPr/>
        </p:nvGrpSpPr>
        <p:grpSpPr>
          <a:xfrm>
            <a:off x="974603" y="2771354"/>
            <a:ext cx="1764159" cy="114747"/>
            <a:chOff x="871619" y="1823040"/>
            <a:chExt cx="1796202" cy="116335"/>
          </a:xfrm>
        </p:grpSpPr>
        <p:sp>
          <p:nvSpPr>
            <p:cNvPr id="143" name="Frame 5">
              <a:extLst>
                <a:ext uri="{FF2B5EF4-FFF2-40B4-BE49-F238E27FC236}">
                  <a16:creationId xmlns:a16="http://schemas.microsoft.com/office/drawing/2014/main" id="{4D458441-6EAC-47EC-AD56-CCE73FDA11D2}"/>
                </a:ext>
              </a:extLst>
            </p:cNvPr>
            <p:cNvSpPr>
              <a:spLocks noChangeAspect="1"/>
            </p:cNvSpPr>
            <p:nvPr/>
          </p:nvSpPr>
          <p:spPr bwMode="auto">
            <a:xfrm>
              <a:off x="1027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Frame 5">
              <a:extLst>
                <a:ext uri="{FF2B5EF4-FFF2-40B4-BE49-F238E27FC236}">
                  <a16:creationId xmlns:a16="http://schemas.microsoft.com/office/drawing/2014/main" id="{955D953F-2C45-474F-8759-6D725ABC64FE}"/>
                </a:ext>
              </a:extLst>
            </p:cNvPr>
            <p:cNvSpPr>
              <a:spLocks noChangeAspect="1"/>
            </p:cNvSpPr>
            <p:nvPr/>
          </p:nvSpPr>
          <p:spPr bwMode="auto">
            <a:xfrm>
              <a:off x="11798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Frame 5">
              <a:extLst>
                <a:ext uri="{FF2B5EF4-FFF2-40B4-BE49-F238E27FC236}">
                  <a16:creationId xmlns:a16="http://schemas.microsoft.com/office/drawing/2014/main" id="{C6D68C34-3C97-4516-861B-DB4344BA220C}"/>
                </a:ext>
              </a:extLst>
            </p:cNvPr>
            <p:cNvSpPr>
              <a:spLocks noChangeAspect="1"/>
            </p:cNvSpPr>
            <p:nvPr/>
          </p:nvSpPr>
          <p:spPr bwMode="auto">
            <a:xfrm>
              <a:off x="13322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9" name="Frame 5">
              <a:extLst>
                <a:ext uri="{FF2B5EF4-FFF2-40B4-BE49-F238E27FC236}">
                  <a16:creationId xmlns:a16="http://schemas.microsoft.com/office/drawing/2014/main" id="{A2CBC0F6-4BC4-4C7B-B217-A104F0E9A2D0}"/>
                </a:ext>
              </a:extLst>
            </p:cNvPr>
            <p:cNvSpPr>
              <a:spLocks noChangeAspect="1"/>
            </p:cNvSpPr>
            <p:nvPr/>
          </p:nvSpPr>
          <p:spPr bwMode="auto">
            <a:xfrm>
              <a:off x="14846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Frame 5">
              <a:extLst>
                <a:ext uri="{FF2B5EF4-FFF2-40B4-BE49-F238E27FC236}">
                  <a16:creationId xmlns:a16="http://schemas.microsoft.com/office/drawing/2014/main" id="{F2EABB8A-3C23-450C-9BF7-91DDF79FC4CC}"/>
                </a:ext>
              </a:extLst>
            </p:cNvPr>
            <p:cNvSpPr>
              <a:spLocks noChangeAspect="1"/>
            </p:cNvSpPr>
            <p:nvPr/>
          </p:nvSpPr>
          <p:spPr bwMode="auto">
            <a:xfrm>
              <a:off x="16370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3" name="Frame 5">
              <a:extLst>
                <a:ext uri="{FF2B5EF4-FFF2-40B4-BE49-F238E27FC236}">
                  <a16:creationId xmlns:a16="http://schemas.microsoft.com/office/drawing/2014/main" id="{E2F64DE5-087B-46A0-9914-6CD973F310EE}"/>
                </a:ext>
              </a:extLst>
            </p:cNvPr>
            <p:cNvSpPr>
              <a:spLocks noChangeAspect="1"/>
            </p:cNvSpPr>
            <p:nvPr/>
          </p:nvSpPr>
          <p:spPr bwMode="auto">
            <a:xfrm>
              <a:off x="1789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Frame 5">
              <a:extLst>
                <a:ext uri="{FF2B5EF4-FFF2-40B4-BE49-F238E27FC236}">
                  <a16:creationId xmlns:a16="http://schemas.microsoft.com/office/drawing/2014/main" id="{F4E7823A-B703-40B9-86CA-A9B2181E7FCB}"/>
                </a:ext>
              </a:extLst>
            </p:cNvPr>
            <p:cNvSpPr>
              <a:spLocks noChangeAspect="1"/>
            </p:cNvSpPr>
            <p:nvPr/>
          </p:nvSpPr>
          <p:spPr bwMode="auto">
            <a:xfrm>
              <a:off x="19418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2" name="Frame 5">
              <a:extLst>
                <a:ext uri="{FF2B5EF4-FFF2-40B4-BE49-F238E27FC236}">
                  <a16:creationId xmlns:a16="http://schemas.microsoft.com/office/drawing/2014/main" id="{2E57E8B2-E3AF-4563-9737-FD35A225460B}"/>
                </a:ext>
              </a:extLst>
            </p:cNvPr>
            <p:cNvSpPr>
              <a:spLocks noChangeAspect="1"/>
            </p:cNvSpPr>
            <p:nvPr/>
          </p:nvSpPr>
          <p:spPr bwMode="auto">
            <a:xfrm>
              <a:off x="20942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Frame 5">
              <a:extLst>
                <a:ext uri="{FF2B5EF4-FFF2-40B4-BE49-F238E27FC236}">
                  <a16:creationId xmlns:a16="http://schemas.microsoft.com/office/drawing/2014/main" id="{FFACC293-4719-4DFD-874C-D80DA45297BD}"/>
                </a:ext>
              </a:extLst>
            </p:cNvPr>
            <p:cNvSpPr>
              <a:spLocks noChangeAspect="1"/>
            </p:cNvSpPr>
            <p:nvPr/>
          </p:nvSpPr>
          <p:spPr bwMode="auto">
            <a:xfrm>
              <a:off x="22466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Frame 5">
              <a:extLst>
                <a:ext uri="{FF2B5EF4-FFF2-40B4-BE49-F238E27FC236}">
                  <a16:creationId xmlns:a16="http://schemas.microsoft.com/office/drawing/2014/main" id="{D725DB21-A051-4EFE-AFF7-07D9E2322838}"/>
                </a:ext>
              </a:extLst>
            </p:cNvPr>
            <p:cNvSpPr>
              <a:spLocks noChangeAspect="1"/>
            </p:cNvSpPr>
            <p:nvPr/>
          </p:nvSpPr>
          <p:spPr bwMode="auto">
            <a:xfrm>
              <a:off x="23990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Frame 5">
              <a:extLst>
                <a:ext uri="{FF2B5EF4-FFF2-40B4-BE49-F238E27FC236}">
                  <a16:creationId xmlns:a16="http://schemas.microsoft.com/office/drawing/2014/main" id="{44A0E126-BC75-420B-8281-951C954B4818}"/>
                </a:ext>
              </a:extLst>
            </p:cNvPr>
            <p:cNvSpPr>
              <a:spLocks noChangeAspect="1"/>
            </p:cNvSpPr>
            <p:nvPr/>
          </p:nvSpPr>
          <p:spPr bwMode="auto">
            <a:xfrm>
              <a:off x="2551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6" name="Frame 5">
              <a:extLst>
                <a:ext uri="{FF2B5EF4-FFF2-40B4-BE49-F238E27FC236}">
                  <a16:creationId xmlns:a16="http://schemas.microsoft.com/office/drawing/2014/main" id="{FBB9ECBC-B81B-49E0-BAAC-37F6CF59A194}"/>
                </a:ext>
              </a:extLst>
            </p:cNvPr>
            <p:cNvSpPr>
              <a:spLocks noChangeAspect="1"/>
            </p:cNvSpPr>
            <p:nvPr/>
          </p:nvSpPr>
          <p:spPr bwMode="auto">
            <a:xfrm>
              <a:off x="871619"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95" name="Eye" title="Icon of an eye">
            <a:extLst>
              <a:ext uri="{FF2B5EF4-FFF2-40B4-BE49-F238E27FC236}">
                <a16:creationId xmlns:a16="http://schemas.microsoft.com/office/drawing/2014/main" id="{891E13C9-CCF5-4676-9CCA-5CD2AABAE646}"/>
              </a:ext>
            </a:extLst>
          </p:cNvPr>
          <p:cNvSpPr>
            <a:spLocks noChangeAspect="1" noEditPoints="1"/>
          </p:cNvSpPr>
          <p:nvPr/>
        </p:nvSpPr>
        <p:spPr bwMode="auto">
          <a:xfrm>
            <a:off x="1030159" y="4428645"/>
            <a:ext cx="231380" cy="127748"/>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Microsoft_E720" title="Icon of a microphone">
            <a:extLst>
              <a:ext uri="{FF2B5EF4-FFF2-40B4-BE49-F238E27FC236}">
                <a16:creationId xmlns:a16="http://schemas.microsoft.com/office/drawing/2014/main" id="{568AC55E-7D8E-43E4-9401-27E8AEC74497}"/>
              </a:ext>
            </a:extLst>
          </p:cNvPr>
          <p:cNvSpPr>
            <a:spLocks noChangeAspect="1" noEditPoints="1"/>
          </p:cNvSpPr>
          <p:nvPr/>
        </p:nvSpPr>
        <p:spPr bwMode="auto">
          <a:xfrm>
            <a:off x="1675241" y="4408659"/>
            <a:ext cx="112129" cy="168275"/>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7" name="Dictionary_E82D" title="Icon of a book">
            <a:extLst>
              <a:ext uri="{FF2B5EF4-FFF2-40B4-BE49-F238E27FC236}">
                <a16:creationId xmlns:a16="http://schemas.microsoft.com/office/drawing/2014/main" id="{43F651EB-A8CC-499E-801F-E99A20973A97}"/>
              </a:ext>
            </a:extLst>
          </p:cNvPr>
          <p:cNvSpPr>
            <a:spLocks noChangeAspect="1" noEditPoints="1"/>
          </p:cNvSpPr>
          <p:nvPr/>
        </p:nvSpPr>
        <p:spPr bwMode="auto">
          <a:xfrm>
            <a:off x="1396497" y="4408659"/>
            <a:ext cx="134621" cy="168275"/>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8" name="magnify" title="Icon of a magnifying glass">
            <a:extLst>
              <a:ext uri="{FF2B5EF4-FFF2-40B4-BE49-F238E27FC236}">
                <a16:creationId xmlns:a16="http://schemas.microsoft.com/office/drawing/2014/main" id="{C35C4505-14D1-4D64-92C9-2DB77D9559A5}"/>
              </a:ext>
            </a:extLst>
          </p:cNvPr>
          <p:cNvSpPr>
            <a:spLocks noChangeAspect="1" noEditPoints="1"/>
          </p:cNvSpPr>
          <p:nvPr/>
        </p:nvSpPr>
        <p:spPr bwMode="auto">
          <a:xfrm flipH="1">
            <a:off x="2213933" y="4408659"/>
            <a:ext cx="171554" cy="168275"/>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9" name="Characters_E8C1" title="Icon of the letter A and a letter in another language">
            <a:extLst>
              <a:ext uri="{FF2B5EF4-FFF2-40B4-BE49-F238E27FC236}">
                <a16:creationId xmlns:a16="http://schemas.microsoft.com/office/drawing/2014/main" id="{1289AD19-A49F-421C-9662-BE6F1E1B2130}"/>
              </a:ext>
            </a:extLst>
          </p:cNvPr>
          <p:cNvSpPr>
            <a:spLocks noChangeAspect="1" noEditPoints="1"/>
          </p:cNvSpPr>
          <p:nvPr/>
        </p:nvSpPr>
        <p:spPr bwMode="auto">
          <a:xfrm>
            <a:off x="2522384" y="4408659"/>
            <a:ext cx="163134" cy="168275"/>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0" name="Beaker_F196" title="Icon of a scientific flask with liquid in it">
            <a:extLst>
              <a:ext uri="{FF2B5EF4-FFF2-40B4-BE49-F238E27FC236}">
                <a16:creationId xmlns:a16="http://schemas.microsoft.com/office/drawing/2014/main" id="{7598CFB8-116C-4791-9C1C-2BD161AFAE66}"/>
              </a:ext>
            </a:extLst>
          </p:cNvPr>
          <p:cNvSpPr>
            <a:spLocks noChangeAspect="1" noEditPoints="1"/>
          </p:cNvSpPr>
          <p:nvPr/>
        </p:nvSpPr>
        <p:spPr bwMode="auto">
          <a:xfrm>
            <a:off x="1930217" y="4408659"/>
            <a:ext cx="145637" cy="168275"/>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cxnSp>
        <p:nvCxnSpPr>
          <p:cNvPr id="178" name="2 Arrow">
            <a:extLst>
              <a:ext uri="{FF2B5EF4-FFF2-40B4-BE49-F238E27FC236}">
                <a16:creationId xmlns:a16="http://schemas.microsoft.com/office/drawing/2014/main" id="{1467568E-E4FD-4A9A-8FEA-8A8BE84920BD}"/>
              </a:ext>
            </a:extLst>
          </p:cNvPr>
          <p:cNvCxnSpPr>
            <a:cxnSpLocks/>
            <a:stCxn id="124" idx="0"/>
            <a:endCxn id="123" idx="2"/>
          </p:cNvCxnSpPr>
          <p:nvPr/>
        </p:nvCxnSpPr>
        <p:spPr>
          <a:xfrm flipV="1">
            <a:off x="1852875" y="2972956"/>
            <a:ext cx="5996" cy="280207"/>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3FA4D944-BC9F-4965-A686-1620FB306821}"/>
              </a:ext>
            </a:extLst>
          </p:cNvPr>
          <p:cNvGrpSpPr/>
          <p:nvPr/>
        </p:nvGrpSpPr>
        <p:grpSpPr>
          <a:xfrm>
            <a:off x="974603" y="5065534"/>
            <a:ext cx="1764159" cy="114747"/>
            <a:chOff x="871619" y="1823040"/>
            <a:chExt cx="1796202" cy="116335"/>
          </a:xfrm>
        </p:grpSpPr>
        <p:sp>
          <p:nvSpPr>
            <p:cNvPr id="181" name="Frame 5">
              <a:extLst>
                <a:ext uri="{FF2B5EF4-FFF2-40B4-BE49-F238E27FC236}">
                  <a16:creationId xmlns:a16="http://schemas.microsoft.com/office/drawing/2014/main" id="{07D024B7-E255-4D4B-BB9E-161546F236BB}"/>
                </a:ext>
              </a:extLst>
            </p:cNvPr>
            <p:cNvSpPr>
              <a:spLocks noChangeAspect="1"/>
            </p:cNvSpPr>
            <p:nvPr/>
          </p:nvSpPr>
          <p:spPr bwMode="auto">
            <a:xfrm>
              <a:off x="1027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5" name="Frame 5">
              <a:extLst>
                <a:ext uri="{FF2B5EF4-FFF2-40B4-BE49-F238E27FC236}">
                  <a16:creationId xmlns:a16="http://schemas.microsoft.com/office/drawing/2014/main" id="{62C3B660-5845-4A59-BCE3-CBC6120CEBC6}"/>
                </a:ext>
              </a:extLst>
            </p:cNvPr>
            <p:cNvSpPr>
              <a:spLocks noChangeAspect="1"/>
            </p:cNvSpPr>
            <p:nvPr/>
          </p:nvSpPr>
          <p:spPr bwMode="auto">
            <a:xfrm>
              <a:off x="11798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Frame 5">
              <a:extLst>
                <a:ext uri="{FF2B5EF4-FFF2-40B4-BE49-F238E27FC236}">
                  <a16:creationId xmlns:a16="http://schemas.microsoft.com/office/drawing/2014/main" id="{FEE426A0-5C97-4458-8AAE-B26D19672D46}"/>
                </a:ext>
              </a:extLst>
            </p:cNvPr>
            <p:cNvSpPr>
              <a:spLocks noChangeAspect="1"/>
            </p:cNvSpPr>
            <p:nvPr/>
          </p:nvSpPr>
          <p:spPr bwMode="auto">
            <a:xfrm>
              <a:off x="13322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Frame 5">
              <a:extLst>
                <a:ext uri="{FF2B5EF4-FFF2-40B4-BE49-F238E27FC236}">
                  <a16:creationId xmlns:a16="http://schemas.microsoft.com/office/drawing/2014/main" id="{4CA768D7-95A9-49EC-BA39-ACE759ED53FC}"/>
                </a:ext>
              </a:extLst>
            </p:cNvPr>
            <p:cNvSpPr>
              <a:spLocks noChangeAspect="1"/>
            </p:cNvSpPr>
            <p:nvPr/>
          </p:nvSpPr>
          <p:spPr bwMode="auto">
            <a:xfrm>
              <a:off x="14846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Frame 5">
              <a:extLst>
                <a:ext uri="{FF2B5EF4-FFF2-40B4-BE49-F238E27FC236}">
                  <a16:creationId xmlns:a16="http://schemas.microsoft.com/office/drawing/2014/main" id="{5C11AFFF-B5B6-497E-BF07-FF97A857B97C}"/>
                </a:ext>
              </a:extLst>
            </p:cNvPr>
            <p:cNvSpPr>
              <a:spLocks noChangeAspect="1"/>
            </p:cNvSpPr>
            <p:nvPr/>
          </p:nvSpPr>
          <p:spPr bwMode="auto">
            <a:xfrm>
              <a:off x="16370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Frame 5">
              <a:extLst>
                <a:ext uri="{FF2B5EF4-FFF2-40B4-BE49-F238E27FC236}">
                  <a16:creationId xmlns:a16="http://schemas.microsoft.com/office/drawing/2014/main" id="{7EED7A35-C332-4874-AF6A-1C2FEFD8F272}"/>
                </a:ext>
              </a:extLst>
            </p:cNvPr>
            <p:cNvSpPr>
              <a:spLocks noChangeAspect="1"/>
            </p:cNvSpPr>
            <p:nvPr/>
          </p:nvSpPr>
          <p:spPr bwMode="auto">
            <a:xfrm>
              <a:off x="1789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Frame 5">
              <a:extLst>
                <a:ext uri="{FF2B5EF4-FFF2-40B4-BE49-F238E27FC236}">
                  <a16:creationId xmlns:a16="http://schemas.microsoft.com/office/drawing/2014/main" id="{DCF59D93-9E1D-44AA-A8EE-E71849D2CFE2}"/>
                </a:ext>
              </a:extLst>
            </p:cNvPr>
            <p:cNvSpPr>
              <a:spLocks noChangeAspect="1"/>
            </p:cNvSpPr>
            <p:nvPr/>
          </p:nvSpPr>
          <p:spPr bwMode="auto">
            <a:xfrm>
              <a:off x="19418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2" name="Frame 5">
              <a:extLst>
                <a:ext uri="{FF2B5EF4-FFF2-40B4-BE49-F238E27FC236}">
                  <a16:creationId xmlns:a16="http://schemas.microsoft.com/office/drawing/2014/main" id="{63B5534B-B050-48A4-A571-6EF35480B5AA}"/>
                </a:ext>
              </a:extLst>
            </p:cNvPr>
            <p:cNvSpPr>
              <a:spLocks noChangeAspect="1"/>
            </p:cNvSpPr>
            <p:nvPr/>
          </p:nvSpPr>
          <p:spPr bwMode="auto">
            <a:xfrm>
              <a:off x="20942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Frame 5">
              <a:extLst>
                <a:ext uri="{FF2B5EF4-FFF2-40B4-BE49-F238E27FC236}">
                  <a16:creationId xmlns:a16="http://schemas.microsoft.com/office/drawing/2014/main" id="{A9F9FDA5-A496-41FB-9CB7-B80C2474D20C}"/>
                </a:ext>
              </a:extLst>
            </p:cNvPr>
            <p:cNvSpPr>
              <a:spLocks noChangeAspect="1"/>
            </p:cNvSpPr>
            <p:nvPr/>
          </p:nvSpPr>
          <p:spPr bwMode="auto">
            <a:xfrm>
              <a:off x="22466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Frame 5">
              <a:extLst>
                <a:ext uri="{FF2B5EF4-FFF2-40B4-BE49-F238E27FC236}">
                  <a16:creationId xmlns:a16="http://schemas.microsoft.com/office/drawing/2014/main" id="{7A59550C-D801-4123-A032-080AE3E93226}"/>
                </a:ext>
              </a:extLst>
            </p:cNvPr>
            <p:cNvSpPr>
              <a:spLocks noChangeAspect="1"/>
            </p:cNvSpPr>
            <p:nvPr/>
          </p:nvSpPr>
          <p:spPr bwMode="auto">
            <a:xfrm>
              <a:off x="23990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3" name="Frame 5">
              <a:extLst>
                <a:ext uri="{FF2B5EF4-FFF2-40B4-BE49-F238E27FC236}">
                  <a16:creationId xmlns:a16="http://schemas.microsoft.com/office/drawing/2014/main" id="{BE731515-4283-4495-BCA1-824B9AD03D7C}"/>
                </a:ext>
              </a:extLst>
            </p:cNvPr>
            <p:cNvSpPr>
              <a:spLocks noChangeAspect="1"/>
            </p:cNvSpPr>
            <p:nvPr/>
          </p:nvSpPr>
          <p:spPr bwMode="auto">
            <a:xfrm>
              <a:off x="2551457"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4" name="Frame 5">
              <a:extLst>
                <a:ext uri="{FF2B5EF4-FFF2-40B4-BE49-F238E27FC236}">
                  <a16:creationId xmlns:a16="http://schemas.microsoft.com/office/drawing/2014/main" id="{07301A5D-7611-4D59-A03A-A678E265FD68}"/>
                </a:ext>
              </a:extLst>
            </p:cNvPr>
            <p:cNvSpPr>
              <a:spLocks noChangeAspect="1"/>
            </p:cNvSpPr>
            <p:nvPr/>
          </p:nvSpPr>
          <p:spPr bwMode="auto">
            <a:xfrm>
              <a:off x="871619" y="1823040"/>
              <a:ext cx="116364" cy="11633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07495" tIns="53747" rIns="53747" bIns="107495" numCol="1" spcCol="0" rtlCol="0" fromWordArt="0" anchor="b" anchorCtr="0" forceAA="0" compatLnSpc="1">
              <a:prstTxWarp prst="textNoShape">
                <a:avLst/>
              </a:prstTxWarp>
              <a:noAutofit/>
            </a:bodyPr>
            <a:lstStyle/>
            <a:p>
              <a:pPr marL="0" marR="0" lvl="0" indent="0" algn="ctr" defTabSz="107427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 name="Rectangle 3">
            <a:extLst>
              <a:ext uri="{FF2B5EF4-FFF2-40B4-BE49-F238E27FC236}">
                <a16:creationId xmlns:a16="http://schemas.microsoft.com/office/drawing/2014/main" id="{CA20291D-3AAD-4C9A-BAA8-84C16329B711}"/>
              </a:ext>
            </a:extLst>
          </p:cNvPr>
          <p:cNvSpPr/>
          <p:nvPr/>
        </p:nvSpPr>
        <p:spPr>
          <a:xfrm>
            <a:off x="706763" y="2156158"/>
            <a:ext cx="2322095" cy="688227"/>
          </a:xfrm>
          <a:prstGeom prst="rect">
            <a:avLst/>
          </a:prstGeom>
        </p:spPr>
        <p:txBody>
          <a:bodyPr wrap="square" lIns="0" rIns="0">
            <a:spAutoFit/>
          </a:bodyPr>
          <a:lstStyle/>
          <a:p>
            <a:pPr marL="0" marR="0" lvl="0" indent="0" algn="ctr" defTabSz="914192" rtl="0" eaLnBrk="1" fontAlgn="auto" latinLnBrk="0" hangingPunct="1">
              <a:lnSpc>
                <a:spcPct val="100000"/>
              </a:lnSpc>
              <a:spcBef>
                <a:spcPts val="0"/>
              </a:spcBef>
              <a:spcAft>
                <a:spcPts val="0"/>
              </a:spcAft>
              <a:buClrTx/>
              <a:buSzPct val="90000"/>
              <a:buFontTx/>
              <a:buNone/>
              <a:tabLst/>
              <a:defRPr/>
            </a:pPr>
            <a:r>
              <a:rPr kumimoji="0" lang="en-US" sz="1100" b="1"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Azure IoT Device SDK</a:t>
            </a:r>
          </a:p>
          <a:p>
            <a:pPr marL="0" marR="0" lvl="1" indent="0" algn="ctr" defTabSz="914192" rtl="0" eaLnBrk="1" fontAlgn="auto" latinLnBrk="0" hangingPunct="1">
              <a:lnSpc>
                <a:spcPct val="90000"/>
              </a:lnSpc>
              <a:spcBef>
                <a:spcPts val="200"/>
              </a:spcBef>
              <a:spcAft>
                <a:spcPts val="0"/>
              </a:spcAft>
              <a:buClr>
                <a:srgbClr val="FFFFFF">
                  <a:lumMod val="75000"/>
                </a:srgbClr>
              </a:buClr>
              <a:buSzPct val="100000"/>
              <a:buFontTx/>
              <a:buNone/>
              <a:tabLst/>
              <a:defRPr/>
            </a:pPr>
            <a:r>
              <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rPr>
              <a:t>3</a:t>
            </a:r>
            <a:r>
              <a:rPr kumimoji="0" lang="en-US" sz="900" b="0" i="0" u="none" strike="noStrike" kern="1200" cap="none" spc="0" normalizeH="0" baseline="30000" noProof="0">
                <a:ln>
                  <a:noFill/>
                </a:ln>
                <a:solidFill>
                  <a:srgbClr val="000000">
                    <a:lumMod val="75000"/>
                    <a:lumOff val="25000"/>
                  </a:srgbClr>
                </a:solidFill>
                <a:effectLst/>
                <a:uLnTx/>
                <a:uFillTx/>
                <a:latin typeface="Segoe UI"/>
                <a:ea typeface="+mn-ea"/>
                <a:cs typeface="+mn-cs"/>
              </a:rPr>
              <a:t>rd</a:t>
            </a:r>
            <a:r>
              <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rPr>
              <a:t> Party Industry specific sensors &amp; devices</a:t>
            </a:r>
            <a:endParaRPr kumimoji="0" lang="en-US" sz="900" b="0" i="0" u="none" strike="noStrike" kern="0" cap="none" spc="0" normalizeH="0" baseline="0" noProof="0">
              <a:ln>
                <a:noFill/>
              </a:ln>
              <a:solidFill>
                <a:srgbClr val="000000">
                  <a:lumMod val="75000"/>
                  <a:lumOff val="25000"/>
                </a:srgbClr>
              </a:solidFill>
              <a:effectLst/>
              <a:uLnTx/>
              <a:uFillTx/>
              <a:latin typeface="Segoe UI"/>
              <a:ea typeface="Segoe UI" panose="020B0502040204020203" pitchFamily="34" charset="0"/>
              <a:cs typeface="Segoe UI" panose="020B0502040204020203" pitchFamily="34" charset="0"/>
            </a:endParaRPr>
          </a:p>
          <a:p>
            <a:pPr marL="0" marR="0" lvl="1" indent="0" algn="ctr" defTabSz="914192" rtl="0" eaLnBrk="1" fontAlgn="auto" latinLnBrk="0" hangingPunct="1">
              <a:lnSpc>
                <a:spcPct val="90000"/>
              </a:lnSpc>
              <a:spcBef>
                <a:spcPts val="200"/>
              </a:spcBef>
              <a:spcAft>
                <a:spcPts val="0"/>
              </a:spcAft>
              <a:buClr>
                <a:srgbClr val="FFFFFF">
                  <a:lumMod val="75000"/>
                </a:srgbClr>
              </a:buClr>
              <a:buSzPct val="100000"/>
              <a:buFontTx/>
              <a:buNone/>
              <a:tabLst/>
              <a:defRPr/>
            </a:pPr>
            <a:r>
              <a:rPr kumimoji="0" lang="en-US" sz="900" b="0" i="0" u="none" strike="noStrike" kern="0" cap="none" spc="0" normalizeH="0" baseline="0" noProof="0">
                <a:ln>
                  <a:noFill/>
                </a:ln>
                <a:solidFill>
                  <a:srgbClr val="000000">
                    <a:lumMod val="75000"/>
                    <a:lumOff val="25000"/>
                  </a:srgbClr>
                </a:solidFill>
                <a:effectLst/>
                <a:uLnTx/>
                <a:uFillTx/>
                <a:latin typeface="Segoe UI"/>
                <a:ea typeface="Segoe UI" panose="020B0502040204020203" pitchFamily="34" charset="0"/>
                <a:cs typeface="Segoe UI" panose="020B0502040204020203" pitchFamily="34" charset="0"/>
              </a:rPr>
              <a:t>(RTOS, Linux, Windows, Android, iOS) </a:t>
            </a:r>
          </a:p>
          <a:p>
            <a:pPr marL="0" marR="0" lvl="1" indent="0" algn="ctr" defTabSz="914192" rtl="0" eaLnBrk="1" fontAlgn="auto" latinLnBrk="0" hangingPunct="1">
              <a:lnSpc>
                <a:spcPct val="90000"/>
              </a:lnSpc>
              <a:spcBef>
                <a:spcPts val="0"/>
              </a:spcBef>
              <a:spcAft>
                <a:spcPts val="0"/>
              </a:spcAft>
              <a:buClr>
                <a:srgbClr val="FFFFFF">
                  <a:lumMod val="75000"/>
                </a:srgbClr>
              </a:buClr>
              <a:buSzPct val="100000"/>
              <a:buFontTx/>
              <a:buNone/>
              <a:tabLst/>
              <a:defRPr/>
            </a:pPr>
            <a:endParaRPr kumimoji="0" lang="en-US" sz="900" b="0" i="0" u="none" strike="noStrike" kern="1200" cap="none" spc="0" normalizeH="0" baseline="0" noProof="0">
              <a:ln>
                <a:noFill/>
              </a:ln>
              <a:solidFill>
                <a:srgbClr val="000000">
                  <a:lumMod val="75000"/>
                  <a:lumOff val="25000"/>
                </a:srgbClr>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49033C2A-0BF2-40F5-9F47-E32B316E758B}"/>
              </a:ext>
            </a:extLst>
          </p:cNvPr>
          <p:cNvGrpSpPr/>
          <p:nvPr/>
        </p:nvGrpSpPr>
        <p:grpSpPr>
          <a:xfrm>
            <a:off x="6380636" y="2885271"/>
            <a:ext cx="652761" cy="827569"/>
            <a:chOff x="6663694" y="2228737"/>
            <a:chExt cx="744372" cy="939715"/>
          </a:xfrm>
        </p:grpSpPr>
        <p:pic>
          <p:nvPicPr>
            <p:cNvPr id="7" name="Picture 6">
              <a:extLst>
                <a:ext uri="{FF2B5EF4-FFF2-40B4-BE49-F238E27FC236}">
                  <a16:creationId xmlns:a16="http://schemas.microsoft.com/office/drawing/2014/main" id="{B236328B-9750-48CA-9DB7-B9718D44E8D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90229" y="2228737"/>
              <a:ext cx="717837" cy="724273"/>
            </a:xfrm>
            <a:prstGeom prst="rect">
              <a:avLst/>
            </a:prstGeom>
          </p:spPr>
        </p:pic>
        <p:sp>
          <p:nvSpPr>
            <p:cNvPr id="109" name="Rectangle 108">
              <a:extLst>
                <a:ext uri="{FF2B5EF4-FFF2-40B4-BE49-F238E27FC236}">
                  <a16:creationId xmlns:a16="http://schemas.microsoft.com/office/drawing/2014/main" id="{D4F9BA13-E5F6-4D19-9A58-24CF8F175DEE}"/>
                </a:ext>
              </a:extLst>
            </p:cNvPr>
            <p:cNvSpPr/>
            <p:nvPr/>
          </p:nvSpPr>
          <p:spPr>
            <a:xfrm>
              <a:off x="6663694" y="2920226"/>
              <a:ext cx="736564" cy="248226"/>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IoT Hub</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33" name="Group 232">
            <a:extLst>
              <a:ext uri="{FF2B5EF4-FFF2-40B4-BE49-F238E27FC236}">
                <a16:creationId xmlns:a16="http://schemas.microsoft.com/office/drawing/2014/main" id="{BD0BC07E-4AF7-47CA-9467-94FAE72D4BCE}"/>
              </a:ext>
            </a:extLst>
          </p:cNvPr>
          <p:cNvGrpSpPr/>
          <p:nvPr/>
        </p:nvGrpSpPr>
        <p:grpSpPr>
          <a:xfrm>
            <a:off x="3949201" y="4152683"/>
            <a:ext cx="786055" cy="680881"/>
            <a:chOff x="2838579" y="4660806"/>
            <a:chExt cx="800219" cy="690210"/>
          </a:xfrm>
        </p:grpSpPr>
        <p:pic>
          <p:nvPicPr>
            <p:cNvPr id="2052" name="Picture 4" descr="Image result for Azure Container Registry icon">
              <a:extLst>
                <a:ext uri="{FF2B5EF4-FFF2-40B4-BE49-F238E27FC236}">
                  <a16:creationId xmlns:a16="http://schemas.microsoft.com/office/drawing/2014/main" id="{2BABF26C-FEA0-4D7E-BEEE-7A8C8686E195}"/>
                </a:ext>
              </a:extLst>
            </p:cNvPr>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57449" y="4660806"/>
              <a:ext cx="357211" cy="357211"/>
            </a:xfrm>
            <a:prstGeom prst="ellipse">
              <a:avLst/>
            </a:prstGeom>
            <a:noFill/>
            <a:extLst>
              <a:ext uri="{909E8E84-426E-40DD-AFC4-6F175D3DCCD1}">
                <a14:hiddenFill xmlns:a14="http://schemas.microsoft.com/office/drawing/2010/main">
                  <a:solidFill>
                    <a:srgbClr val="FFFFFF"/>
                  </a:solidFill>
                </a14:hiddenFill>
              </a:ext>
            </a:extLst>
          </p:spPr>
        </p:pic>
        <p:sp>
          <p:nvSpPr>
            <p:cNvPr id="121" name="Rectangle 120">
              <a:extLst>
                <a:ext uri="{FF2B5EF4-FFF2-40B4-BE49-F238E27FC236}">
                  <a16:creationId xmlns:a16="http://schemas.microsoft.com/office/drawing/2014/main" id="{3EF067DC-E5FA-4661-A0BE-9AE16F5CE324}"/>
                </a:ext>
              </a:extLst>
            </p:cNvPr>
            <p:cNvSpPr/>
            <p:nvPr/>
          </p:nvSpPr>
          <p:spPr>
            <a:xfrm>
              <a:off x="2838579" y="5000151"/>
              <a:ext cx="800219" cy="350865"/>
            </a:xfrm>
            <a:prstGeom prst="rect">
              <a:avLst/>
            </a:prstGeom>
          </p:spPr>
          <p:txBody>
            <a:bodyPr wrap="non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Container </a:t>
              </a:r>
            </a:p>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Registry</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2" name="Group 21">
            <a:extLst>
              <a:ext uri="{FF2B5EF4-FFF2-40B4-BE49-F238E27FC236}">
                <a16:creationId xmlns:a16="http://schemas.microsoft.com/office/drawing/2014/main" id="{931D7F99-22A3-4C8F-8A63-2A4B3DEEBF38}"/>
              </a:ext>
            </a:extLst>
          </p:cNvPr>
          <p:cNvGrpSpPr/>
          <p:nvPr/>
        </p:nvGrpSpPr>
        <p:grpSpPr>
          <a:xfrm>
            <a:off x="4519767" y="4549552"/>
            <a:ext cx="877383" cy="622954"/>
            <a:chOff x="4624886" y="4156843"/>
            <a:chExt cx="893193" cy="631489"/>
          </a:xfrm>
        </p:grpSpPr>
        <p:pic>
          <p:nvPicPr>
            <p:cNvPr id="2050" name="Picture 2" descr="Image result for Azure Kubernetes icon">
              <a:extLst>
                <a:ext uri="{FF2B5EF4-FFF2-40B4-BE49-F238E27FC236}">
                  <a16:creationId xmlns:a16="http://schemas.microsoft.com/office/drawing/2014/main" id="{BC3D65C2-3CED-4D3A-86E9-2D7977AF8D1E}"/>
                </a:ext>
              </a:extLst>
            </p:cNvPr>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20160" y="4156843"/>
              <a:ext cx="263876" cy="263876"/>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121">
              <a:extLst>
                <a:ext uri="{FF2B5EF4-FFF2-40B4-BE49-F238E27FC236}">
                  <a16:creationId xmlns:a16="http://schemas.microsoft.com/office/drawing/2014/main" id="{DA4B0BD5-F11F-4503-BF88-FBB974672369}"/>
                </a:ext>
              </a:extLst>
            </p:cNvPr>
            <p:cNvSpPr/>
            <p:nvPr/>
          </p:nvSpPr>
          <p:spPr>
            <a:xfrm>
              <a:off x="4624886" y="4437467"/>
              <a:ext cx="893193" cy="350865"/>
            </a:xfrm>
            <a:prstGeom prst="rect">
              <a:avLst/>
            </a:prstGeom>
          </p:spPr>
          <p:txBody>
            <a:bodyPr wrap="non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Kubernetes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Service</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29" name="Group 228">
            <a:extLst>
              <a:ext uri="{FF2B5EF4-FFF2-40B4-BE49-F238E27FC236}">
                <a16:creationId xmlns:a16="http://schemas.microsoft.com/office/drawing/2014/main" id="{76A7F3D8-79D3-4883-B8AC-C4331DD2D9D5}"/>
              </a:ext>
            </a:extLst>
          </p:cNvPr>
          <p:cNvGrpSpPr/>
          <p:nvPr/>
        </p:nvGrpSpPr>
        <p:grpSpPr>
          <a:xfrm>
            <a:off x="7010271" y="4755589"/>
            <a:ext cx="756138" cy="642545"/>
            <a:chOff x="6574257" y="4745712"/>
            <a:chExt cx="769763" cy="651348"/>
          </a:xfrm>
        </p:grpSpPr>
        <p:pic>
          <p:nvPicPr>
            <p:cNvPr id="125" name="Picture 124">
              <a:extLst>
                <a:ext uri="{FF2B5EF4-FFF2-40B4-BE49-F238E27FC236}">
                  <a16:creationId xmlns:a16="http://schemas.microsoft.com/office/drawing/2014/main" id="{8B80BDD0-B7F1-4A25-A270-02DE91CE3729}"/>
                </a:ext>
              </a:extLst>
            </p:cNvPr>
            <p:cNvPicPr>
              <a:picLocks noChangeAspect="1"/>
            </p:cNvPicPr>
            <p:nvPr/>
          </p:nvPicPr>
          <p:blipFill>
            <a:blip r:embed="rId1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811280" y="4745712"/>
              <a:ext cx="281168" cy="281168"/>
            </a:xfrm>
            <a:prstGeom prst="rect">
              <a:avLst/>
            </a:prstGeom>
          </p:spPr>
        </p:pic>
        <p:sp>
          <p:nvSpPr>
            <p:cNvPr id="126" name="Rectangle 125">
              <a:extLst>
                <a:ext uri="{FF2B5EF4-FFF2-40B4-BE49-F238E27FC236}">
                  <a16:creationId xmlns:a16="http://schemas.microsoft.com/office/drawing/2014/main" id="{60489E3D-4EFF-44EA-BD96-FEA815C54086}"/>
                </a:ext>
              </a:extLst>
            </p:cNvPr>
            <p:cNvSpPr/>
            <p:nvPr/>
          </p:nvSpPr>
          <p:spPr>
            <a:xfrm>
              <a:off x="6574257" y="5046195"/>
              <a:ext cx="769763" cy="350865"/>
            </a:xfrm>
            <a:prstGeom prst="rect">
              <a:avLst/>
            </a:prstGeom>
          </p:spPr>
          <p:txBody>
            <a:bodyPr wrap="non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Compute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VMs)</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27" name="Group 226">
            <a:extLst>
              <a:ext uri="{FF2B5EF4-FFF2-40B4-BE49-F238E27FC236}">
                <a16:creationId xmlns:a16="http://schemas.microsoft.com/office/drawing/2014/main" id="{7F0570E2-AC42-4256-BF9E-676891E7A02D}"/>
              </a:ext>
            </a:extLst>
          </p:cNvPr>
          <p:cNvGrpSpPr/>
          <p:nvPr/>
        </p:nvGrpSpPr>
        <p:grpSpPr>
          <a:xfrm>
            <a:off x="5526651" y="5037656"/>
            <a:ext cx="715197" cy="696078"/>
            <a:chOff x="4154467" y="1454211"/>
            <a:chExt cx="728084" cy="705615"/>
          </a:xfrm>
        </p:grpSpPr>
        <p:pic>
          <p:nvPicPr>
            <p:cNvPr id="2054" name="Picture 6" descr="Image result for Azure Content Delivery Network icon">
              <a:extLst>
                <a:ext uri="{FF2B5EF4-FFF2-40B4-BE49-F238E27FC236}">
                  <a16:creationId xmlns:a16="http://schemas.microsoft.com/office/drawing/2014/main" id="{B6DB172B-D7EA-45C3-959F-EFF382CE64FF}"/>
                </a:ext>
              </a:extLst>
            </p:cNvPr>
            <p:cNvPicPr>
              <a:picLocks noChangeAspect="1" noChangeArrowheads="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61010" y="1454211"/>
              <a:ext cx="391617" cy="206252"/>
            </a:xfrm>
            <a:prstGeom prst="rect">
              <a:avLst/>
            </a:prstGeom>
            <a:noFill/>
            <a:extLst>
              <a:ext uri="{909E8E84-426E-40DD-AFC4-6F175D3DCCD1}">
                <a14:hiddenFill xmlns:a14="http://schemas.microsoft.com/office/drawing/2010/main">
                  <a:solidFill>
                    <a:srgbClr val="FFFFFF"/>
                  </a:solidFill>
                </a14:hiddenFill>
              </a:ext>
            </a:extLst>
          </p:spPr>
        </p:pic>
        <p:sp>
          <p:nvSpPr>
            <p:cNvPr id="130" name="Rectangle 129">
              <a:extLst>
                <a:ext uri="{FF2B5EF4-FFF2-40B4-BE49-F238E27FC236}">
                  <a16:creationId xmlns:a16="http://schemas.microsoft.com/office/drawing/2014/main" id="{7BA62860-CF22-43D5-A13B-CB62B18D3E79}"/>
                </a:ext>
              </a:extLst>
            </p:cNvPr>
            <p:cNvSpPr/>
            <p:nvPr/>
          </p:nvSpPr>
          <p:spPr>
            <a:xfrm>
              <a:off x="4154467" y="1679695"/>
              <a:ext cx="728084" cy="480131"/>
            </a:xfrm>
            <a:prstGeom prst="rect">
              <a:avLst/>
            </a:prstGeom>
            <a:solidFill>
              <a:srgbClr val="FFFFFF"/>
            </a:solidFill>
          </p:spPr>
          <p:txBody>
            <a:bodyPr wrap="non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Content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Delivery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Network </a:t>
              </a:r>
            </a:p>
          </p:txBody>
        </p:sp>
      </p:grpSp>
      <p:grpSp>
        <p:nvGrpSpPr>
          <p:cNvPr id="30" name="Group 29">
            <a:extLst>
              <a:ext uri="{FF2B5EF4-FFF2-40B4-BE49-F238E27FC236}">
                <a16:creationId xmlns:a16="http://schemas.microsoft.com/office/drawing/2014/main" id="{024537A9-CE73-402D-8C63-37CB1E429193}"/>
              </a:ext>
            </a:extLst>
          </p:cNvPr>
          <p:cNvGrpSpPr/>
          <p:nvPr/>
        </p:nvGrpSpPr>
        <p:grpSpPr>
          <a:xfrm>
            <a:off x="5227590" y="4276547"/>
            <a:ext cx="691577" cy="618970"/>
            <a:chOff x="4072737" y="3746830"/>
            <a:chExt cx="704039" cy="627450"/>
          </a:xfrm>
        </p:grpSpPr>
        <p:pic>
          <p:nvPicPr>
            <p:cNvPr id="2056" name="Picture 8" descr="Related image">
              <a:extLst>
                <a:ext uri="{FF2B5EF4-FFF2-40B4-BE49-F238E27FC236}">
                  <a16:creationId xmlns:a16="http://schemas.microsoft.com/office/drawing/2014/main" id="{36765CA9-28C4-4386-A1E9-C5E05318BC49}"/>
                </a:ext>
              </a:extLst>
            </p:cNvPr>
            <p:cNvPicPr>
              <a:picLocks noChangeAspect="1" noChangeArrowheads="1"/>
            </p:cNvPicPr>
            <p:nvPr/>
          </p:nvPicPr>
          <p:blipFill>
            <a:blip r:embed="rId1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05091" y="3746830"/>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le 133">
              <a:extLst>
                <a:ext uri="{FF2B5EF4-FFF2-40B4-BE49-F238E27FC236}">
                  <a16:creationId xmlns:a16="http://schemas.microsoft.com/office/drawing/2014/main" id="{451FAC6B-C239-4409-8149-36A43AA8EC2C}"/>
                </a:ext>
              </a:extLst>
            </p:cNvPr>
            <p:cNvSpPr/>
            <p:nvPr/>
          </p:nvSpPr>
          <p:spPr>
            <a:xfrm>
              <a:off x="4072737" y="4023415"/>
              <a:ext cx="704039" cy="350865"/>
            </a:xfrm>
            <a:prstGeom prst="rect">
              <a:avLst/>
            </a:prstGeom>
          </p:spPr>
          <p:txBody>
            <a:bodyPr wrap="non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Data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Explorer </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30" name="Group 229">
            <a:extLst>
              <a:ext uri="{FF2B5EF4-FFF2-40B4-BE49-F238E27FC236}">
                <a16:creationId xmlns:a16="http://schemas.microsoft.com/office/drawing/2014/main" id="{AFCC1583-C364-4319-8F15-1CD170D16743}"/>
              </a:ext>
            </a:extLst>
          </p:cNvPr>
          <p:cNvGrpSpPr/>
          <p:nvPr/>
        </p:nvGrpSpPr>
        <p:grpSpPr>
          <a:xfrm>
            <a:off x="6542274" y="5302330"/>
            <a:ext cx="817548" cy="526158"/>
            <a:chOff x="5653891" y="4736093"/>
            <a:chExt cx="832279" cy="533367"/>
          </a:xfrm>
        </p:grpSpPr>
        <p:pic>
          <p:nvPicPr>
            <p:cNvPr id="2060" name="Picture 12" descr="Related image">
              <a:extLst>
                <a:ext uri="{FF2B5EF4-FFF2-40B4-BE49-F238E27FC236}">
                  <a16:creationId xmlns:a16="http://schemas.microsoft.com/office/drawing/2014/main" id="{3A1E8A2A-B033-4BDA-AC71-F81DF165ADBC}"/>
                </a:ext>
              </a:extLst>
            </p:cNvPr>
            <p:cNvPicPr>
              <a:picLocks noChangeAspect="1" noChangeArrowheads="1"/>
            </p:cNvPicPr>
            <p:nvPr/>
          </p:nvPicPr>
          <p:blipFill>
            <a:blip r:embed="rId1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3132" y="4736093"/>
              <a:ext cx="370462" cy="304699"/>
            </a:xfrm>
            <a:prstGeom prst="rect">
              <a:avLst/>
            </a:prstGeom>
            <a:noFill/>
            <a:extLst>
              <a:ext uri="{909E8E84-426E-40DD-AFC4-6F175D3DCCD1}">
                <a14:hiddenFill xmlns:a14="http://schemas.microsoft.com/office/drawing/2010/main">
                  <a:solidFill>
                    <a:srgbClr val="FFFFFF"/>
                  </a:solidFill>
                </a14:hiddenFill>
              </a:ext>
            </a:extLst>
          </p:spPr>
        </p:pic>
        <p:sp>
          <p:nvSpPr>
            <p:cNvPr id="135" name="Rectangle 134">
              <a:extLst>
                <a:ext uri="{FF2B5EF4-FFF2-40B4-BE49-F238E27FC236}">
                  <a16:creationId xmlns:a16="http://schemas.microsoft.com/office/drawing/2014/main" id="{4A221316-5E29-46F8-A010-8B39B85F886E}"/>
                </a:ext>
              </a:extLst>
            </p:cNvPr>
            <p:cNvSpPr/>
            <p:nvPr/>
          </p:nvSpPr>
          <p:spPr>
            <a:xfrm>
              <a:off x="5653891" y="5047861"/>
              <a:ext cx="832279" cy="221599"/>
            </a:xfrm>
            <a:prstGeom prst="rect">
              <a:avLst/>
            </a:prstGeom>
          </p:spPr>
          <p:txBody>
            <a:bodyPr wrap="non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Front Door</a:t>
              </a:r>
            </a:p>
          </p:txBody>
        </p:sp>
      </p:grpSp>
      <p:grpSp>
        <p:nvGrpSpPr>
          <p:cNvPr id="232" name="Group 231">
            <a:extLst>
              <a:ext uri="{FF2B5EF4-FFF2-40B4-BE49-F238E27FC236}">
                <a16:creationId xmlns:a16="http://schemas.microsoft.com/office/drawing/2014/main" id="{4EF842AA-79DC-445B-A202-F956EB8BED08}"/>
              </a:ext>
            </a:extLst>
          </p:cNvPr>
          <p:cNvGrpSpPr/>
          <p:nvPr/>
        </p:nvGrpSpPr>
        <p:grpSpPr>
          <a:xfrm>
            <a:off x="8196567" y="4869883"/>
            <a:ext cx="738801" cy="818309"/>
            <a:chOff x="3791473" y="4437467"/>
            <a:chExt cx="752114" cy="829521"/>
          </a:xfrm>
        </p:grpSpPr>
        <p:pic>
          <p:nvPicPr>
            <p:cNvPr id="137" name="Picture 136">
              <a:extLst>
                <a:ext uri="{FF2B5EF4-FFF2-40B4-BE49-F238E27FC236}">
                  <a16:creationId xmlns:a16="http://schemas.microsoft.com/office/drawing/2014/main" id="{439D9E90-1077-472C-A3B7-2C0EE3123533}"/>
                </a:ext>
              </a:extLst>
            </p:cNvPr>
            <p:cNvPicPr>
              <a:picLocks noChangeAspect="1"/>
            </p:cNvPicPr>
            <p:nvPr/>
          </p:nvPicPr>
          <p:blipFill>
            <a:blip r:embed="rId1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87024" y="4437467"/>
              <a:ext cx="340214" cy="340214"/>
            </a:xfrm>
            <a:prstGeom prst="rect">
              <a:avLst/>
            </a:prstGeom>
          </p:spPr>
        </p:pic>
        <p:sp>
          <p:nvSpPr>
            <p:cNvPr id="138" name="Rectangle 137">
              <a:extLst>
                <a:ext uri="{FF2B5EF4-FFF2-40B4-BE49-F238E27FC236}">
                  <a16:creationId xmlns:a16="http://schemas.microsoft.com/office/drawing/2014/main" id="{9934739D-8189-4EEF-B8A5-DE797A985815}"/>
                </a:ext>
              </a:extLst>
            </p:cNvPr>
            <p:cNvSpPr/>
            <p:nvPr/>
          </p:nvSpPr>
          <p:spPr>
            <a:xfrm>
              <a:off x="3791473" y="4786857"/>
              <a:ext cx="752114" cy="480131"/>
            </a:xfrm>
            <a:prstGeom prst="rect">
              <a:avLst/>
            </a:prstGeom>
          </p:spPr>
          <p:txBody>
            <a:bodyPr wrap="square">
              <a:no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Resource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Manager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RM)</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31" name="Group 230">
            <a:extLst>
              <a:ext uri="{FF2B5EF4-FFF2-40B4-BE49-F238E27FC236}">
                <a16:creationId xmlns:a16="http://schemas.microsoft.com/office/drawing/2014/main" id="{6AFA5298-A94F-4A28-92D5-FFB9E24E5029}"/>
              </a:ext>
            </a:extLst>
          </p:cNvPr>
          <p:cNvGrpSpPr/>
          <p:nvPr/>
        </p:nvGrpSpPr>
        <p:grpSpPr>
          <a:xfrm>
            <a:off x="6179012" y="4830316"/>
            <a:ext cx="633316" cy="545189"/>
            <a:chOff x="7567678" y="4583361"/>
            <a:chExt cx="644728" cy="552659"/>
          </a:xfrm>
        </p:grpSpPr>
        <p:pic>
          <p:nvPicPr>
            <p:cNvPr id="2066" name="Picture 18" descr="Image result for &quot;Azure blob storage&quot; icon">
              <a:extLst>
                <a:ext uri="{FF2B5EF4-FFF2-40B4-BE49-F238E27FC236}">
                  <a16:creationId xmlns:a16="http://schemas.microsoft.com/office/drawing/2014/main" id="{B09F250C-F64D-46C8-8BF2-330B100A5D70}"/>
                </a:ext>
              </a:extLst>
            </p:cNvPr>
            <p:cNvPicPr>
              <a:picLocks noChangeAspect="1" noChangeArrowheads="1"/>
            </p:cNvPicPr>
            <p:nvPr/>
          </p:nvPicPr>
          <p:blipFill>
            <a:blip r:embed="rId2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54563" y="4583361"/>
              <a:ext cx="311305" cy="311305"/>
            </a:xfrm>
            <a:prstGeom prst="rect">
              <a:avLst/>
            </a:prstGeom>
            <a:noFill/>
            <a:extLst>
              <a:ext uri="{909E8E84-426E-40DD-AFC4-6F175D3DCCD1}">
                <a14:hiddenFill xmlns:a14="http://schemas.microsoft.com/office/drawing/2010/main">
                  <a:solidFill>
                    <a:srgbClr val="FFFFFF"/>
                  </a:solidFill>
                </a14:hiddenFill>
              </a:ext>
            </a:extLst>
          </p:spPr>
        </p:pic>
        <p:sp>
          <p:nvSpPr>
            <p:cNvPr id="140" name="Rectangle 139">
              <a:extLst>
                <a:ext uri="{FF2B5EF4-FFF2-40B4-BE49-F238E27FC236}">
                  <a16:creationId xmlns:a16="http://schemas.microsoft.com/office/drawing/2014/main" id="{463B01D8-122D-4E86-B100-9CCE0C305653}"/>
                </a:ext>
              </a:extLst>
            </p:cNvPr>
            <p:cNvSpPr/>
            <p:nvPr/>
          </p:nvSpPr>
          <p:spPr>
            <a:xfrm>
              <a:off x="7567678" y="4914421"/>
              <a:ext cx="644728" cy="221599"/>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Storage</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28" name="Group 227">
            <a:extLst>
              <a:ext uri="{FF2B5EF4-FFF2-40B4-BE49-F238E27FC236}">
                <a16:creationId xmlns:a16="http://schemas.microsoft.com/office/drawing/2014/main" id="{53FC60D3-86B5-425F-9F29-F2B934358748}"/>
              </a:ext>
            </a:extLst>
          </p:cNvPr>
          <p:cNvGrpSpPr/>
          <p:nvPr/>
        </p:nvGrpSpPr>
        <p:grpSpPr>
          <a:xfrm>
            <a:off x="3820813" y="5022272"/>
            <a:ext cx="649142" cy="746991"/>
            <a:chOff x="3877663" y="3493210"/>
            <a:chExt cx="660839" cy="757225"/>
          </a:xfrm>
        </p:grpSpPr>
        <p:sp>
          <p:nvSpPr>
            <p:cNvPr id="6" name="Rectangle 5">
              <a:extLst>
                <a:ext uri="{FF2B5EF4-FFF2-40B4-BE49-F238E27FC236}">
                  <a16:creationId xmlns:a16="http://schemas.microsoft.com/office/drawing/2014/main" id="{EAEBEEA4-131D-4750-9885-CA37B14E4F67}"/>
                </a:ext>
              </a:extLst>
            </p:cNvPr>
            <p:cNvSpPr/>
            <p:nvPr/>
          </p:nvSpPr>
          <p:spPr>
            <a:xfrm>
              <a:off x="3877663" y="3807141"/>
              <a:ext cx="660839" cy="443294"/>
            </a:xfrm>
            <a:prstGeom prst="rect">
              <a:avLst/>
            </a:prstGeom>
          </p:spPr>
          <p:txBody>
            <a:bodyPr wrap="square">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Domain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Name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System</a:t>
              </a:r>
            </a:p>
          </p:txBody>
        </p:sp>
        <p:pic>
          <p:nvPicPr>
            <p:cNvPr id="142" name="Picture 141">
              <a:extLst>
                <a:ext uri="{FF2B5EF4-FFF2-40B4-BE49-F238E27FC236}">
                  <a16:creationId xmlns:a16="http://schemas.microsoft.com/office/drawing/2014/main" id="{B7D62602-0CE8-4D7C-9136-7EA0D094670F}"/>
                </a:ext>
              </a:extLst>
            </p:cNvPr>
            <p:cNvPicPr>
              <a:picLocks noChangeAspect="1"/>
            </p:cNvPicPr>
            <p:nvPr/>
          </p:nvPicPr>
          <p:blipFill>
            <a:blip r:embed="rId21"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57214" y="3493210"/>
              <a:ext cx="281168" cy="281168"/>
            </a:xfrm>
            <a:prstGeom prst="rect">
              <a:avLst/>
            </a:prstGeom>
          </p:spPr>
        </p:pic>
      </p:grpSp>
      <p:grpSp>
        <p:nvGrpSpPr>
          <p:cNvPr id="20" name="Group 19">
            <a:extLst>
              <a:ext uri="{FF2B5EF4-FFF2-40B4-BE49-F238E27FC236}">
                <a16:creationId xmlns:a16="http://schemas.microsoft.com/office/drawing/2014/main" id="{2C2670BB-566F-486E-9CD2-D078E7CC3B33}"/>
              </a:ext>
            </a:extLst>
          </p:cNvPr>
          <p:cNvGrpSpPr/>
          <p:nvPr/>
        </p:nvGrpSpPr>
        <p:grpSpPr>
          <a:xfrm>
            <a:off x="7503205" y="5256253"/>
            <a:ext cx="785462" cy="448087"/>
            <a:chOff x="8497772" y="761774"/>
            <a:chExt cx="799615" cy="454226"/>
          </a:xfrm>
        </p:grpSpPr>
        <p:pic>
          <p:nvPicPr>
            <p:cNvPr id="2070" name="Picture 22" descr="Related image">
              <a:extLst>
                <a:ext uri="{FF2B5EF4-FFF2-40B4-BE49-F238E27FC236}">
                  <a16:creationId xmlns:a16="http://schemas.microsoft.com/office/drawing/2014/main" id="{9368ABC5-2E23-41BB-9416-B9A68F202DD9}"/>
                </a:ext>
              </a:extLst>
            </p:cNvPr>
            <p:cNvPicPr>
              <a:picLocks noChangeAspect="1" noChangeArrowheads="1"/>
            </p:cNvPicPr>
            <p:nvPr/>
          </p:nvPicPr>
          <p:blipFill>
            <a:blip r:embed="rId2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50358" y="761774"/>
              <a:ext cx="308205" cy="211100"/>
            </a:xfrm>
            <a:prstGeom prst="rect">
              <a:avLst/>
            </a:prstGeom>
            <a:noFill/>
            <a:extLst>
              <a:ext uri="{909E8E84-426E-40DD-AFC4-6F175D3DCCD1}">
                <a14:hiddenFill xmlns:a14="http://schemas.microsoft.com/office/drawing/2010/main">
                  <a:solidFill>
                    <a:srgbClr val="FFFFFF"/>
                  </a:solidFill>
                </a14:hiddenFill>
              </a:ext>
            </a:extLst>
          </p:spPr>
        </p:pic>
        <p:sp>
          <p:nvSpPr>
            <p:cNvPr id="145" name="Rectangle 144">
              <a:extLst>
                <a:ext uri="{FF2B5EF4-FFF2-40B4-BE49-F238E27FC236}">
                  <a16:creationId xmlns:a16="http://schemas.microsoft.com/office/drawing/2014/main" id="{6F82B0F1-C363-499B-B089-4265E441C3DE}"/>
                </a:ext>
              </a:extLst>
            </p:cNvPr>
            <p:cNvSpPr/>
            <p:nvPr/>
          </p:nvSpPr>
          <p:spPr>
            <a:xfrm>
              <a:off x="8497772" y="962084"/>
              <a:ext cx="799615" cy="253916"/>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Microsoft </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Flow</a:t>
              </a:r>
            </a:p>
          </p:txBody>
        </p:sp>
      </p:grpSp>
      <p:grpSp>
        <p:nvGrpSpPr>
          <p:cNvPr id="226" name="Group 225">
            <a:extLst>
              <a:ext uri="{FF2B5EF4-FFF2-40B4-BE49-F238E27FC236}">
                <a16:creationId xmlns:a16="http://schemas.microsoft.com/office/drawing/2014/main" id="{24A0EE38-847A-45FD-8E8B-2583CACAC239}"/>
              </a:ext>
            </a:extLst>
          </p:cNvPr>
          <p:cNvGrpSpPr/>
          <p:nvPr/>
        </p:nvGrpSpPr>
        <p:grpSpPr>
          <a:xfrm>
            <a:off x="8075555" y="3756399"/>
            <a:ext cx="785462" cy="590885"/>
            <a:chOff x="7658355" y="3881660"/>
            <a:chExt cx="799615" cy="598981"/>
          </a:xfrm>
        </p:grpSpPr>
        <p:sp>
          <p:nvSpPr>
            <p:cNvPr id="147" name="Rectangle 146">
              <a:extLst>
                <a:ext uri="{FF2B5EF4-FFF2-40B4-BE49-F238E27FC236}">
                  <a16:creationId xmlns:a16="http://schemas.microsoft.com/office/drawing/2014/main" id="{66C3ECA8-6D32-4B9E-84D3-F1276FFB30BC}"/>
                </a:ext>
              </a:extLst>
            </p:cNvPr>
            <p:cNvSpPr/>
            <p:nvPr/>
          </p:nvSpPr>
          <p:spPr>
            <a:xfrm>
              <a:off x="7658355" y="4226725"/>
              <a:ext cx="799615" cy="253916"/>
            </a:xfrm>
            <a:prstGeom prst="rect">
              <a:avLst/>
            </a:prstGeom>
          </p:spPr>
          <p:txBody>
            <a:bodyPr wrap="square">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Key Vault</a:t>
              </a:r>
            </a:p>
          </p:txBody>
        </p:sp>
        <p:pic>
          <p:nvPicPr>
            <p:cNvPr id="150" name="Picture 149">
              <a:extLst>
                <a:ext uri="{FF2B5EF4-FFF2-40B4-BE49-F238E27FC236}">
                  <a16:creationId xmlns:a16="http://schemas.microsoft.com/office/drawing/2014/main" id="{B5FBD6A1-1E47-406E-9575-5DAFD9484D39}"/>
                </a:ext>
              </a:extLst>
            </p:cNvPr>
            <p:cNvPicPr>
              <a:picLocks noChangeAspect="1"/>
            </p:cNvPicPr>
            <p:nvPr/>
          </p:nvPicPr>
          <p:blipFill>
            <a:blip r:embed="rId2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32713" y="3881660"/>
              <a:ext cx="309285" cy="309285"/>
            </a:xfrm>
            <a:prstGeom prst="rect">
              <a:avLst/>
            </a:prstGeom>
          </p:spPr>
        </p:pic>
      </p:grpSp>
      <p:grpSp>
        <p:nvGrpSpPr>
          <p:cNvPr id="234" name="Group 233">
            <a:extLst>
              <a:ext uri="{FF2B5EF4-FFF2-40B4-BE49-F238E27FC236}">
                <a16:creationId xmlns:a16="http://schemas.microsoft.com/office/drawing/2014/main" id="{061B0745-FFC0-41AA-A534-4F912F058466}"/>
              </a:ext>
            </a:extLst>
          </p:cNvPr>
          <p:cNvGrpSpPr/>
          <p:nvPr/>
        </p:nvGrpSpPr>
        <p:grpSpPr>
          <a:xfrm>
            <a:off x="4563032" y="5296573"/>
            <a:ext cx="864008" cy="552822"/>
            <a:chOff x="4674904" y="4918972"/>
            <a:chExt cx="879577" cy="560396"/>
          </a:xfrm>
        </p:grpSpPr>
        <p:pic>
          <p:nvPicPr>
            <p:cNvPr id="159" name="Picture 158">
              <a:extLst>
                <a:ext uri="{FF2B5EF4-FFF2-40B4-BE49-F238E27FC236}">
                  <a16:creationId xmlns:a16="http://schemas.microsoft.com/office/drawing/2014/main" id="{21001C42-43C3-4B3C-9494-8BAA197DE041}"/>
                </a:ext>
              </a:extLst>
            </p:cNvPr>
            <p:cNvPicPr>
              <a:picLocks noChangeAspect="1"/>
            </p:cNvPicPr>
            <p:nvPr/>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983461" y="4918972"/>
              <a:ext cx="283655" cy="283655"/>
            </a:xfrm>
            <a:prstGeom prst="rect">
              <a:avLst/>
            </a:prstGeom>
          </p:spPr>
        </p:pic>
        <p:sp>
          <p:nvSpPr>
            <p:cNvPr id="160" name="Rectangle 159">
              <a:extLst>
                <a:ext uri="{FF2B5EF4-FFF2-40B4-BE49-F238E27FC236}">
                  <a16:creationId xmlns:a16="http://schemas.microsoft.com/office/drawing/2014/main" id="{0792FF1C-0991-476A-BCC2-9A3E49A75F7F}"/>
                </a:ext>
              </a:extLst>
            </p:cNvPr>
            <p:cNvSpPr/>
            <p:nvPr/>
          </p:nvSpPr>
          <p:spPr>
            <a:xfrm>
              <a:off x="4674904" y="5225452"/>
              <a:ext cx="879577" cy="253916"/>
            </a:xfrm>
            <a:prstGeom prst="rect">
              <a:avLst/>
            </a:prstGeom>
          </p:spPr>
          <p:txBody>
            <a:bodyPr wrap="square">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Service Bus</a:t>
              </a:r>
            </a:p>
          </p:txBody>
        </p:sp>
      </p:grpSp>
      <p:grpSp>
        <p:nvGrpSpPr>
          <p:cNvPr id="18" name="Group 17">
            <a:extLst>
              <a:ext uri="{FF2B5EF4-FFF2-40B4-BE49-F238E27FC236}">
                <a16:creationId xmlns:a16="http://schemas.microsoft.com/office/drawing/2014/main" id="{619F04BB-988A-4F82-B16C-066712AF7548}"/>
              </a:ext>
            </a:extLst>
          </p:cNvPr>
          <p:cNvGrpSpPr/>
          <p:nvPr/>
        </p:nvGrpSpPr>
        <p:grpSpPr>
          <a:xfrm>
            <a:off x="7635091" y="4348790"/>
            <a:ext cx="842414" cy="568046"/>
            <a:chOff x="7470980" y="1703240"/>
            <a:chExt cx="857594" cy="575829"/>
          </a:xfrm>
        </p:grpSpPr>
        <p:pic>
          <p:nvPicPr>
            <p:cNvPr id="161" name="Picture 160">
              <a:extLst>
                <a:ext uri="{FF2B5EF4-FFF2-40B4-BE49-F238E27FC236}">
                  <a16:creationId xmlns:a16="http://schemas.microsoft.com/office/drawing/2014/main" id="{26EDBA28-9F8E-46DB-B5AE-5461FA4C784E}"/>
                </a:ext>
              </a:extLst>
            </p:cNvPr>
            <p:cNvPicPr>
              <a:picLocks noChangeAspect="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756404" y="1703240"/>
              <a:ext cx="281168" cy="281168"/>
            </a:xfrm>
            <a:prstGeom prst="rect">
              <a:avLst/>
            </a:prstGeom>
          </p:spPr>
        </p:pic>
        <p:sp>
          <p:nvSpPr>
            <p:cNvPr id="168" name="Rectangle 167">
              <a:extLst>
                <a:ext uri="{FF2B5EF4-FFF2-40B4-BE49-F238E27FC236}">
                  <a16:creationId xmlns:a16="http://schemas.microsoft.com/office/drawing/2014/main" id="{6ED8223F-CD8D-4BC2-B998-ADE01342C7A8}"/>
                </a:ext>
              </a:extLst>
            </p:cNvPr>
            <p:cNvSpPr/>
            <p:nvPr/>
          </p:nvSpPr>
          <p:spPr>
            <a:xfrm>
              <a:off x="7470980" y="1990376"/>
              <a:ext cx="857594" cy="288693"/>
            </a:xfrm>
            <a:prstGeom prst="rect">
              <a:avLst/>
            </a:prstGeom>
            <a:noFill/>
          </p:spPr>
          <p:txBody>
            <a:bodyPr wrap="square">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Application Insights</a:t>
              </a:r>
            </a:p>
          </p:txBody>
        </p:sp>
      </p:grpSp>
      <p:grpSp>
        <p:nvGrpSpPr>
          <p:cNvPr id="237" name="Group 236">
            <a:extLst>
              <a:ext uri="{FF2B5EF4-FFF2-40B4-BE49-F238E27FC236}">
                <a16:creationId xmlns:a16="http://schemas.microsoft.com/office/drawing/2014/main" id="{B266D78F-845F-4BAD-995A-488494C095DD}"/>
              </a:ext>
            </a:extLst>
          </p:cNvPr>
          <p:cNvGrpSpPr/>
          <p:nvPr/>
        </p:nvGrpSpPr>
        <p:grpSpPr>
          <a:xfrm>
            <a:off x="4773509" y="1998569"/>
            <a:ext cx="3524079" cy="2733209"/>
            <a:chOff x="4705374" y="1462628"/>
            <a:chExt cx="3587580" cy="2770657"/>
          </a:xfrm>
        </p:grpSpPr>
        <p:grpSp>
          <p:nvGrpSpPr>
            <p:cNvPr id="235" name="Group 234">
              <a:extLst>
                <a:ext uri="{FF2B5EF4-FFF2-40B4-BE49-F238E27FC236}">
                  <a16:creationId xmlns:a16="http://schemas.microsoft.com/office/drawing/2014/main" id="{5A63D90E-7B16-40A0-8C05-4C1BCE0523C8}"/>
                </a:ext>
              </a:extLst>
            </p:cNvPr>
            <p:cNvGrpSpPr/>
            <p:nvPr/>
          </p:nvGrpSpPr>
          <p:grpSpPr>
            <a:xfrm>
              <a:off x="4705374" y="1462628"/>
              <a:ext cx="3134847" cy="2770657"/>
              <a:chOff x="4763249" y="1416328"/>
              <a:chExt cx="3134847" cy="2770657"/>
            </a:xfrm>
          </p:grpSpPr>
          <p:sp>
            <p:nvSpPr>
              <p:cNvPr id="44" name="Oval 43">
                <a:extLst>
                  <a:ext uri="{FF2B5EF4-FFF2-40B4-BE49-F238E27FC236}">
                    <a16:creationId xmlns:a16="http://schemas.microsoft.com/office/drawing/2014/main" id="{3FE9DBB9-8AA8-4C97-B9D0-F035B9FA5808}"/>
                  </a:ext>
                </a:extLst>
              </p:cNvPr>
              <p:cNvSpPr/>
              <p:nvPr/>
            </p:nvSpPr>
            <p:spPr bwMode="auto">
              <a:xfrm>
                <a:off x="5615521" y="1623528"/>
                <a:ext cx="2249510" cy="2179722"/>
              </a:xfrm>
              <a:prstGeom prst="ellipse">
                <a:avLst/>
              </a:prstGeom>
              <a:noFill/>
              <a:ln w="12700">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8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4" name="Group 223">
                <a:extLst>
                  <a:ext uri="{FF2B5EF4-FFF2-40B4-BE49-F238E27FC236}">
                    <a16:creationId xmlns:a16="http://schemas.microsoft.com/office/drawing/2014/main" id="{3DC9682D-CFF1-4B95-9012-EC30E20F09F3}"/>
                  </a:ext>
                </a:extLst>
              </p:cNvPr>
              <p:cNvGrpSpPr/>
              <p:nvPr/>
            </p:nvGrpSpPr>
            <p:grpSpPr>
              <a:xfrm>
                <a:off x="6339227" y="1416328"/>
                <a:ext cx="756938" cy="593180"/>
                <a:chOff x="6461281" y="1590285"/>
                <a:chExt cx="756938" cy="593180"/>
              </a:xfrm>
            </p:grpSpPr>
            <p:pic>
              <p:nvPicPr>
                <p:cNvPr id="15" name="Picture 14">
                  <a:extLst>
                    <a:ext uri="{FF2B5EF4-FFF2-40B4-BE49-F238E27FC236}">
                      <a16:creationId xmlns:a16="http://schemas.microsoft.com/office/drawing/2014/main" id="{589E683D-DCB9-467A-83E7-DBEBB90747F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641119" y="1590285"/>
                  <a:ext cx="424585" cy="424584"/>
                </a:xfrm>
                <a:prstGeom prst="rect">
                  <a:avLst/>
                </a:prstGeom>
              </p:spPr>
            </p:pic>
            <p:sp>
              <p:nvSpPr>
                <p:cNvPr id="110" name="Rectangle 109">
                  <a:extLst>
                    <a:ext uri="{FF2B5EF4-FFF2-40B4-BE49-F238E27FC236}">
                      <a16:creationId xmlns:a16="http://schemas.microsoft.com/office/drawing/2014/main" id="{3A6A7787-0CF5-4CF1-8B53-A9751A71FA2D}"/>
                    </a:ext>
                  </a:extLst>
                </p:cNvPr>
                <p:cNvSpPr/>
                <p:nvPr/>
              </p:nvSpPr>
              <p:spPr>
                <a:xfrm>
                  <a:off x="6461281" y="1961866"/>
                  <a:ext cx="756938" cy="221599"/>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Functions</a:t>
                  </a:r>
                </a:p>
              </p:txBody>
            </p:sp>
          </p:grpSp>
          <p:grpSp>
            <p:nvGrpSpPr>
              <p:cNvPr id="25" name="Group 24">
                <a:extLst>
                  <a:ext uri="{FF2B5EF4-FFF2-40B4-BE49-F238E27FC236}">
                    <a16:creationId xmlns:a16="http://schemas.microsoft.com/office/drawing/2014/main" id="{1F838EBB-6FB8-4FA3-9ADE-1CF21FABF6B1}"/>
                  </a:ext>
                </a:extLst>
              </p:cNvPr>
              <p:cNvGrpSpPr/>
              <p:nvPr/>
            </p:nvGrpSpPr>
            <p:grpSpPr>
              <a:xfrm>
                <a:off x="5604376" y="1605487"/>
                <a:ext cx="800219" cy="594792"/>
                <a:chOff x="5309454" y="2451934"/>
                <a:chExt cx="896375" cy="666261"/>
              </a:xfrm>
            </p:grpSpPr>
            <p:pic>
              <p:nvPicPr>
                <p:cNvPr id="21" name="Picture 20">
                  <a:extLst>
                    <a:ext uri="{FF2B5EF4-FFF2-40B4-BE49-F238E27FC236}">
                      <a16:creationId xmlns:a16="http://schemas.microsoft.com/office/drawing/2014/main" id="{1DC0A53D-F0CA-4E6E-A464-E1F13CE70C24}"/>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27630" t="28585" r="27785" b="25862"/>
                <a:stretch/>
              </p:blipFill>
              <p:spPr>
                <a:xfrm>
                  <a:off x="5541088" y="2451934"/>
                  <a:ext cx="433968" cy="443388"/>
                </a:xfrm>
                <a:prstGeom prst="rect">
                  <a:avLst/>
                </a:prstGeom>
              </p:spPr>
            </p:pic>
            <p:sp>
              <p:nvSpPr>
                <p:cNvPr id="111" name="Rectangle 110">
                  <a:extLst>
                    <a:ext uri="{FF2B5EF4-FFF2-40B4-BE49-F238E27FC236}">
                      <a16:creationId xmlns:a16="http://schemas.microsoft.com/office/drawing/2014/main" id="{FF204C91-C3FA-4011-AA0F-74583099B738}"/>
                    </a:ext>
                  </a:extLst>
                </p:cNvPr>
                <p:cNvSpPr/>
                <p:nvPr/>
              </p:nvSpPr>
              <p:spPr>
                <a:xfrm>
                  <a:off x="5309454" y="2869969"/>
                  <a:ext cx="896375" cy="248226"/>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SQL Azure</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4" name="Group 23">
                <a:extLst>
                  <a:ext uri="{FF2B5EF4-FFF2-40B4-BE49-F238E27FC236}">
                    <a16:creationId xmlns:a16="http://schemas.microsoft.com/office/drawing/2014/main" id="{84F947FB-3BF2-44CD-89F0-82B6A0B53605}"/>
                  </a:ext>
                </a:extLst>
              </p:cNvPr>
              <p:cNvGrpSpPr/>
              <p:nvPr/>
            </p:nvGrpSpPr>
            <p:grpSpPr>
              <a:xfrm>
                <a:off x="6729470" y="3545744"/>
                <a:ext cx="864340" cy="574918"/>
                <a:chOff x="6817831" y="3760305"/>
                <a:chExt cx="968200" cy="643999"/>
              </a:xfrm>
            </p:grpSpPr>
            <p:pic>
              <p:nvPicPr>
                <p:cNvPr id="17" name="Picture 16" descr="A picture containing clipart, vector graphics&#10;&#10;Description automatically generated">
                  <a:extLst>
                    <a:ext uri="{FF2B5EF4-FFF2-40B4-BE49-F238E27FC236}">
                      <a16:creationId xmlns:a16="http://schemas.microsoft.com/office/drawing/2014/main" id="{AB80B5F8-9159-4811-99F4-53A9ABD27DE4}"/>
                    </a:ext>
                  </a:extLst>
                </p:cNvPr>
                <p:cNvPicPr>
                  <a:picLocks noChangeAspect="1"/>
                </p:cNvPicPr>
                <p:nvPr/>
              </p:nvPicPr>
              <p:blipFill rotWithShape="1">
                <a:blip r:embed="rId28" cstate="print">
                  <a:extLst>
                    <a:ext uri="{28A0092B-C50C-407E-A947-70E740481C1C}">
                      <a14:useLocalDpi xmlns:a14="http://schemas.microsoft.com/office/drawing/2010/main" val="0"/>
                    </a:ext>
                  </a:extLst>
                </a:blip>
                <a:srcRect l="20563" r="20086"/>
                <a:stretch/>
              </p:blipFill>
              <p:spPr>
                <a:xfrm>
                  <a:off x="7088221" y="3760305"/>
                  <a:ext cx="457179" cy="405032"/>
                </a:xfrm>
                <a:prstGeom prst="rect">
                  <a:avLst/>
                </a:prstGeom>
              </p:spPr>
            </p:pic>
            <p:sp>
              <p:nvSpPr>
                <p:cNvPr id="113" name="Rectangle 112">
                  <a:extLst>
                    <a:ext uri="{FF2B5EF4-FFF2-40B4-BE49-F238E27FC236}">
                      <a16:creationId xmlns:a16="http://schemas.microsoft.com/office/drawing/2014/main" id="{7D9A7F5A-9CB3-499B-A991-A6FFD0925CE3}"/>
                    </a:ext>
                  </a:extLst>
                </p:cNvPr>
                <p:cNvSpPr/>
                <p:nvPr/>
              </p:nvSpPr>
              <p:spPr>
                <a:xfrm>
                  <a:off x="6817831" y="4156078"/>
                  <a:ext cx="968200" cy="248226"/>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Cosmos DB</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9" name="Group 28">
                <a:extLst>
                  <a:ext uri="{FF2B5EF4-FFF2-40B4-BE49-F238E27FC236}">
                    <a16:creationId xmlns:a16="http://schemas.microsoft.com/office/drawing/2014/main" id="{0FD56217-72AF-466C-A69F-41883817525E}"/>
                  </a:ext>
                </a:extLst>
              </p:cNvPr>
              <p:cNvGrpSpPr/>
              <p:nvPr/>
            </p:nvGrpSpPr>
            <p:grpSpPr>
              <a:xfrm>
                <a:off x="7082088" y="1697940"/>
                <a:ext cx="816008" cy="540281"/>
                <a:chOff x="6276099" y="2139768"/>
                <a:chExt cx="914060" cy="605198"/>
              </a:xfrm>
            </p:grpSpPr>
            <p:sp>
              <p:nvSpPr>
                <p:cNvPr id="119" name="Rectangle 118">
                  <a:extLst>
                    <a:ext uri="{FF2B5EF4-FFF2-40B4-BE49-F238E27FC236}">
                      <a16:creationId xmlns:a16="http://schemas.microsoft.com/office/drawing/2014/main" id="{78955F4C-9275-4911-B42A-EE4F95081BF0}"/>
                    </a:ext>
                  </a:extLst>
                </p:cNvPr>
                <p:cNvSpPr/>
                <p:nvPr/>
              </p:nvSpPr>
              <p:spPr>
                <a:xfrm>
                  <a:off x="6276099" y="2496740"/>
                  <a:ext cx="914060" cy="248226"/>
                </a:xfrm>
                <a:prstGeom prst="rect">
                  <a:avLst/>
                </a:prstGeom>
              </p:spPr>
              <p:txBody>
                <a:bodyPr wrap="square">
                  <a:spAutoFit/>
                </a:bodyPr>
                <a:lstStyle/>
                <a:p>
                  <a:pPr marL="0" marR="0" lvl="0" indent="0" algn="ctr" defTabSz="913222" rtl="0" eaLnBrk="1" fontAlgn="base" latinLnBrk="0" hangingPunct="1">
                    <a:lnSpc>
                      <a:spcPct val="80000"/>
                    </a:lnSpc>
                    <a:spcBef>
                      <a:spcPct val="0"/>
                    </a:spcBef>
                    <a:spcAft>
                      <a:spcPts val="60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Web Apps</a:t>
                  </a:r>
                </a:p>
              </p:txBody>
            </p:sp>
            <p:pic>
              <p:nvPicPr>
                <p:cNvPr id="120" name="Picture 8" descr="Image result for Web Apps Logo png">
                  <a:extLst>
                    <a:ext uri="{FF2B5EF4-FFF2-40B4-BE49-F238E27FC236}">
                      <a16:creationId xmlns:a16="http://schemas.microsoft.com/office/drawing/2014/main" id="{49A89354-F889-4C5A-82A7-B7E2FE5816A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72270" y="2139768"/>
                  <a:ext cx="707219" cy="3712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CB1AD332-78D6-416B-97A8-1110467A6667}"/>
                  </a:ext>
                </a:extLst>
              </p:cNvPr>
              <p:cNvGrpSpPr/>
              <p:nvPr/>
            </p:nvGrpSpPr>
            <p:grpSpPr>
              <a:xfrm>
                <a:off x="5823414" y="3473239"/>
                <a:ext cx="1018227" cy="713746"/>
                <a:chOff x="7115614" y="1593320"/>
                <a:chExt cx="1140578" cy="799510"/>
              </a:xfrm>
            </p:grpSpPr>
            <p:pic>
              <p:nvPicPr>
                <p:cNvPr id="31" name="Picture 30" descr="A close up of a logo&#10;&#10;Description automatically generated">
                  <a:extLst>
                    <a:ext uri="{FF2B5EF4-FFF2-40B4-BE49-F238E27FC236}">
                      <a16:creationId xmlns:a16="http://schemas.microsoft.com/office/drawing/2014/main" id="{5A0FB7AE-0244-42D2-BB37-E686491F3767}"/>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425346" y="1593320"/>
                  <a:ext cx="472281" cy="472280"/>
                </a:xfrm>
                <a:prstGeom prst="rect">
                  <a:avLst/>
                </a:prstGeom>
              </p:spPr>
            </p:pic>
            <p:sp>
              <p:nvSpPr>
                <p:cNvPr id="131" name="Rectangle 130">
                  <a:extLst>
                    <a:ext uri="{FF2B5EF4-FFF2-40B4-BE49-F238E27FC236}">
                      <a16:creationId xmlns:a16="http://schemas.microsoft.com/office/drawing/2014/main" id="{E9B44A82-8944-470E-8CE0-308712AD3EFD}"/>
                    </a:ext>
                  </a:extLst>
                </p:cNvPr>
                <p:cNvSpPr/>
                <p:nvPr/>
              </p:nvSpPr>
              <p:spPr>
                <a:xfrm>
                  <a:off x="7115614" y="1999805"/>
                  <a:ext cx="1140578" cy="393025"/>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Stream </a:t>
                  </a:r>
                </a:p>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nalytics</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35" name="Group 34">
                <a:extLst>
                  <a:ext uri="{FF2B5EF4-FFF2-40B4-BE49-F238E27FC236}">
                    <a16:creationId xmlns:a16="http://schemas.microsoft.com/office/drawing/2014/main" id="{C4BB6D84-870E-4649-B45C-F8B445DB3FCD}"/>
                  </a:ext>
                </a:extLst>
              </p:cNvPr>
              <p:cNvGrpSpPr/>
              <p:nvPr/>
            </p:nvGrpSpPr>
            <p:grpSpPr>
              <a:xfrm>
                <a:off x="5237598" y="2374432"/>
                <a:ext cx="797013" cy="572713"/>
                <a:chOff x="7584979" y="3709856"/>
                <a:chExt cx="892782" cy="641532"/>
              </a:xfrm>
            </p:grpSpPr>
            <p:pic>
              <p:nvPicPr>
                <p:cNvPr id="34" name="Picture 33">
                  <a:extLst>
                    <a:ext uri="{FF2B5EF4-FFF2-40B4-BE49-F238E27FC236}">
                      <a16:creationId xmlns:a16="http://schemas.microsoft.com/office/drawing/2014/main" id="{DEBAC1F9-F108-4C79-B222-BBB54B870660}"/>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864920" y="3709856"/>
                  <a:ext cx="382294" cy="382295"/>
                </a:xfrm>
                <a:prstGeom prst="rect">
                  <a:avLst/>
                </a:prstGeom>
              </p:spPr>
            </p:pic>
            <p:sp>
              <p:nvSpPr>
                <p:cNvPr id="133" name="Rectangle 132">
                  <a:extLst>
                    <a:ext uri="{FF2B5EF4-FFF2-40B4-BE49-F238E27FC236}">
                      <a16:creationId xmlns:a16="http://schemas.microsoft.com/office/drawing/2014/main" id="{EAD7A5E1-0B21-4C27-BA50-EEF56C7EE3FE}"/>
                    </a:ext>
                  </a:extLst>
                </p:cNvPr>
                <p:cNvSpPr/>
                <p:nvPr/>
              </p:nvSpPr>
              <p:spPr>
                <a:xfrm>
                  <a:off x="7584979" y="4103161"/>
                  <a:ext cx="892782" cy="248227"/>
                </a:xfrm>
                <a:prstGeom prst="rect">
                  <a:avLst/>
                </a:prstGeom>
              </p:spPr>
              <p:txBody>
                <a:bodyPr wrap="none">
                  <a:spAutoFit/>
                </a:bodyPr>
                <a:lstStyle/>
                <a:p>
                  <a:pPr marL="0" marR="0" lvl="0" indent="0" algn="l"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Event Hub</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225" name="Group 224">
                <a:extLst>
                  <a:ext uri="{FF2B5EF4-FFF2-40B4-BE49-F238E27FC236}">
                    <a16:creationId xmlns:a16="http://schemas.microsoft.com/office/drawing/2014/main" id="{84269072-2943-4FAF-AFFF-0B40AF13CACF}"/>
                  </a:ext>
                </a:extLst>
              </p:cNvPr>
              <p:cNvGrpSpPr/>
              <p:nvPr/>
            </p:nvGrpSpPr>
            <p:grpSpPr>
              <a:xfrm>
                <a:off x="4763249" y="3114585"/>
                <a:ext cx="1267927" cy="480131"/>
                <a:chOff x="4979163" y="3290948"/>
                <a:chExt cx="1267927" cy="480131"/>
              </a:xfrm>
            </p:grpSpPr>
            <p:sp>
              <p:nvSpPr>
                <p:cNvPr id="141" name="Rectangle 140">
                  <a:extLst>
                    <a:ext uri="{FF2B5EF4-FFF2-40B4-BE49-F238E27FC236}">
                      <a16:creationId xmlns:a16="http://schemas.microsoft.com/office/drawing/2014/main" id="{604F545E-9F11-4EFC-9E30-0C2ED763619A}"/>
                    </a:ext>
                  </a:extLst>
                </p:cNvPr>
                <p:cNvSpPr/>
                <p:nvPr/>
              </p:nvSpPr>
              <p:spPr>
                <a:xfrm>
                  <a:off x="4979163" y="3290948"/>
                  <a:ext cx="943740" cy="480131"/>
                </a:xfrm>
                <a:prstGeom prst="rect">
                  <a:avLst/>
                </a:prstGeom>
              </p:spPr>
              <p:txBody>
                <a:bodyPr wrap="square">
                  <a:noAutofit/>
                </a:bodyPr>
                <a:lstStyle/>
                <a:p>
                  <a:pPr marL="0" marR="0" lvl="0" indent="0" algn="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Device</a:t>
                  </a:r>
                  <a:b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Provisioning Service</a:t>
                  </a:r>
                </a:p>
              </p:txBody>
            </p:sp>
            <p:pic>
              <p:nvPicPr>
                <p:cNvPr id="10" name="Picture 9">
                  <a:extLst>
                    <a:ext uri="{FF2B5EF4-FFF2-40B4-BE49-F238E27FC236}">
                      <a16:creationId xmlns:a16="http://schemas.microsoft.com/office/drawing/2014/main" id="{787E8E0C-8EAE-45AD-8137-25024AC9B276}"/>
                    </a:ext>
                  </a:extLst>
                </p:cNvPr>
                <p:cNvPicPr>
                  <a:picLocks noChangeAspect="1"/>
                </p:cNvPicPr>
                <p:nvPr/>
              </p:nvPicPr>
              <p:blipFill rotWithShape="1">
                <a:blip r:embed="rId31"/>
                <a:srcRect l="25147" r="25264"/>
                <a:stretch/>
              </p:blipFill>
              <p:spPr>
                <a:xfrm>
                  <a:off x="5906034" y="3370375"/>
                  <a:ext cx="341056" cy="343882"/>
                </a:xfrm>
                <a:prstGeom prst="rect">
                  <a:avLst/>
                </a:prstGeom>
              </p:spPr>
            </p:pic>
          </p:grpSp>
        </p:grpSp>
        <p:grpSp>
          <p:nvGrpSpPr>
            <p:cNvPr id="28" name="Group 27">
              <a:extLst>
                <a:ext uri="{FF2B5EF4-FFF2-40B4-BE49-F238E27FC236}">
                  <a16:creationId xmlns:a16="http://schemas.microsoft.com/office/drawing/2014/main" id="{16B6DA37-838E-45FC-8C43-BE1F8EB9D726}"/>
                </a:ext>
              </a:extLst>
            </p:cNvPr>
            <p:cNvGrpSpPr/>
            <p:nvPr/>
          </p:nvGrpSpPr>
          <p:grpSpPr>
            <a:xfrm>
              <a:off x="7232922" y="3046305"/>
              <a:ext cx="1011337" cy="695101"/>
              <a:chOff x="6948531" y="3199804"/>
              <a:chExt cx="1132861" cy="778625"/>
            </a:xfrm>
          </p:grpSpPr>
          <p:pic>
            <p:nvPicPr>
              <p:cNvPr id="19" name="Picture 18" descr="A picture containing clipart&#10;&#10;Description automatically generated">
                <a:extLst>
                  <a:ext uri="{FF2B5EF4-FFF2-40B4-BE49-F238E27FC236}">
                    <a16:creationId xmlns:a16="http://schemas.microsoft.com/office/drawing/2014/main" id="{CDBB2002-ED54-4881-A11C-AE6C10CBDCBE}"/>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15916" r="17956"/>
              <a:stretch/>
            </p:blipFill>
            <p:spPr>
              <a:xfrm>
                <a:off x="7267043" y="3199804"/>
                <a:ext cx="458568" cy="378527"/>
              </a:xfrm>
              <a:prstGeom prst="rect">
                <a:avLst/>
              </a:prstGeom>
            </p:spPr>
          </p:pic>
          <p:sp>
            <p:nvSpPr>
              <p:cNvPr id="112" name="Rectangle 111">
                <a:extLst>
                  <a:ext uri="{FF2B5EF4-FFF2-40B4-BE49-F238E27FC236}">
                    <a16:creationId xmlns:a16="http://schemas.microsoft.com/office/drawing/2014/main" id="{5DC47CD7-9F0D-4131-ADF0-FC47CBD160F9}"/>
                  </a:ext>
                </a:extLst>
              </p:cNvPr>
              <p:cNvSpPr/>
              <p:nvPr/>
            </p:nvSpPr>
            <p:spPr>
              <a:xfrm>
                <a:off x="6948531" y="3585404"/>
                <a:ext cx="1132861" cy="393025"/>
              </a:xfrm>
              <a:prstGeom prst="rect">
                <a:avLst/>
              </a:prstGeom>
            </p:spPr>
            <p:txBody>
              <a:bodyPr wrap="square">
                <a:spAutoFit/>
              </a:bodyPr>
              <a:lstStyle/>
              <a:p>
                <a:pPr marL="0" marR="0" lvl="0" indent="0" algn="ctr" defTabSz="913874"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Time Series Insights</a:t>
                </a:r>
                <a:endPar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endParaRPr>
              </a:p>
            </p:txBody>
          </p:sp>
        </p:grpSp>
        <p:grpSp>
          <p:nvGrpSpPr>
            <p:cNvPr id="16" name="Group 15">
              <a:extLst>
                <a:ext uri="{FF2B5EF4-FFF2-40B4-BE49-F238E27FC236}">
                  <a16:creationId xmlns:a16="http://schemas.microsoft.com/office/drawing/2014/main" id="{0730C3CF-4676-4492-A8FC-9361A90A4CC7}"/>
                </a:ext>
              </a:extLst>
            </p:cNvPr>
            <p:cNvGrpSpPr/>
            <p:nvPr/>
          </p:nvGrpSpPr>
          <p:grpSpPr>
            <a:xfrm>
              <a:off x="7595385" y="2370645"/>
              <a:ext cx="697569" cy="565369"/>
              <a:chOff x="7455056" y="2438842"/>
              <a:chExt cx="697569" cy="565369"/>
            </a:xfrm>
          </p:grpSpPr>
          <p:pic>
            <p:nvPicPr>
              <p:cNvPr id="2062" name="Picture 14" descr="Image result for &quot;Azure maps&quot; icon">
                <a:extLst>
                  <a:ext uri="{FF2B5EF4-FFF2-40B4-BE49-F238E27FC236}">
                    <a16:creationId xmlns:a16="http://schemas.microsoft.com/office/drawing/2014/main" id="{5B0902EA-C042-44E7-AB4D-8AE4CA99FCCE}"/>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528284" y="2438842"/>
                <a:ext cx="293464" cy="377945"/>
              </a:xfrm>
              <a:prstGeom prst="rect">
                <a:avLst/>
              </a:prstGeom>
              <a:noFill/>
              <a:extLst>
                <a:ext uri="{909E8E84-426E-40DD-AFC4-6F175D3DCCD1}">
                  <a14:hiddenFill xmlns:a14="http://schemas.microsoft.com/office/drawing/2010/main">
                    <a:solidFill>
                      <a:srgbClr val="FFFFFF"/>
                    </a:solidFill>
                  </a14:hiddenFill>
                </a:ext>
              </a:extLst>
            </p:spPr>
          </p:pic>
          <p:sp>
            <p:nvSpPr>
              <p:cNvPr id="136" name="Rectangle 135">
                <a:extLst>
                  <a:ext uri="{FF2B5EF4-FFF2-40B4-BE49-F238E27FC236}">
                    <a16:creationId xmlns:a16="http://schemas.microsoft.com/office/drawing/2014/main" id="{C72BE447-4395-42CB-8E6C-6C3AF5443163}"/>
                  </a:ext>
                </a:extLst>
              </p:cNvPr>
              <p:cNvSpPr/>
              <p:nvPr/>
            </p:nvSpPr>
            <p:spPr>
              <a:xfrm>
                <a:off x="7455056" y="2782612"/>
                <a:ext cx="697569" cy="221599"/>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Maps</a:t>
                </a:r>
              </a:p>
            </p:txBody>
          </p:sp>
        </p:grpSp>
      </p:grpSp>
      <p:cxnSp>
        <p:nvCxnSpPr>
          <p:cNvPr id="216" name="2   Arrow fg">
            <a:extLst>
              <a:ext uri="{FF2B5EF4-FFF2-40B4-BE49-F238E27FC236}">
                <a16:creationId xmlns:a16="http://schemas.microsoft.com/office/drawing/2014/main" id="{4151DD31-5F0D-4C86-B342-04E207E2CCF4}"/>
              </a:ext>
            </a:extLst>
          </p:cNvPr>
          <p:cNvCxnSpPr>
            <a:cxnSpLocks/>
          </p:cNvCxnSpPr>
          <p:nvPr/>
        </p:nvCxnSpPr>
        <p:spPr>
          <a:xfrm flipV="1">
            <a:off x="3057679" y="3968274"/>
            <a:ext cx="485036" cy="7547"/>
          </a:xfrm>
          <a:prstGeom prst="straightConnector1">
            <a:avLst/>
          </a:prstGeom>
          <a:ln w="31750">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458CC69D-AE4E-48AE-A526-7110565EBCC5}"/>
              </a:ext>
            </a:extLst>
          </p:cNvPr>
          <p:cNvSpPr/>
          <p:nvPr/>
        </p:nvSpPr>
        <p:spPr bwMode="auto">
          <a:xfrm>
            <a:off x="3802153" y="2041669"/>
            <a:ext cx="5067834" cy="3780862"/>
          </a:xfrm>
          <a:prstGeom prst="rect">
            <a:avLst/>
          </a:prstGeom>
          <a:noFill/>
          <a:ln w="19050">
            <a:solidFill>
              <a:schemeClr val="bg1">
                <a:lumMod val="8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182880"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cxnSp>
        <p:nvCxnSpPr>
          <p:cNvPr id="218" name="2 Arrow">
            <a:extLst>
              <a:ext uri="{FF2B5EF4-FFF2-40B4-BE49-F238E27FC236}">
                <a16:creationId xmlns:a16="http://schemas.microsoft.com/office/drawing/2014/main" id="{23361EFC-C34E-4E60-9B9A-A10D0AA53E6C}"/>
              </a:ext>
            </a:extLst>
          </p:cNvPr>
          <p:cNvCxnSpPr>
            <a:cxnSpLocks/>
          </p:cNvCxnSpPr>
          <p:nvPr/>
        </p:nvCxnSpPr>
        <p:spPr>
          <a:xfrm flipV="1">
            <a:off x="3060121" y="5500782"/>
            <a:ext cx="485036" cy="8807"/>
          </a:xfrm>
          <a:prstGeom prst="straightConnector1">
            <a:avLst/>
          </a:prstGeom>
          <a:ln w="31750">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9" name="Straight Arrow Connector 218">
            <a:extLst>
              <a:ext uri="{FF2B5EF4-FFF2-40B4-BE49-F238E27FC236}">
                <a16:creationId xmlns:a16="http://schemas.microsoft.com/office/drawing/2014/main" id="{FAEC930D-2AF0-43A2-A808-CA363C377535}"/>
              </a:ext>
            </a:extLst>
          </p:cNvPr>
          <p:cNvCxnSpPr>
            <a:cxnSpLocks/>
          </p:cNvCxnSpPr>
          <p:nvPr/>
        </p:nvCxnSpPr>
        <p:spPr>
          <a:xfrm>
            <a:off x="8861017" y="2628672"/>
            <a:ext cx="473009" cy="0"/>
          </a:xfrm>
          <a:prstGeom prst="straightConnector1">
            <a:avLst/>
          </a:prstGeom>
          <a:ln w="31750">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D96EACF0-F5C6-4A92-B84D-8DAAE27CA7C8}"/>
              </a:ext>
            </a:extLst>
          </p:cNvPr>
          <p:cNvCxnSpPr>
            <a:cxnSpLocks/>
          </p:cNvCxnSpPr>
          <p:nvPr/>
        </p:nvCxnSpPr>
        <p:spPr>
          <a:xfrm>
            <a:off x="8861017" y="4799363"/>
            <a:ext cx="473009" cy="0"/>
          </a:xfrm>
          <a:prstGeom prst="straightConnector1">
            <a:avLst/>
          </a:prstGeom>
          <a:ln w="31750">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1" name="2   Arrow fg">
            <a:extLst>
              <a:ext uri="{FF2B5EF4-FFF2-40B4-BE49-F238E27FC236}">
                <a16:creationId xmlns:a16="http://schemas.microsoft.com/office/drawing/2014/main" id="{4DA84D20-14A1-49E5-9D1E-9ED90522E3F4}"/>
              </a:ext>
            </a:extLst>
          </p:cNvPr>
          <p:cNvCxnSpPr>
            <a:cxnSpLocks/>
          </p:cNvCxnSpPr>
          <p:nvPr/>
        </p:nvCxnSpPr>
        <p:spPr>
          <a:xfrm>
            <a:off x="3068322" y="2509905"/>
            <a:ext cx="485036" cy="0"/>
          </a:xfrm>
          <a:prstGeom prst="straightConnector1">
            <a:avLst/>
          </a:prstGeom>
          <a:ln w="31750">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4" name="Title 1">
            <a:extLst>
              <a:ext uri="{FF2B5EF4-FFF2-40B4-BE49-F238E27FC236}">
                <a16:creationId xmlns:a16="http://schemas.microsoft.com/office/drawing/2014/main" id="{7F84B16C-B438-42E9-B73C-C9CF006429FD}"/>
              </a:ext>
            </a:extLst>
          </p:cNvPr>
          <p:cNvSpPr>
            <a:spLocks noGrp="1"/>
          </p:cNvSpPr>
          <p:nvPr>
            <p:ph type="title"/>
          </p:nvPr>
        </p:nvSpPr>
        <p:spPr>
          <a:xfrm>
            <a:off x="455994" y="252740"/>
            <a:ext cx="11303917" cy="813819"/>
          </a:xfrm>
        </p:spPr>
        <p:txBody>
          <a:bodyPr/>
          <a:lstStyle/>
          <a:p>
            <a:r>
              <a:rPr lang="en-US" dirty="0">
                <a:ea typeface="Calibri" panose="020F0502020204030204" pitchFamily="34" charset="0"/>
              </a:rPr>
              <a:t>Your options for building IoT solutions</a:t>
            </a:r>
            <a:endParaRPr lang="en-US" dirty="0">
              <a:latin typeface="Segoe UI Light" panose="020B0502040204020203" pitchFamily="34" charset="0"/>
              <a:cs typeface="Segoe UI Light" panose="020B0502040204020203" pitchFamily="34" charset="0"/>
            </a:endParaRPr>
          </a:p>
        </p:txBody>
      </p:sp>
      <p:sp>
        <p:nvSpPr>
          <p:cNvPr id="186" name="Title 1">
            <a:extLst>
              <a:ext uri="{FF2B5EF4-FFF2-40B4-BE49-F238E27FC236}">
                <a16:creationId xmlns:a16="http://schemas.microsoft.com/office/drawing/2014/main" id="{4051E31D-61FE-449A-80FC-8012B2BA9C85}"/>
              </a:ext>
            </a:extLst>
          </p:cNvPr>
          <p:cNvSpPr txBox="1">
            <a:spLocks/>
          </p:cNvSpPr>
          <p:nvPr/>
        </p:nvSpPr>
        <p:spPr>
          <a:xfrm>
            <a:off x="455994" y="719441"/>
            <a:ext cx="11303917" cy="468620"/>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49" normalizeH="0" baseline="0" noProof="0" dirty="0">
                <a:ln w="3175">
                  <a:noFill/>
                </a:ln>
                <a:gradFill>
                  <a:gsLst>
                    <a:gs pos="0">
                      <a:srgbClr val="000000"/>
                    </a:gs>
                    <a:gs pos="100000">
                      <a:srgbClr val="000000"/>
                    </a:gs>
                  </a:gsLst>
                  <a:lin ang="5400000" scaled="1"/>
                </a:gradFill>
                <a:effectLst/>
                <a:uLnTx/>
                <a:uFillTx/>
                <a:latin typeface="Segoe UI Semibold"/>
                <a:ea typeface="Calibri" panose="020F0502020204030204" pitchFamily="34" charset="0"/>
                <a:cs typeface="Segoe UI" pitchFamily="34" charset="0"/>
              </a:rPr>
              <a:t>Option 1. Build from the ground up with platform as a service options (Lego blocks) </a:t>
            </a:r>
            <a:endParaRPr kumimoji="0" lang="en-US" sz="2000" b="0" i="0" u="none" strike="noStrike" kern="1200" cap="none" spc="-49" normalizeH="0" baseline="0" noProof="0" dirty="0">
              <a:ln w="3175">
                <a:noFill/>
              </a:ln>
              <a:gradFill>
                <a:gsLst>
                  <a:gs pos="0">
                    <a:srgbClr val="000000"/>
                  </a:gs>
                  <a:gs pos="100000">
                    <a:srgbClr val="000000"/>
                  </a:gs>
                </a:gsLst>
                <a:lin ang="5400000" scaled="1"/>
              </a:gradFill>
              <a:effectLst/>
              <a:uLnTx/>
              <a:uFillTx/>
              <a:latin typeface="Segoe UI Light" panose="020B0502040204020203" pitchFamily="34" charset="0"/>
              <a:ea typeface="+mn-ea"/>
              <a:cs typeface="Segoe UI Light" panose="020B0502040204020203" pitchFamily="34" charset="0"/>
            </a:endParaRPr>
          </a:p>
        </p:txBody>
      </p:sp>
      <p:grpSp>
        <p:nvGrpSpPr>
          <p:cNvPr id="201" name="Group 200">
            <a:extLst>
              <a:ext uri="{FF2B5EF4-FFF2-40B4-BE49-F238E27FC236}">
                <a16:creationId xmlns:a16="http://schemas.microsoft.com/office/drawing/2014/main" id="{56B68C2E-A1A5-4B3B-9729-A5394324DCAC}"/>
              </a:ext>
            </a:extLst>
          </p:cNvPr>
          <p:cNvGrpSpPr/>
          <p:nvPr/>
        </p:nvGrpSpPr>
        <p:grpSpPr>
          <a:xfrm>
            <a:off x="55402" y="1171162"/>
            <a:ext cx="12105100" cy="785353"/>
            <a:chOff x="76016" y="1047480"/>
            <a:chExt cx="12105100" cy="785353"/>
          </a:xfrm>
        </p:grpSpPr>
        <p:sp>
          <p:nvSpPr>
            <p:cNvPr id="202" name="Arrow: Pentagon 201">
              <a:extLst>
                <a:ext uri="{FF2B5EF4-FFF2-40B4-BE49-F238E27FC236}">
                  <a16:creationId xmlns:a16="http://schemas.microsoft.com/office/drawing/2014/main" id="{03FA57EB-AB98-4DB9-9338-1043CFB86612}"/>
                </a:ext>
              </a:extLst>
            </p:cNvPr>
            <p:cNvSpPr/>
            <p:nvPr/>
          </p:nvSpPr>
          <p:spPr bwMode="auto">
            <a:xfrm>
              <a:off x="8100147" y="1047480"/>
              <a:ext cx="4080969" cy="783368"/>
            </a:xfrm>
            <a:prstGeom prst="homePlat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205" name="Arrow: Pentagon 204">
              <a:extLst>
                <a:ext uri="{FF2B5EF4-FFF2-40B4-BE49-F238E27FC236}">
                  <a16:creationId xmlns:a16="http://schemas.microsoft.com/office/drawing/2014/main" id="{2D2F4D23-4FCD-40B7-BE8D-1D0AB0DE09AE}"/>
                </a:ext>
              </a:extLst>
            </p:cNvPr>
            <p:cNvSpPr/>
            <p:nvPr/>
          </p:nvSpPr>
          <p:spPr bwMode="auto">
            <a:xfrm>
              <a:off x="3426501" y="1048827"/>
              <a:ext cx="5397770" cy="784006"/>
            </a:xfrm>
            <a:prstGeom prst="homePlat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206" name="Arrow: Pentagon 205">
              <a:extLst>
                <a:ext uri="{FF2B5EF4-FFF2-40B4-BE49-F238E27FC236}">
                  <a16:creationId xmlns:a16="http://schemas.microsoft.com/office/drawing/2014/main" id="{5E5E099F-DDC8-4919-B5E5-EF4FD776593C}"/>
                </a:ext>
              </a:extLst>
            </p:cNvPr>
            <p:cNvSpPr/>
            <p:nvPr/>
          </p:nvSpPr>
          <p:spPr bwMode="auto">
            <a:xfrm>
              <a:off x="76016" y="1048624"/>
              <a:ext cx="3730394" cy="783368"/>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grpSp>
          <p:nvGrpSpPr>
            <p:cNvPr id="207" name="Group 206">
              <a:extLst>
                <a:ext uri="{FF2B5EF4-FFF2-40B4-BE49-F238E27FC236}">
                  <a16:creationId xmlns:a16="http://schemas.microsoft.com/office/drawing/2014/main" id="{A7BF5811-4CA5-4AF0-9E94-D944E3DBF6C6}"/>
                </a:ext>
              </a:extLst>
            </p:cNvPr>
            <p:cNvGrpSpPr/>
            <p:nvPr/>
          </p:nvGrpSpPr>
          <p:grpSpPr>
            <a:xfrm>
              <a:off x="8673895" y="1100729"/>
              <a:ext cx="3320220" cy="636925"/>
              <a:chOff x="7922517" y="4588193"/>
              <a:chExt cx="2892514" cy="636925"/>
            </a:xfrm>
          </p:grpSpPr>
          <p:sp>
            <p:nvSpPr>
              <p:cNvPr id="214" name="TextBox 213">
                <a:extLst>
                  <a:ext uri="{FF2B5EF4-FFF2-40B4-BE49-F238E27FC236}">
                    <a16:creationId xmlns:a16="http://schemas.microsoft.com/office/drawing/2014/main" id="{A3D0EB8B-4C54-4396-9C3B-85102F8FEBC7}"/>
                  </a:ext>
                </a:extLst>
              </p:cNvPr>
              <p:cNvSpPr txBox="1"/>
              <p:nvPr/>
            </p:nvSpPr>
            <p:spPr>
              <a:xfrm>
                <a:off x="8053522" y="4837704"/>
                <a:ext cx="2576970" cy="38741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Optimize operations, increase profitability, &amp; create more compelling business models</a:t>
                </a:r>
              </a:p>
            </p:txBody>
          </p:sp>
          <p:sp>
            <p:nvSpPr>
              <p:cNvPr id="215" name="TextBox 214">
                <a:extLst>
                  <a:ext uri="{FF2B5EF4-FFF2-40B4-BE49-F238E27FC236}">
                    <a16:creationId xmlns:a16="http://schemas.microsoft.com/office/drawing/2014/main" id="{4E8C06AB-9826-48A4-95B0-6633C6AF6407}"/>
                  </a:ext>
                </a:extLst>
              </p:cNvPr>
              <p:cNvSpPr txBox="1"/>
              <p:nvPr/>
            </p:nvSpPr>
            <p:spPr>
              <a:xfrm>
                <a:off x="7922517" y="4588193"/>
                <a:ext cx="2892514" cy="207942"/>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ACTION</a:t>
                </a:r>
              </a:p>
            </p:txBody>
          </p:sp>
        </p:grpSp>
        <p:grpSp>
          <p:nvGrpSpPr>
            <p:cNvPr id="208" name="Group 207">
              <a:extLst>
                <a:ext uri="{FF2B5EF4-FFF2-40B4-BE49-F238E27FC236}">
                  <a16:creationId xmlns:a16="http://schemas.microsoft.com/office/drawing/2014/main" id="{DB2C7267-A011-4D41-A874-9B239441E765}"/>
                </a:ext>
              </a:extLst>
            </p:cNvPr>
            <p:cNvGrpSpPr/>
            <p:nvPr/>
          </p:nvGrpSpPr>
          <p:grpSpPr>
            <a:xfrm>
              <a:off x="4295017" y="1099369"/>
              <a:ext cx="3764034" cy="501473"/>
              <a:chOff x="2333581" y="4589739"/>
              <a:chExt cx="2589205" cy="430312"/>
            </a:xfrm>
          </p:grpSpPr>
          <p:sp>
            <p:nvSpPr>
              <p:cNvPr id="212" name="TextBox 211">
                <a:extLst>
                  <a:ext uri="{FF2B5EF4-FFF2-40B4-BE49-F238E27FC236}">
                    <a16:creationId xmlns:a16="http://schemas.microsoft.com/office/drawing/2014/main" id="{0C8F8F5F-AE24-401A-AC9A-9B841C37934D}"/>
                  </a:ext>
                </a:extLst>
              </p:cNvPr>
              <p:cNvSpPr txBox="1"/>
              <p:nvPr/>
            </p:nvSpPr>
            <p:spPr>
              <a:xfrm>
                <a:off x="2468907" y="4861920"/>
                <a:ext cx="2414566" cy="158131"/>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Identify patterns in data, automate rules &amp; alerts </a:t>
                </a:r>
              </a:p>
            </p:txBody>
          </p:sp>
          <p:sp>
            <p:nvSpPr>
              <p:cNvPr id="213" name="TextBox 212">
                <a:extLst>
                  <a:ext uri="{FF2B5EF4-FFF2-40B4-BE49-F238E27FC236}">
                    <a16:creationId xmlns:a16="http://schemas.microsoft.com/office/drawing/2014/main" id="{6B586FB3-6379-4B06-8142-54B665622777}"/>
                  </a:ext>
                </a:extLst>
              </p:cNvPr>
              <p:cNvSpPr txBox="1"/>
              <p:nvPr/>
            </p:nvSpPr>
            <p:spPr>
              <a:xfrm>
                <a:off x="2333581" y="4589739"/>
                <a:ext cx="2589205" cy="178434"/>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INSIGHTS</a:t>
                </a:r>
              </a:p>
            </p:txBody>
          </p:sp>
        </p:grpSp>
        <p:grpSp>
          <p:nvGrpSpPr>
            <p:cNvPr id="209" name="Group 208">
              <a:extLst>
                <a:ext uri="{FF2B5EF4-FFF2-40B4-BE49-F238E27FC236}">
                  <a16:creationId xmlns:a16="http://schemas.microsoft.com/office/drawing/2014/main" id="{5D05E5FE-388A-4DF5-B658-CBF0773E5394}"/>
                </a:ext>
              </a:extLst>
            </p:cNvPr>
            <p:cNvGrpSpPr/>
            <p:nvPr/>
          </p:nvGrpSpPr>
          <p:grpSpPr>
            <a:xfrm>
              <a:off x="181188" y="1102030"/>
              <a:ext cx="3540081" cy="646116"/>
              <a:chOff x="2333581" y="4589739"/>
              <a:chExt cx="2589205" cy="657187"/>
            </a:xfrm>
          </p:grpSpPr>
          <p:sp>
            <p:nvSpPr>
              <p:cNvPr id="210" name="TextBox 209">
                <a:extLst>
                  <a:ext uri="{FF2B5EF4-FFF2-40B4-BE49-F238E27FC236}">
                    <a16:creationId xmlns:a16="http://schemas.microsoft.com/office/drawing/2014/main" id="{BBEF1EB2-B313-48B0-B9EA-7D57948A546D}"/>
                  </a:ext>
                </a:extLst>
              </p:cNvPr>
              <p:cNvSpPr txBox="1"/>
              <p:nvPr/>
            </p:nvSpPr>
            <p:spPr>
              <a:xfrm>
                <a:off x="2748028" y="4852874"/>
                <a:ext cx="1764975" cy="394052"/>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Gain real time insights and improve business processes</a:t>
                </a:r>
              </a:p>
            </p:txBody>
          </p:sp>
          <p:sp>
            <p:nvSpPr>
              <p:cNvPr id="211" name="TextBox 210">
                <a:extLst>
                  <a:ext uri="{FF2B5EF4-FFF2-40B4-BE49-F238E27FC236}">
                    <a16:creationId xmlns:a16="http://schemas.microsoft.com/office/drawing/2014/main" id="{41CAF5AF-062A-40C4-B6E9-40565FA9DF63}"/>
                  </a:ext>
                </a:extLst>
              </p:cNvPr>
              <p:cNvSpPr txBox="1"/>
              <p:nvPr/>
            </p:nvSpPr>
            <p:spPr>
              <a:xfrm>
                <a:off x="2333581" y="4589739"/>
                <a:ext cx="2589205" cy="211505"/>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sym typeface="Segoe UI Semibold"/>
                  </a:rPr>
                  <a:t>THINGS</a:t>
                </a:r>
              </a:p>
            </p:txBody>
          </p:sp>
        </p:grpSp>
      </p:grpSp>
    </p:spTree>
    <p:extLst>
      <p:ext uri="{BB962C8B-B14F-4D97-AF65-F5344CB8AC3E}">
        <p14:creationId xmlns:p14="http://schemas.microsoft.com/office/powerpoint/2010/main" val="380333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7"/>
                                        </p:tgtEl>
                                        <p:attrNameLst>
                                          <p:attrName>style.visibility</p:attrName>
                                        </p:attrNameLst>
                                      </p:cBhvr>
                                      <p:to>
                                        <p:strVal val="visible"/>
                                      </p:to>
                                    </p:set>
                                    <p:animEffect transition="in" filter="fade">
                                      <p:cBhvr>
                                        <p:cTn id="12" dur="500"/>
                                        <p:tgtEl>
                                          <p:spTgt spid="23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226"/>
                                        </p:tgtEl>
                                        <p:attrNameLst>
                                          <p:attrName>style.visibility</p:attrName>
                                        </p:attrNameLst>
                                      </p:cBhvr>
                                      <p:to>
                                        <p:strVal val="visible"/>
                                      </p:to>
                                    </p:set>
                                    <p:animEffect transition="in" filter="fade">
                                      <p:cBhvr>
                                        <p:cTn id="21" dur="500"/>
                                        <p:tgtEl>
                                          <p:spTgt spid="226"/>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228"/>
                                        </p:tgtEl>
                                        <p:attrNameLst>
                                          <p:attrName>style.visibility</p:attrName>
                                        </p:attrNameLst>
                                      </p:cBhvr>
                                      <p:to>
                                        <p:strVal val="visible"/>
                                      </p:to>
                                    </p:set>
                                    <p:animEffect transition="in" filter="fade">
                                      <p:cBhvr>
                                        <p:cTn id="25" dur="500"/>
                                        <p:tgtEl>
                                          <p:spTgt spid="228"/>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234"/>
                                        </p:tgtEl>
                                        <p:attrNameLst>
                                          <p:attrName>style.visibility</p:attrName>
                                        </p:attrNameLst>
                                      </p:cBhvr>
                                      <p:to>
                                        <p:strVal val="visible"/>
                                      </p:to>
                                    </p:set>
                                    <p:animEffect transition="in" filter="fade">
                                      <p:cBhvr>
                                        <p:cTn id="29" dur="500"/>
                                        <p:tgtEl>
                                          <p:spTgt spid="234"/>
                                        </p:tgtEl>
                                      </p:cBhvr>
                                    </p:animEffect>
                                  </p:childTnLst>
                                </p:cTn>
                              </p:par>
                            </p:childTnLst>
                          </p:cTn>
                        </p:par>
                        <p:par>
                          <p:cTn id="30" fill="hold">
                            <p:stCondLst>
                              <p:cond delay="2000"/>
                            </p:stCondLst>
                            <p:childTnLst>
                              <p:par>
                                <p:cTn id="31" presetID="10" presetClass="entr" presetSubtype="0" fill="hold" nodeType="afterEffect">
                                  <p:stCondLst>
                                    <p:cond delay="0"/>
                                  </p:stCondLst>
                                  <p:childTnLst>
                                    <p:set>
                                      <p:cBhvr>
                                        <p:cTn id="32" dur="1" fill="hold">
                                          <p:stCondLst>
                                            <p:cond delay="0"/>
                                          </p:stCondLst>
                                        </p:cTn>
                                        <p:tgtEl>
                                          <p:spTgt spid="230"/>
                                        </p:tgtEl>
                                        <p:attrNameLst>
                                          <p:attrName>style.visibility</p:attrName>
                                        </p:attrNameLst>
                                      </p:cBhvr>
                                      <p:to>
                                        <p:strVal val="visible"/>
                                      </p:to>
                                    </p:set>
                                    <p:animEffect transition="in" filter="fade">
                                      <p:cBhvr>
                                        <p:cTn id="33" dur="500"/>
                                        <p:tgtEl>
                                          <p:spTgt spid="230"/>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31"/>
                                        </p:tgtEl>
                                        <p:attrNameLst>
                                          <p:attrName>style.visibility</p:attrName>
                                        </p:attrNameLst>
                                      </p:cBhvr>
                                      <p:to>
                                        <p:strVal val="visible"/>
                                      </p:to>
                                    </p:set>
                                    <p:animEffect transition="in" filter="fade">
                                      <p:cBhvr>
                                        <p:cTn id="37" dur="500"/>
                                        <p:tgtEl>
                                          <p:spTgt spid="231"/>
                                        </p:tgtEl>
                                      </p:cBhvr>
                                    </p:animEffect>
                                  </p:childTnLst>
                                </p:cTn>
                              </p:par>
                            </p:childTnLst>
                          </p:cTn>
                        </p:par>
                        <p:par>
                          <p:cTn id="38" fill="hold">
                            <p:stCondLst>
                              <p:cond delay="3000"/>
                            </p:stCondLst>
                            <p:childTnLst>
                              <p:par>
                                <p:cTn id="39" presetID="10" presetClass="entr" presetSubtype="0" fill="hold" nodeType="afterEffect">
                                  <p:stCondLst>
                                    <p:cond delay="0"/>
                                  </p:stCondLst>
                                  <p:childTnLst>
                                    <p:set>
                                      <p:cBhvr>
                                        <p:cTn id="40" dur="1" fill="hold">
                                          <p:stCondLst>
                                            <p:cond delay="0"/>
                                          </p:stCondLst>
                                        </p:cTn>
                                        <p:tgtEl>
                                          <p:spTgt spid="233"/>
                                        </p:tgtEl>
                                        <p:attrNameLst>
                                          <p:attrName>style.visibility</p:attrName>
                                        </p:attrNameLst>
                                      </p:cBhvr>
                                      <p:to>
                                        <p:strVal val="visible"/>
                                      </p:to>
                                    </p:set>
                                    <p:animEffect transition="in" filter="fade">
                                      <p:cBhvr>
                                        <p:cTn id="41" dur="500"/>
                                        <p:tgtEl>
                                          <p:spTgt spid="233"/>
                                        </p:tgtEl>
                                      </p:cBhvr>
                                    </p:animEffect>
                                  </p:childTnLst>
                                </p:cTn>
                              </p:par>
                            </p:childTnLst>
                          </p:cTn>
                        </p:par>
                        <p:par>
                          <p:cTn id="42" fill="hold">
                            <p:stCondLst>
                              <p:cond delay="3500"/>
                            </p:stCondLst>
                            <p:childTnLst>
                              <p:par>
                                <p:cTn id="43" presetID="10" presetClass="entr" presetSubtype="0" fill="hold" nodeType="after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childTnLst>
                          </p:cTn>
                        </p:par>
                        <p:par>
                          <p:cTn id="46" fill="hold">
                            <p:stCondLst>
                              <p:cond delay="4000"/>
                            </p:stCondLst>
                            <p:childTnLst>
                              <p:par>
                                <p:cTn id="47" presetID="10" presetClass="entr" presetSubtype="0" fill="hold" nodeType="after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childTnLst>
                          </p:cTn>
                        </p:par>
                        <p:par>
                          <p:cTn id="50" fill="hold">
                            <p:stCondLst>
                              <p:cond delay="4500"/>
                            </p:stCondLst>
                            <p:childTnLst>
                              <p:par>
                                <p:cTn id="51" presetID="10" presetClass="entr" presetSubtype="0" fill="hold" nodeType="after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fade">
                                      <p:cBhvr>
                                        <p:cTn id="53" dur="500"/>
                                        <p:tgtEl>
                                          <p:spTgt spid="30"/>
                                        </p:tgtEl>
                                      </p:cBhvr>
                                    </p:animEffect>
                                  </p:childTnLst>
                                </p:cTn>
                              </p:par>
                            </p:childTnLst>
                          </p:cTn>
                        </p:par>
                        <p:par>
                          <p:cTn id="54" fill="hold">
                            <p:stCondLst>
                              <p:cond delay="5000"/>
                            </p:stCondLst>
                            <p:childTnLst>
                              <p:par>
                                <p:cTn id="55" presetID="10" presetClass="entr" presetSubtype="0" fill="hold" nodeType="afterEffect">
                                  <p:stCondLst>
                                    <p:cond delay="0"/>
                                  </p:stCondLst>
                                  <p:childTnLst>
                                    <p:set>
                                      <p:cBhvr>
                                        <p:cTn id="56" dur="1" fill="hold">
                                          <p:stCondLst>
                                            <p:cond delay="0"/>
                                          </p:stCondLst>
                                        </p:cTn>
                                        <p:tgtEl>
                                          <p:spTgt spid="227"/>
                                        </p:tgtEl>
                                        <p:attrNameLst>
                                          <p:attrName>style.visibility</p:attrName>
                                        </p:attrNameLst>
                                      </p:cBhvr>
                                      <p:to>
                                        <p:strVal val="visible"/>
                                      </p:to>
                                    </p:set>
                                    <p:animEffect transition="in" filter="fade">
                                      <p:cBhvr>
                                        <p:cTn id="57" dur="500"/>
                                        <p:tgtEl>
                                          <p:spTgt spid="227"/>
                                        </p:tgtEl>
                                      </p:cBhvr>
                                    </p:animEffect>
                                  </p:childTnLst>
                                </p:cTn>
                              </p:par>
                            </p:childTnLst>
                          </p:cTn>
                        </p:par>
                        <p:par>
                          <p:cTn id="58" fill="hold">
                            <p:stCondLst>
                              <p:cond delay="5500"/>
                            </p:stCondLst>
                            <p:childTnLst>
                              <p:par>
                                <p:cTn id="59" presetID="10" presetClass="entr" presetSubtype="0" fill="hold" nodeType="afterEffect">
                                  <p:stCondLst>
                                    <p:cond delay="0"/>
                                  </p:stCondLst>
                                  <p:childTnLst>
                                    <p:set>
                                      <p:cBhvr>
                                        <p:cTn id="60" dur="1" fill="hold">
                                          <p:stCondLst>
                                            <p:cond delay="0"/>
                                          </p:stCondLst>
                                        </p:cTn>
                                        <p:tgtEl>
                                          <p:spTgt spid="229"/>
                                        </p:tgtEl>
                                        <p:attrNameLst>
                                          <p:attrName>style.visibility</p:attrName>
                                        </p:attrNameLst>
                                      </p:cBhvr>
                                      <p:to>
                                        <p:strVal val="visible"/>
                                      </p:to>
                                    </p:set>
                                    <p:animEffect transition="in" filter="fade">
                                      <p:cBhvr>
                                        <p:cTn id="61" dur="500"/>
                                        <p:tgtEl>
                                          <p:spTgt spid="229"/>
                                        </p:tgtEl>
                                      </p:cBhvr>
                                    </p:animEffect>
                                  </p:childTnLst>
                                </p:cTn>
                              </p:par>
                            </p:childTnLst>
                          </p:cTn>
                        </p:par>
                        <p:par>
                          <p:cTn id="62" fill="hold">
                            <p:stCondLst>
                              <p:cond delay="6000"/>
                            </p:stCondLst>
                            <p:childTnLst>
                              <p:par>
                                <p:cTn id="63" presetID="10" presetClass="entr" presetSubtype="0" fill="hold" nodeType="afterEffect">
                                  <p:stCondLst>
                                    <p:cond delay="0"/>
                                  </p:stCondLst>
                                  <p:childTnLst>
                                    <p:set>
                                      <p:cBhvr>
                                        <p:cTn id="64" dur="1" fill="hold">
                                          <p:stCondLst>
                                            <p:cond delay="0"/>
                                          </p:stCondLst>
                                        </p:cTn>
                                        <p:tgtEl>
                                          <p:spTgt spid="232"/>
                                        </p:tgtEl>
                                        <p:attrNameLst>
                                          <p:attrName>style.visibility</p:attrName>
                                        </p:attrNameLst>
                                      </p:cBhvr>
                                      <p:to>
                                        <p:strVal val="visible"/>
                                      </p:to>
                                    </p:set>
                                    <p:animEffect transition="in" filter="fade">
                                      <p:cBhvr>
                                        <p:cTn id="65" dur="500"/>
                                        <p:tgtEl>
                                          <p:spTgt spid="2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3154507"/>
            <a:ext cx="9339516" cy="548985"/>
          </a:xfrm>
        </p:spPr>
        <p:txBody>
          <a:bodyPr/>
          <a:lstStyle/>
          <a:p>
            <a:r>
              <a:rPr lang="en-US" sz="4400" dirty="0">
                <a:gradFill>
                  <a:gsLst>
                    <a:gs pos="0">
                      <a:schemeClr val="accent5"/>
                    </a:gs>
                    <a:gs pos="100000">
                      <a:schemeClr val="accent4"/>
                    </a:gs>
                  </a:gsLst>
                  <a:lin ang="2700000" scaled="1"/>
                </a:gradFill>
              </a:rPr>
              <a:t>IoT data overview</a:t>
            </a:r>
          </a:p>
        </p:txBody>
      </p:sp>
    </p:spTree>
    <p:extLst>
      <p:ext uri="{BB962C8B-B14F-4D97-AF65-F5344CB8AC3E}">
        <p14:creationId xmlns:p14="http://schemas.microsoft.com/office/powerpoint/2010/main" val="1835031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2.5E-6 0 L -2.5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068A2C7-E7F4-45F3-9E26-4E18B4F7051B}"/>
              </a:ext>
            </a:extLst>
          </p:cNvPr>
          <p:cNvSpPr txBox="1">
            <a:spLocks noGrp="1"/>
          </p:cNvSpPr>
          <p:nvPr>
            <p:ph type="title"/>
          </p:nvPr>
        </p:nvSpPr>
        <p:spPr/>
        <p:txBody>
          <a:bodyPr anchor="ctr">
            <a:normAutofit fontScale="90000"/>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accent1">
                    <a:lumMod val="50000"/>
                  </a:schemeClr>
                </a:solidFill>
              </a:rPr>
              <a:t>IoT Solution Architecture</a:t>
            </a:r>
          </a:p>
        </p:txBody>
      </p:sp>
      <p:sp>
        <p:nvSpPr>
          <p:cNvPr id="135" name="Rectangle 134">
            <a:extLst>
              <a:ext uri="{FF2B5EF4-FFF2-40B4-BE49-F238E27FC236}">
                <a16:creationId xmlns:a16="http://schemas.microsoft.com/office/drawing/2014/main" id="{E0C3AE10-3D51-4313-B975-854380173D56}"/>
              </a:ext>
            </a:extLst>
          </p:cNvPr>
          <p:cNvSpPr/>
          <p:nvPr/>
        </p:nvSpPr>
        <p:spPr bwMode="auto">
          <a:xfrm>
            <a:off x="748738" y="1373367"/>
            <a:ext cx="3029626"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endParaRPr lang="en-US" sz="16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endParaRPr>
          </a:p>
        </p:txBody>
      </p:sp>
      <p:sp>
        <p:nvSpPr>
          <p:cNvPr id="136" name="Rectangle 135">
            <a:extLst>
              <a:ext uri="{FF2B5EF4-FFF2-40B4-BE49-F238E27FC236}">
                <a16:creationId xmlns:a16="http://schemas.microsoft.com/office/drawing/2014/main" id="{BCFF9854-DEC6-455D-AC14-572C10785217}"/>
              </a:ext>
            </a:extLst>
          </p:cNvPr>
          <p:cNvSpPr/>
          <p:nvPr/>
        </p:nvSpPr>
        <p:spPr bwMode="auto">
          <a:xfrm>
            <a:off x="3954164" y="1373366"/>
            <a:ext cx="4362780"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endParaRPr lang="en-US" sz="16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endParaRPr>
          </a:p>
        </p:txBody>
      </p:sp>
      <p:sp>
        <p:nvSpPr>
          <p:cNvPr id="137" name="Rectangle 136">
            <a:extLst>
              <a:ext uri="{FF2B5EF4-FFF2-40B4-BE49-F238E27FC236}">
                <a16:creationId xmlns:a16="http://schemas.microsoft.com/office/drawing/2014/main" id="{ECAB46E6-F32B-4A12-B5A3-56B6CD2C7BC2}"/>
              </a:ext>
            </a:extLst>
          </p:cNvPr>
          <p:cNvSpPr/>
          <p:nvPr/>
        </p:nvSpPr>
        <p:spPr bwMode="auto">
          <a:xfrm>
            <a:off x="8504464" y="1373366"/>
            <a:ext cx="3029626"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endParaRPr lang="en-US" sz="16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endParaRPr>
          </a:p>
        </p:txBody>
      </p:sp>
      <p:sp>
        <p:nvSpPr>
          <p:cNvPr id="138" name="Oval 137">
            <a:extLst>
              <a:ext uri="{FF2B5EF4-FFF2-40B4-BE49-F238E27FC236}">
                <a16:creationId xmlns:a16="http://schemas.microsoft.com/office/drawing/2014/main" id="{B9EC1AD9-411C-4B8C-A9AE-B615CF5713FE}"/>
              </a:ext>
            </a:extLst>
          </p:cNvPr>
          <p:cNvSpPr/>
          <p:nvPr/>
        </p:nvSpPr>
        <p:spPr bwMode="auto">
          <a:xfrm>
            <a:off x="3253896" y="3373173"/>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dirty="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Cloud Gateway (IoT Hub)</a:t>
            </a:r>
          </a:p>
        </p:txBody>
      </p:sp>
      <p:sp>
        <p:nvSpPr>
          <p:cNvPr id="139" name="Oval 138">
            <a:extLst>
              <a:ext uri="{FF2B5EF4-FFF2-40B4-BE49-F238E27FC236}">
                <a16:creationId xmlns:a16="http://schemas.microsoft.com/office/drawing/2014/main" id="{10ECFD9B-7064-44D1-B2AF-2BE12692FB06}"/>
              </a:ext>
            </a:extLst>
          </p:cNvPr>
          <p:cNvSpPr/>
          <p:nvPr/>
        </p:nvSpPr>
        <p:spPr bwMode="auto">
          <a:xfrm>
            <a:off x="6577986" y="3373172"/>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Stream Processing</a:t>
            </a:r>
          </a:p>
        </p:txBody>
      </p:sp>
      <p:sp>
        <p:nvSpPr>
          <p:cNvPr id="140" name="Oval 139">
            <a:extLst>
              <a:ext uri="{FF2B5EF4-FFF2-40B4-BE49-F238E27FC236}">
                <a16:creationId xmlns:a16="http://schemas.microsoft.com/office/drawing/2014/main" id="{29E2A4FF-451A-4F59-B402-1E586D48E02C}"/>
              </a:ext>
            </a:extLst>
          </p:cNvPr>
          <p:cNvSpPr/>
          <p:nvPr/>
        </p:nvSpPr>
        <p:spPr bwMode="auto">
          <a:xfrm>
            <a:off x="6577987" y="1928642"/>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UI &amp; reporting Tools</a:t>
            </a:r>
          </a:p>
        </p:txBody>
      </p:sp>
      <p:sp>
        <p:nvSpPr>
          <p:cNvPr id="141" name="Oval 140">
            <a:extLst>
              <a:ext uri="{FF2B5EF4-FFF2-40B4-BE49-F238E27FC236}">
                <a16:creationId xmlns:a16="http://schemas.microsoft.com/office/drawing/2014/main" id="{FC74A09C-FB4C-4113-A406-7FF928DDA654}"/>
              </a:ext>
            </a:extLst>
          </p:cNvPr>
          <p:cNvSpPr/>
          <p:nvPr/>
        </p:nvSpPr>
        <p:spPr bwMode="auto">
          <a:xfrm>
            <a:off x="9993090" y="3373171"/>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3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Business Integration</a:t>
            </a:r>
          </a:p>
        </p:txBody>
      </p:sp>
      <p:sp>
        <p:nvSpPr>
          <p:cNvPr id="142" name="Cylinder 141">
            <a:extLst>
              <a:ext uri="{FF2B5EF4-FFF2-40B4-BE49-F238E27FC236}">
                <a16:creationId xmlns:a16="http://schemas.microsoft.com/office/drawing/2014/main" id="{BE7722B3-885A-4D41-B4D8-D613A981F380}"/>
              </a:ext>
            </a:extLst>
          </p:cNvPr>
          <p:cNvSpPr/>
          <p:nvPr/>
        </p:nvSpPr>
        <p:spPr bwMode="auto">
          <a:xfrm>
            <a:off x="6327149" y="4745873"/>
            <a:ext cx="779703" cy="978550"/>
          </a:xfrm>
          <a:prstGeom prst="can">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Storage</a:t>
            </a:r>
          </a:p>
        </p:txBody>
      </p:sp>
      <p:cxnSp>
        <p:nvCxnSpPr>
          <p:cNvPr id="143" name="Connector: Elbow 142">
            <a:extLst>
              <a:ext uri="{FF2B5EF4-FFF2-40B4-BE49-F238E27FC236}">
                <a16:creationId xmlns:a16="http://schemas.microsoft.com/office/drawing/2014/main" id="{DF2D3681-8CDF-40F6-AF9A-0479812B857A}"/>
              </a:ext>
            </a:extLst>
          </p:cNvPr>
          <p:cNvCxnSpPr>
            <a:stCxn id="138" idx="6"/>
            <a:endCxn id="139" idx="2"/>
          </p:cNvCxnSpPr>
          <p:nvPr/>
        </p:nvCxnSpPr>
        <p:spPr>
          <a:xfrm flipV="1">
            <a:off x="4475709" y="3984079"/>
            <a:ext cx="2102277" cy="1"/>
          </a:xfrm>
          <a:prstGeom prst="bentConnector3">
            <a:avLst/>
          </a:prstGeom>
          <a:noFill/>
          <a:ln w="6350" cap="flat" cmpd="sng" algn="ctr">
            <a:solidFill>
              <a:sysClr val="windowText" lastClr="000000"/>
            </a:solidFill>
            <a:prstDash val="solid"/>
            <a:miter lim="800000"/>
            <a:headEnd type="none" w="lg" len="med"/>
            <a:tailEnd type="triangle"/>
          </a:ln>
          <a:effectLst/>
        </p:spPr>
      </p:cxnSp>
      <p:cxnSp>
        <p:nvCxnSpPr>
          <p:cNvPr id="144" name="Connector: Elbow 143">
            <a:extLst>
              <a:ext uri="{FF2B5EF4-FFF2-40B4-BE49-F238E27FC236}">
                <a16:creationId xmlns:a16="http://schemas.microsoft.com/office/drawing/2014/main" id="{63927075-A386-4CE8-B5BC-BED62D416890}"/>
              </a:ext>
            </a:extLst>
          </p:cNvPr>
          <p:cNvCxnSpPr>
            <a:cxnSpLocks/>
            <a:endCxn id="142" idx="2"/>
          </p:cNvCxnSpPr>
          <p:nvPr/>
        </p:nvCxnSpPr>
        <p:spPr>
          <a:xfrm>
            <a:off x="4387810" y="4300438"/>
            <a:ext cx="1939338" cy="934711"/>
          </a:xfrm>
          <a:prstGeom prst="bentConnector3">
            <a:avLst>
              <a:gd name="adj1" fmla="val 50000"/>
            </a:avLst>
          </a:prstGeom>
          <a:noFill/>
          <a:ln w="6350" cap="flat" cmpd="sng" algn="ctr">
            <a:solidFill>
              <a:sysClr val="windowText" lastClr="000000"/>
            </a:solidFill>
            <a:prstDash val="solid"/>
            <a:miter lim="800000"/>
            <a:headEnd type="none" w="lg" len="med"/>
            <a:tailEnd type="triangle"/>
          </a:ln>
          <a:effectLst/>
        </p:spPr>
      </p:cxnSp>
      <p:cxnSp>
        <p:nvCxnSpPr>
          <p:cNvPr id="145" name="Connector: Elbow 144">
            <a:extLst>
              <a:ext uri="{FF2B5EF4-FFF2-40B4-BE49-F238E27FC236}">
                <a16:creationId xmlns:a16="http://schemas.microsoft.com/office/drawing/2014/main" id="{27092EE8-798E-41C4-8667-6C1A10A50133}"/>
              </a:ext>
            </a:extLst>
          </p:cNvPr>
          <p:cNvCxnSpPr>
            <a:stCxn id="140" idx="4"/>
            <a:endCxn id="139" idx="0"/>
          </p:cNvCxnSpPr>
          <p:nvPr/>
        </p:nvCxnSpPr>
        <p:spPr>
          <a:xfrm rot="5400000">
            <a:off x="7077533" y="3261814"/>
            <a:ext cx="222718" cy="1"/>
          </a:xfrm>
          <a:prstGeom prst="bentConnector3">
            <a:avLst/>
          </a:prstGeom>
          <a:noFill/>
          <a:ln w="6350" cap="flat" cmpd="sng" algn="ctr">
            <a:solidFill>
              <a:sysClr val="windowText" lastClr="000000"/>
            </a:solidFill>
            <a:prstDash val="solid"/>
            <a:miter lim="800000"/>
            <a:headEnd type="triangle"/>
            <a:tailEnd type="triangle"/>
          </a:ln>
          <a:effectLst/>
        </p:spPr>
      </p:cxnSp>
      <p:cxnSp>
        <p:nvCxnSpPr>
          <p:cNvPr id="146" name="Straight Arrow Connector 145">
            <a:extLst>
              <a:ext uri="{FF2B5EF4-FFF2-40B4-BE49-F238E27FC236}">
                <a16:creationId xmlns:a16="http://schemas.microsoft.com/office/drawing/2014/main" id="{3312919B-A5D5-4C33-BD04-43F814E76CDD}"/>
              </a:ext>
            </a:extLst>
          </p:cNvPr>
          <p:cNvCxnSpPr>
            <a:cxnSpLocks/>
            <a:endCxn id="142" idx="1"/>
          </p:cNvCxnSpPr>
          <p:nvPr/>
        </p:nvCxnSpPr>
        <p:spPr>
          <a:xfrm flipH="1">
            <a:off x="6716999" y="4519541"/>
            <a:ext cx="153906" cy="226332"/>
          </a:xfrm>
          <a:prstGeom prst="straightConnector1">
            <a:avLst/>
          </a:prstGeom>
          <a:noFill/>
          <a:ln w="6350" cap="flat" cmpd="sng" algn="ctr">
            <a:solidFill>
              <a:sysClr val="windowText" lastClr="000000"/>
            </a:solidFill>
            <a:prstDash val="solid"/>
            <a:miter lim="800000"/>
            <a:headEnd type="none" w="lg" len="med"/>
            <a:tailEnd type="triangle"/>
          </a:ln>
          <a:effectLst/>
        </p:spPr>
      </p:cxnSp>
      <p:cxnSp>
        <p:nvCxnSpPr>
          <p:cNvPr id="147" name="Straight Arrow Connector 146">
            <a:extLst>
              <a:ext uri="{FF2B5EF4-FFF2-40B4-BE49-F238E27FC236}">
                <a16:creationId xmlns:a16="http://schemas.microsoft.com/office/drawing/2014/main" id="{A1D69802-69D7-422A-8C66-F1FED57DACF4}"/>
              </a:ext>
            </a:extLst>
          </p:cNvPr>
          <p:cNvCxnSpPr>
            <a:stCxn id="139" idx="6"/>
            <a:endCxn id="141" idx="2"/>
          </p:cNvCxnSpPr>
          <p:nvPr/>
        </p:nvCxnSpPr>
        <p:spPr>
          <a:xfrm flipV="1">
            <a:off x="7799798" y="3984078"/>
            <a:ext cx="2193292" cy="1"/>
          </a:xfrm>
          <a:prstGeom prst="straightConnector1">
            <a:avLst/>
          </a:prstGeom>
          <a:noFill/>
          <a:ln w="6350" cap="flat" cmpd="sng" algn="ctr">
            <a:solidFill>
              <a:sysClr val="windowText" lastClr="000000"/>
            </a:solidFill>
            <a:prstDash val="solid"/>
            <a:miter lim="800000"/>
            <a:headEnd type="none" w="lg" len="med"/>
            <a:tailEnd type="triangle"/>
          </a:ln>
          <a:effectLst/>
        </p:spPr>
      </p:cxnSp>
      <p:cxnSp>
        <p:nvCxnSpPr>
          <p:cNvPr id="148" name="Connector: Elbow 147">
            <a:extLst>
              <a:ext uri="{FF2B5EF4-FFF2-40B4-BE49-F238E27FC236}">
                <a16:creationId xmlns:a16="http://schemas.microsoft.com/office/drawing/2014/main" id="{E12B9AE9-4113-4BB2-A845-CDAA870F1468}"/>
              </a:ext>
            </a:extLst>
          </p:cNvPr>
          <p:cNvCxnSpPr>
            <a:cxnSpLocks/>
            <a:stCxn id="141" idx="0"/>
            <a:endCxn id="140" idx="6"/>
          </p:cNvCxnSpPr>
          <p:nvPr/>
        </p:nvCxnSpPr>
        <p:spPr>
          <a:xfrm rot="16200000" flipV="1">
            <a:off x="8785086" y="1554260"/>
            <a:ext cx="833623" cy="2804198"/>
          </a:xfrm>
          <a:prstGeom prst="bentConnector2">
            <a:avLst/>
          </a:prstGeom>
          <a:noFill/>
          <a:ln w="6350" cap="flat" cmpd="sng" algn="ctr">
            <a:solidFill>
              <a:sysClr val="windowText" lastClr="000000"/>
            </a:solidFill>
            <a:prstDash val="solid"/>
            <a:miter lim="800000"/>
            <a:headEnd type="none" w="lg" len="med"/>
            <a:tailEnd type="triangle"/>
          </a:ln>
          <a:effectLst/>
        </p:spPr>
      </p:cxnSp>
      <p:cxnSp>
        <p:nvCxnSpPr>
          <p:cNvPr id="149" name="Connector: Elbow 148">
            <a:extLst>
              <a:ext uri="{FF2B5EF4-FFF2-40B4-BE49-F238E27FC236}">
                <a16:creationId xmlns:a16="http://schemas.microsoft.com/office/drawing/2014/main" id="{94F6561E-95D0-4896-8D5B-2B584EA95ABD}"/>
              </a:ext>
            </a:extLst>
          </p:cNvPr>
          <p:cNvCxnSpPr>
            <a:cxnSpLocks/>
            <a:stCxn id="142" idx="3"/>
            <a:endCxn id="141" idx="4"/>
          </p:cNvCxnSpPr>
          <p:nvPr/>
        </p:nvCxnSpPr>
        <p:spPr>
          <a:xfrm rot="5400000" flipH="1" flipV="1">
            <a:off x="8095777" y="3216205"/>
            <a:ext cx="1129440" cy="3886996"/>
          </a:xfrm>
          <a:prstGeom prst="bentConnector3">
            <a:avLst>
              <a:gd name="adj1" fmla="val -5448"/>
            </a:avLst>
          </a:prstGeom>
          <a:noFill/>
          <a:ln w="6350" cap="flat" cmpd="sng" algn="ctr">
            <a:solidFill>
              <a:sysClr val="windowText" lastClr="000000"/>
            </a:solidFill>
            <a:prstDash val="solid"/>
            <a:miter lim="800000"/>
            <a:headEnd type="none" w="lg" len="med"/>
            <a:tailEnd type="triangle"/>
          </a:ln>
          <a:effectLst/>
        </p:spPr>
      </p:cxnSp>
      <p:sp>
        <p:nvSpPr>
          <p:cNvPr id="150" name="Rectangle 149">
            <a:extLst>
              <a:ext uri="{FF2B5EF4-FFF2-40B4-BE49-F238E27FC236}">
                <a16:creationId xmlns:a16="http://schemas.microsoft.com/office/drawing/2014/main" id="{5B426BA5-89AD-4040-B0BD-5CF7A07C94F9}"/>
              </a:ext>
            </a:extLst>
          </p:cNvPr>
          <p:cNvSpPr/>
          <p:nvPr/>
        </p:nvSpPr>
        <p:spPr>
          <a:xfrm flipH="1">
            <a:off x="1015781" y="6235924"/>
            <a:ext cx="748603" cy="307648"/>
          </a:xfrm>
          <a:prstGeom prst="rect">
            <a:avLst/>
          </a:prstGeom>
          <a:noFill/>
        </p:spPr>
        <p:txBody>
          <a:bodyPr wrap="none" lIns="0" tIns="0" rIns="0" bIns="0" anchor="ctr">
            <a:spAutoFit/>
          </a:bodyPr>
          <a:lstStyle/>
          <a:p>
            <a:pPr algn="ctr" defTabSz="950776">
              <a:defRPr/>
            </a:pPr>
            <a:r>
              <a:rPr lang="en-US" sz="1999">
                <a:solidFill>
                  <a:prstClr val="black"/>
                </a:solidFill>
                <a:latin typeface="Segoe UI" panose="020B0502040204020203" pitchFamily="34" charset="0"/>
                <a:cs typeface="Segoe UI" panose="020B0502040204020203" pitchFamily="34" charset="0"/>
                <a:sym typeface="Segoe UI Semibold"/>
              </a:rPr>
              <a:t>Things</a:t>
            </a:r>
          </a:p>
        </p:txBody>
      </p:sp>
      <p:sp>
        <p:nvSpPr>
          <p:cNvPr id="151" name="Rectangle 150">
            <a:extLst>
              <a:ext uri="{FF2B5EF4-FFF2-40B4-BE49-F238E27FC236}">
                <a16:creationId xmlns:a16="http://schemas.microsoft.com/office/drawing/2014/main" id="{32BD5EAE-B11E-4694-9813-3CFF480DB395}"/>
              </a:ext>
            </a:extLst>
          </p:cNvPr>
          <p:cNvSpPr/>
          <p:nvPr/>
        </p:nvSpPr>
        <p:spPr>
          <a:xfrm flipH="1">
            <a:off x="4813988" y="6245900"/>
            <a:ext cx="878446" cy="307648"/>
          </a:xfrm>
          <a:prstGeom prst="rect">
            <a:avLst/>
          </a:prstGeom>
          <a:noFill/>
        </p:spPr>
        <p:txBody>
          <a:bodyPr wrap="none" lIns="0" tIns="0" rIns="0" bIns="0" anchor="ctr">
            <a:spAutoFit/>
          </a:bodyPr>
          <a:lstStyle/>
          <a:p>
            <a:pPr algn="ctr" defTabSz="950776">
              <a:defRPr/>
            </a:pPr>
            <a:r>
              <a:rPr lang="en-US" sz="1999">
                <a:solidFill>
                  <a:prstClr val="black"/>
                </a:solidFill>
                <a:latin typeface="Segoe UI" panose="020B0502040204020203" pitchFamily="34" charset="0"/>
                <a:cs typeface="Segoe UI" panose="020B0502040204020203" pitchFamily="34" charset="0"/>
                <a:sym typeface="Segoe UI Semibold"/>
              </a:rPr>
              <a:t>Insights</a:t>
            </a:r>
          </a:p>
        </p:txBody>
      </p:sp>
      <p:sp>
        <p:nvSpPr>
          <p:cNvPr id="152" name="Rectangle 151">
            <a:extLst>
              <a:ext uri="{FF2B5EF4-FFF2-40B4-BE49-F238E27FC236}">
                <a16:creationId xmlns:a16="http://schemas.microsoft.com/office/drawing/2014/main" id="{C2AD7EBF-8B6E-4796-BF9B-4EA2C28D7BAB}"/>
              </a:ext>
            </a:extLst>
          </p:cNvPr>
          <p:cNvSpPr/>
          <p:nvPr/>
        </p:nvSpPr>
        <p:spPr>
          <a:xfrm flipH="1">
            <a:off x="8812983" y="6235923"/>
            <a:ext cx="838371" cy="307648"/>
          </a:xfrm>
          <a:prstGeom prst="rect">
            <a:avLst/>
          </a:prstGeom>
          <a:noFill/>
        </p:spPr>
        <p:txBody>
          <a:bodyPr wrap="none" lIns="0" tIns="0" rIns="0" bIns="0" anchor="ctr">
            <a:spAutoFit/>
          </a:bodyPr>
          <a:lstStyle/>
          <a:p>
            <a:pPr algn="ctr" defTabSz="950776">
              <a:defRPr/>
            </a:pPr>
            <a:r>
              <a:rPr lang="en-US" sz="1999">
                <a:solidFill>
                  <a:prstClr val="black"/>
                </a:solidFill>
                <a:latin typeface="Segoe UI" panose="020B0502040204020203" pitchFamily="34" charset="0"/>
                <a:cs typeface="Segoe UI" panose="020B0502040204020203" pitchFamily="34" charset="0"/>
                <a:sym typeface="Segoe UI Semibold"/>
              </a:rPr>
              <a:t>Actions</a:t>
            </a:r>
          </a:p>
        </p:txBody>
      </p:sp>
      <p:sp>
        <p:nvSpPr>
          <p:cNvPr id="153" name="TextBox 152">
            <a:extLst>
              <a:ext uri="{FF2B5EF4-FFF2-40B4-BE49-F238E27FC236}">
                <a16:creationId xmlns:a16="http://schemas.microsoft.com/office/drawing/2014/main" id="{C1B276B6-D8BC-4B34-B7DD-52EF93432BB5}"/>
              </a:ext>
            </a:extLst>
          </p:cNvPr>
          <p:cNvSpPr txBox="1"/>
          <p:nvPr/>
        </p:nvSpPr>
        <p:spPr>
          <a:xfrm>
            <a:off x="5537401" y="5067393"/>
            <a:ext cx="585097" cy="153888"/>
          </a:xfrm>
          <a:prstGeom prst="rect">
            <a:avLst/>
          </a:prstGeom>
          <a:noFill/>
        </p:spPr>
        <p:txBody>
          <a:bodyPr wrap="non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Store data</a:t>
            </a:r>
          </a:p>
        </p:txBody>
      </p:sp>
      <p:sp>
        <p:nvSpPr>
          <p:cNvPr id="154" name="TextBox 153">
            <a:extLst>
              <a:ext uri="{FF2B5EF4-FFF2-40B4-BE49-F238E27FC236}">
                <a16:creationId xmlns:a16="http://schemas.microsoft.com/office/drawing/2014/main" id="{69920BC8-ADFF-4AC0-9A41-DAAC6CAFEB6A}"/>
              </a:ext>
            </a:extLst>
          </p:cNvPr>
          <p:cNvSpPr txBox="1"/>
          <p:nvPr/>
        </p:nvSpPr>
        <p:spPr>
          <a:xfrm>
            <a:off x="8641090" y="5594586"/>
            <a:ext cx="1768113" cy="153888"/>
          </a:xfrm>
          <a:prstGeom prst="rect">
            <a:avLst/>
          </a:prstGeom>
          <a:noFill/>
        </p:spPr>
        <p:txBody>
          <a:bodyPr wrap="non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Integrate with Business process</a:t>
            </a:r>
          </a:p>
        </p:txBody>
      </p:sp>
      <p:sp>
        <p:nvSpPr>
          <p:cNvPr id="155" name="TextBox 154">
            <a:extLst>
              <a:ext uri="{FF2B5EF4-FFF2-40B4-BE49-F238E27FC236}">
                <a16:creationId xmlns:a16="http://schemas.microsoft.com/office/drawing/2014/main" id="{971C44F7-0EFC-4B34-865B-0528BA79B0A3}"/>
              </a:ext>
            </a:extLst>
          </p:cNvPr>
          <p:cNvSpPr txBox="1"/>
          <p:nvPr/>
        </p:nvSpPr>
        <p:spPr>
          <a:xfrm>
            <a:off x="4701671" y="3590797"/>
            <a:ext cx="1511632" cy="307777"/>
          </a:xfrm>
          <a:prstGeom prst="rect">
            <a:avLst/>
          </a:prstGeom>
          <a:noFill/>
        </p:spPr>
        <p:txBody>
          <a:bodyPr wrap="non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Stream processing and</a:t>
            </a:r>
          </a:p>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rules evaluations over data</a:t>
            </a:r>
          </a:p>
        </p:txBody>
      </p:sp>
      <p:sp>
        <p:nvSpPr>
          <p:cNvPr id="156" name="TextBox 155">
            <a:extLst>
              <a:ext uri="{FF2B5EF4-FFF2-40B4-BE49-F238E27FC236}">
                <a16:creationId xmlns:a16="http://schemas.microsoft.com/office/drawing/2014/main" id="{A8AB43D5-FEBC-48D3-AB78-C7402E5B1D0D}"/>
              </a:ext>
            </a:extLst>
          </p:cNvPr>
          <p:cNvSpPr txBox="1"/>
          <p:nvPr/>
        </p:nvSpPr>
        <p:spPr>
          <a:xfrm>
            <a:off x="8700793" y="2568176"/>
            <a:ext cx="1570944" cy="153888"/>
          </a:xfrm>
          <a:prstGeom prst="rect">
            <a:avLst/>
          </a:prstGeom>
          <a:noFill/>
        </p:spPr>
        <p:txBody>
          <a:bodyPr wrap="non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Visualize data and learnings</a:t>
            </a:r>
          </a:p>
        </p:txBody>
      </p:sp>
      <p:cxnSp>
        <p:nvCxnSpPr>
          <p:cNvPr id="157" name="Connector: Elbow 156">
            <a:extLst>
              <a:ext uri="{FF2B5EF4-FFF2-40B4-BE49-F238E27FC236}">
                <a16:creationId xmlns:a16="http://schemas.microsoft.com/office/drawing/2014/main" id="{83879404-6F0D-4E81-A3E1-8A2379E42693}"/>
              </a:ext>
            </a:extLst>
          </p:cNvPr>
          <p:cNvCxnSpPr>
            <a:stCxn id="140" idx="2"/>
            <a:endCxn id="138" idx="7"/>
          </p:cNvCxnSpPr>
          <p:nvPr/>
        </p:nvCxnSpPr>
        <p:spPr>
          <a:xfrm rot="10800000" flipV="1">
            <a:off x="4296779" y="2539548"/>
            <a:ext cx="2281209" cy="1012555"/>
          </a:xfrm>
          <a:prstGeom prst="bentConnector2">
            <a:avLst/>
          </a:prstGeom>
          <a:noFill/>
          <a:ln w="6350" cap="flat" cmpd="sng" algn="ctr">
            <a:solidFill>
              <a:sysClr val="windowText" lastClr="000000"/>
            </a:solidFill>
            <a:prstDash val="solid"/>
            <a:miter lim="800000"/>
            <a:headEnd type="none" w="lg" len="med"/>
            <a:tailEnd type="triangle"/>
          </a:ln>
          <a:effectLst/>
        </p:spPr>
      </p:cxnSp>
      <p:sp>
        <p:nvSpPr>
          <p:cNvPr id="158" name="TextBox 157">
            <a:extLst>
              <a:ext uri="{FF2B5EF4-FFF2-40B4-BE49-F238E27FC236}">
                <a16:creationId xmlns:a16="http://schemas.microsoft.com/office/drawing/2014/main" id="{15EAF560-435D-45FB-A141-A03FD99BCF5D}"/>
              </a:ext>
            </a:extLst>
          </p:cNvPr>
          <p:cNvSpPr txBox="1"/>
          <p:nvPr/>
        </p:nvSpPr>
        <p:spPr>
          <a:xfrm>
            <a:off x="4736314" y="2342905"/>
            <a:ext cx="1242328" cy="153888"/>
          </a:xfrm>
          <a:prstGeom prst="rect">
            <a:avLst/>
          </a:prstGeom>
          <a:noFill/>
        </p:spPr>
        <p:txBody>
          <a:bodyPr wrap="non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Configure and control</a:t>
            </a:r>
          </a:p>
        </p:txBody>
      </p:sp>
      <p:cxnSp>
        <p:nvCxnSpPr>
          <p:cNvPr id="159" name="Connector: Elbow 158">
            <a:extLst>
              <a:ext uri="{FF2B5EF4-FFF2-40B4-BE49-F238E27FC236}">
                <a16:creationId xmlns:a16="http://schemas.microsoft.com/office/drawing/2014/main" id="{8B6AFF43-E541-4F9B-B0A9-7BDF367286C9}"/>
              </a:ext>
            </a:extLst>
          </p:cNvPr>
          <p:cNvCxnSpPr>
            <a:cxnSpLocks/>
            <a:stCxn id="160" idx="6"/>
          </p:cNvCxnSpPr>
          <p:nvPr/>
        </p:nvCxnSpPr>
        <p:spPr>
          <a:xfrm flipV="1">
            <a:off x="2806920" y="4594983"/>
            <a:ext cx="765166" cy="847490"/>
          </a:xfrm>
          <a:prstGeom prst="bentConnector2">
            <a:avLst/>
          </a:prstGeom>
          <a:noFill/>
          <a:ln w="6350" cap="flat" cmpd="sng" algn="ctr">
            <a:solidFill>
              <a:sysClr val="windowText" lastClr="000000"/>
            </a:solidFill>
            <a:prstDash val="solid"/>
            <a:miter lim="800000"/>
            <a:headEnd type="triangle"/>
            <a:tailEnd type="triangle"/>
          </a:ln>
          <a:effectLst/>
        </p:spPr>
      </p:cxnSp>
      <p:sp>
        <p:nvSpPr>
          <p:cNvPr id="160" name="Oval 159">
            <a:extLst>
              <a:ext uri="{FF2B5EF4-FFF2-40B4-BE49-F238E27FC236}">
                <a16:creationId xmlns:a16="http://schemas.microsoft.com/office/drawing/2014/main" id="{FF3BF54C-B025-42D6-B7DA-C7F8D5C88149}"/>
              </a:ext>
            </a:extLst>
          </p:cNvPr>
          <p:cNvSpPr/>
          <p:nvPr/>
        </p:nvSpPr>
        <p:spPr bwMode="auto">
          <a:xfrm>
            <a:off x="1748818" y="4913422"/>
            <a:ext cx="1058102" cy="1058102"/>
          </a:xfrm>
          <a:prstGeom prst="ellipse">
            <a:avLst/>
          </a:prstGeom>
          <a:solidFill>
            <a:srgbClr val="0078D4"/>
          </a:solidFill>
          <a:ln w="12700" cap="flat" cmpd="sng" algn="ctr">
            <a:solidFill>
              <a:sysClr val="window" lastClr="FFFFFF"/>
            </a:solid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IoT Devices</a:t>
            </a:r>
          </a:p>
        </p:txBody>
      </p:sp>
      <p:sp>
        <p:nvSpPr>
          <p:cNvPr id="161" name="TextBox 160">
            <a:extLst>
              <a:ext uri="{FF2B5EF4-FFF2-40B4-BE49-F238E27FC236}">
                <a16:creationId xmlns:a16="http://schemas.microsoft.com/office/drawing/2014/main" id="{1A3C109B-2929-47F4-A780-94EE16D5664A}"/>
              </a:ext>
            </a:extLst>
          </p:cNvPr>
          <p:cNvSpPr txBox="1"/>
          <p:nvPr/>
        </p:nvSpPr>
        <p:spPr>
          <a:xfrm>
            <a:off x="818723" y="5068119"/>
            <a:ext cx="921988" cy="769241"/>
          </a:xfrm>
          <a:prstGeom prst="rect">
            <a:avLst/>
          </a:prstGeom>
          <a:noFill/>
        </p:spPr>
        <p:txBody>
          <a:bodyPr wrap="square" lIns="0" tIns="0" rIns="0" bIns="0" rtlCol="0">
            <a:spAutoFit/>
          </a:bodyPr>
          <a:lstStyle/>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IP Capable devices</a:t>
            </a:r>
          </a:p>
          <a:p>
            <a:pPr algn="ctr" defTabSz="914126"/>
            <a:r>
              <a:rPr lang="en-US" sz="1000">
                <a:gradFill>
                  <a:gsLst>
                    <a:gs pos="2917">
                      <a:prstClr val="black"/>
                    </a:gs>
                    <a:gs pos="30000">
                      <a:prstClr val="black"/>
                    </a:gs>
                  </a:gsLst>
                  <a:lin ang="5400000" scaled="0"/>
                </a:gradFill>
                <a:latin typeface="Segoe UI" panose="020B0502040204020203" pitchFamily="34" charset="0"/>
                <a:cs typeface="Segoe UI" panose="020B0502040204020203" pitchFamily="34" charset="0"/>
                <a:sym typeface="Segoe UI Semibold"/>
              </a:rPr>
              <a:t>send data from devices to Cloud</a:t>
            </a:r>
          </a:p>
        </p:txBody>
      </p:sp>
      <p:sp>
        <p:nvSpPr>
          <p:cNvPr id="162" name="Cylinder 161">
            <a:extLst>
              <a:ext uri="{FF2B5EF4-FFF2-40B4-BE49-F238E27FC236}">
                <a16:creationId xmlns:a16="http://schemas.microsoft.com/office/drawing/2014/main" id="{AEF45AB7-F572-4C14-912F-E664985132B8}"/>
              </a:ext>
            </a:extLst>
          </p:cNvPr>
          <p:cNvSpPr/>
          <p:nvPr/>
        </p:nvSpPr>
        <p:spPr bwMode="auto">
          <a:xfrm>
            <a:off x="6327149" y="4745873"/>
            <a:ext cx="779703" cy="978550"/>
          </a:xfrm>
          <a:prstGeom prst="can">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kern="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Warm</a:t>
            </a:r>
          </a:p>
          <a:p>
            <a:pPr algn="ctr" defTabSz="932192" fontAlgn="base">
              <a:spcBef>
                <a:spcPct val="0"/>
              </a:spcBef>
              <a:spcAft>
                <a:spcPct val="0"/>
              </a:spcAft>
              <a:defRPr/>
            </a:pPr>
            <a:r>
              <a:rPr lang="en-US" sz="1400" kern="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Path store</a:t>
            </a:r>
          </a:p>
        </p:txBody>
      </p:sp>
      <p:sp>
        <p:nvSpPr>
          <p:cNvPr id="163" name="Cylinder 162">
            <a:extLst>
              <a:ext uri="{FF2B5EF4-FFF2-40B4-BE49-F238E27FC236}">
                <a16:creationId xmlns:a16="http://schemas.microsoft.com/office/drawing/2014/main" id="{720AEB84-8D6C-401B-8932-6254FDCEDDDC}"/>
              </a:ext>
            </a:extLst>
          </p:cNvPr>
          <p:cNvSpPr/>
          <p:nvPr/>
        </p:nvSpPr>
        <p:spPr bwMode="auto">
          <a:xfrm>
            <a:off x="7321376" y="4745872"/>
            <a:ext cx="779703" cy="978550"/>
          </a:xfrm>
          <a:prstGeom prst="can">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kern="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Cold</a:t>
            </a:r>
          </a:p>
          <a:p>
            <a:pPr algn="ctr" defTabSz="932192" fontAlgn="base">
              <a:spcBef>
                <a:spcPct val="0"/>
              </a:spcBef>
              <a:spcAft>
                <a:spcPct val="0"/>
              </a:spcAft>
              <a:defRPr/>
            </a:pPr>
            <a:r>
              <a:rPr lang="en-US" sz="1400" kern="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Path store</a:t>
            </a:r>
          </a:p>
        </p:txBody>
      </p:sp>
      <p:sp>
        <p:nvSpPr>
          <p:cNvPr id="164" name="Oval 163">
            <a:extLst>
              <a:ext uri="{FF2B5EF4-FFF2-40B4-BE49-F238E27FC236}">
                <a16:creationId xmlns:a16="http://schemas.microsoft.com/office/drawing/2014/main" id="{D9579969-42AF-42BB-B1A1-1DEB31744609}"/>
              </a:ext>
            </a:extLst>
          </p:cNvPr>
          <p:cNvSpPr/>
          <p:nvPr/>
        </p:nvSpPr>
        <p:spPr bwMode="auto">
          <a:xfrm>
            <a:off x="4614722" y="4361337"/>
            <a:ext cx="1463438" cy="687851"/>
          </a:xfrm>
          <a:prstGeom prst="ellipse">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200" kern="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Data Transformation</a:t>
            </a:r>
          </a:p>
        </p:txBody>
      </p:sp>
      <p:sp>
        <p:nvSpPr>
          <p:cNvPr id="165" name="Oval 164">
            <a:extLst>
              <a:ext uri="{FF2B5EF4-FFF2-40B4-BE49-F238E27FC236}">
                <a16:creationId xmlns:a16="http://schemas.microsoft.com/office/drawing/2014/main" id="{28E1089B-ED5A-46F5-9E45-992CABEF1D0B}"/>
              </a:ext>
            </a:extLst>
          </p:cNvPr>
          <p:cNvSpPr/>
          <p:nvPr/>
        </p:nvSpPr>
        <p:spPr bwMode="auto">
          <a:xfrm>
            <a:off x="8700133" y="4265013"/>
            <a:ext cx="1221813" cy="1221813"/>
          </a:xfrm>
          <a:prstGeom prst="ellipse">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Machine Learning</a:t>
            </a:r>
          </a:p>
        </p:txBody>
      </p:sp>
      <p:cxnSp>
        <p:nvCxnSpPr>
          <p:cNvPr id="166" name="Straight Arrow Connector 165">
            <a:extLst>
              <a:ext uri="{FF2B5EF4-FFF2-40B4-BE49-F238E27FC236}">
                <a16:creationId xmlns:a16="http://schemas.microsoft.com/office/drawing/2014/main" id="{AD334FCF-C151-4E35-A183-C583E0BE809A}"/>
              </a:ext>
            </a:extLst>
          </p:cNvPr>
          <p:cNvCxnSpPr>
            <a:cxnSpLocks/>
          </p:cNvCxnSpPr>
          <p:nvPr/>
        </p:nvCxnSpPr>
        <p:spPr>
          <a:xfrm>
            <a:off x="7499562" y="4532004"/>
            <a:ext cx="211665" cy="213869"/>
          </a:xfrm>
          <a:prstGeom prst="straightConnector1">
            <a:avLst/>
          </a:prstGeom>
          <a:noFill/>
          <a:ln w="6350" cap="flat" cmpd="sng" algn="ctr">
            <a:solidFill>
              <a:sysClr val="windowText" lastClr="000000"/>
            </a:solidFill>
            <a:prstDash val="solid"/>
            <a:miter lim="800000"/>
            <a:headEnd type="none" w="lg" len="med"/>
            <a:tailEnd type="triangle"/>
          </a:ln>
          <a:effectLst/>
        </p:spPr>
      </p:cxnSp>
      <p:cxnSp>
        <p:nvCxnSpPr>
          <p:cNvPr id="167" name="Straight Arrow Connector 166">
            <a:extLst>
              <a:ext uri="{FF2B5EF4-FFF2-40B4-BE49-F238E27FC236}">
                <a16:creationId xmlns:a16="http://schemas.microsoft.com/office/drawing/2014/main" id="{A2112EB5-4DE4-42C8-8ADB-17B728DF6688}"/>
              </a:ext>
            </a:extLst>
          </p:cNvPr>
          <p:cNvCxnSpPr>
            <a:cxnSpLocks/>
          </p:cNvCxnSpPr>
          <p:nvPr/>
        </p:nvCxnSpPr>
        <p:spPr>
          <a:xfrm flipH="1">
            <a:off x="8101078" y="4875919"/>
            <a:ext cx="599054" cy="359228"/>
          </a:xfrm>
          <a:prstGeom prst="straightConnector1">
            <a:avLst/>
          </a:prstGeom>
          <a:noFill/>
          <a:ln w="6350" cap="flat" cmpd="sng" algn="ctr">
            <a:solidFill>
              <a:sysClr val="windowText" lastClr="000000"/>
            </a:solidFill>
            <a:prstDash val="solid"/>
            <a:miter lim="800000"/>
            <a:headEnd type="triangle"/>
            <a:tailEnd type="triangle"/>
          </a:ln>
          <a:effectLst/>
        </p:spPr>
      </p:cxnSp>
      <p:grpSp>
        <p:nvGrpSpPr>
          <p:cNvPr id="168" name="Group 167">
            <a:extLst>
              <a:ext uri="{FF2B5EF4-FFF2-40B4-BE49-F238E27FC236}">
                <a16:creationId xmlns:a16="http://schemas.microsoft.com/office/drawing/2014/main" id="{956A417B-D6FF-4BA9-9F2A-6037D8FF847C}"/>
              </a:ext>
            </a:extLst>
          </p:cNvPr>
          <p:cNvGrpSpPr/>
          <p:nvPr/>
        </p:nvGrpSpPr>
        <p:grpSpPr>
          <a:xfrm>
            <a:off x="5900355" y="6021454"/>
            <a:ext cx="429769" cy="429769"/>
            <a:chOff x="5086392" y="1448771"/>
            <a:chExt cx="1261176" cy="1261176"/>
          </a:xfrm>
        </p:grpSpPr>
        <p:sp>
          <p:nvSpPr>
            <p:cNvPr id="169" name="Oval 168">
              <a:extLst>
                <a:ext uri="{FF2B5EF4-FFF2-40B4-BE49-F238E27FC236}">
                  <a16:creationId xmlns:a16="http://schemas.microsoft.com/office/drawing/2014/main" id="{A7C6A3C7-CE05-4035-91E1-3E541F002D95}"/>
                </a:ext>
              </a:extLst>
            </p:cNvPr>
            <p:cNvSpPr/>
            <p:nvPr/>
          </p:nvSpPr>
          <p:spPr bwMode="auto">
            <a:xfrm>
              <a:off x="5086392" y="1448771"/>
              <a:ext cx="1261176" cy="1261176"/>
            </a:xfrm>
            <a:prstGeom prst="ellipse">
              <a:avLst/>
            </a:prstGeom>
            <a:noFill/>
            <a:ln w="19050" cap="flat" cmpd="sng" algn="ctr">
              <a:solidFill>
                <a:srgbClr val="0478D4"/>
              </a:solidFill>
              <a:prstDash val="solid"/>
              <a:miter lim="800000"/>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799">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sym typeface="Segoe UI Semibold"/>
              </a:endParaRPr>
            </a:p>
          </p:txBody>
        </p:sp>
        <p:sp>
          <p:nvSpPr>
            <p:cNvPr id="170" name="Freeform: Shape 169">
              <a:extLst>
                <a:ext uri="{FF2B5EF4-FFF2-40B4-BE49-F238E27FC236}">
                  <a16:creationId xmlns:a16="http://schemas.microsoft.com/office/drawing/2014/main" id="{41E089EC-ABFC-4764-BE80-2E80393CD401}"/>
                </a:ext>
              </a:extLst>
            </p:cNvPr>
            <p:cNvSpPr>
              <a:spLocks/>
            </p:cNvSpPr>
            <p:nvPr/>
          </p:nvSpPr>
          <p:spPr bwMode="auto">
            <a:xfrm>
              <a:off x="5452870" y="1674731"/>
              <a:ext cx="528220" cy="858045"/>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65532 w 528287"/>
                <a:gd name="connsiteY33" fmla="*/ 281902 h 858155"/>
                <a:gd name="connsiteX34" fmla="*/ 117970 w 528287"/>
                <a:gd name="connsiteY34" fmla="*/ 409570 h 858155"/>
                <a:gd name="connsiteX35" fmla="*/ 183636 w 528287"/>
                <a:gd name="connsiteY35" fmla="*/ 538652 h 858155"/>
                <a:gd name="connsiteX36" fmla="*/ 197809 w 528287"/>
                <a:gd name="connsiteY36" fmla="*/ 621566 h 858155"/>
                <a:gd name="connsiteX37" fmla="*/ 142064 w 528287"/>
                <a:gd name="connsiteY37" fmla="*/ 621566 h 858155"/>
                <a:gd name="connsiteX38" fmla="*/ 134977 w 528287"/>
                <a:gd name="connsiteY38" fmla="*/ 614028 h 858155"/>
                <a:gd name="connsiteX39" fmla="*/ 93405 w 528287"/>
                <a:gd name="connsiteY39" fmla="*/ 493426 h 858155"/>
                <a:gd name="connsiteX40" fmla="*/ 28684 w 528287"/>
                <a:gd name="connsiteY40" fmla="*/ 376122 h 858155"/>
                <a:gd name="connsiteX41" fmla="*/ 6008 w 528287"/>
                <a:gd name="connsiteY41" fmla="*/ 196632 h 858155"/>
                <a:gd name="connsiteX42" fmla="*/ 131671 w 528287"/>
                <a:gd name="connsiteY42" fmla="*/ 32218 h 858155"/>
                <a:gd name="connsiteX43" fmla="*/ 266900 w 528287"/>
                <a:gd name="connsiteY43"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17970 w 528287"/>
                <a:gd name="connsiteY33" fmla="*/ 409570 h 858155"/>
                <a:gd name="connsiteX34" fmla="*/ 183636 w 528287"/>
                <a:gd name="connsiteY34" fmla="*/ 538652 h 858155"/>
                <a:gd name="connsiteX35" fmla="*/ 197809 w 528287"/>
                <a:gd name="connsiteY35" fmla="*/ 621566 h 858155"/>
                <a:gd name="connsiteX36" fmla="*/ 142064 w 528287"/>
                <a:gd name="connsiteY36" fmla="*/ 621566 h 858155"/>
                <a:gd name="connsiteX37" fmla="*/ 134977 w 528287"/>
                <a:gd name="connsiteY37" fmla="*/ 614028 h 858155"/>
                <a:gd name="connsiteX38" fmla="*/ 93405 w 528287"/>
                <a:gd name="connsiteY38" fmla="*/ 493426 h 858155"/>
                <a:gd name="connsiteX39" fmla="*/ 28684 w 528287"/>
                <a:gd name="connsiteY39" fmla="*/ 376122 h 858155"/>
                <a:gd name="connsiteX40" fmla="*/ 6008 w 528287"/>
                <a:gd name="connsiteY40" fmla="*/ 196632 h 858155"/>
                <a:gd name="connsiteX41" fmla="*/ 131671 w 528287"/>
                <a:gd name="connsiteY41" fmla="*/ 32218 h 858155"/>
                <a:gd name="connsiteX42" fmla="*/ 266900 w 528287"/>
                <a:gd name="connsiteY42"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117970 w 528287"/>
                <a:gd name="connsiteY32" fmla="*/ 409570 h 858155"/>
                <a:gd name="connsiteX33" fmla="*/ 183636 w 528287"/>
                <a:gd name="connsiteY33" fmla="*/ 538652 h 858155"/>
                <a:gd name="connsiteX34" fmla="*/ 197809 w 528287"/>
                <a:gd name="connsiteY34" fmla="*/ 621566 h 858155"/>
                <a:gd name="connsiteX35" fmla="*/ 142064 w 528287"/>
                <a:gd name="connsiteY35" fmla="*/ 621566 h 858155"/>
                <a:gd name="connsiteX36" fmla="*/ 134977 w 528287"/>
                <a:gd name="connsiteY36" fmla="*/ 614028 h 858155"/>
                <a:gd name="connsiteX37" fmla="*/ 93405 w 528287"/>
                <a:gd name="connsiteY37" fmla="*/ 493426 h 858155"/>
                <a:gd name="connsiteX38" fmla="*/ 28684 w 528287"/>
                <a:gd name="connsiteY38" fmla="*/ 376122 h 858155"/>
                <a:gd name="connsiteX39" fmla="*/ 6008 w 528287"/>
                <a:gd name="connsiteY39" fmla="*/ 196632 h 858155"/>
                <a:gd name="connsiteX40" fmla="*/ 131671 w 528287"/>
                <a:gd name="connsiteY40" fmla="*/ 32218 h 858155"/>
                <a:gd name="connsiteX41" fmla="*/ 266900 w 528287"/>
                <a:gd name="connsiteY41"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117970 w 528287"/>
                <a:gd name="connsiteY31" fmla="*/ 409570 h 858155"/>
                <a:gd name="connsiteX32" fmla="*/ 183636 w 528287"/>
                <a:gd name="connsiteY32" fmla="*/ 538652 h 858155"/>
                <a:gd name="connsiteX33" fmla="*/ 197809 w 528287"/>
                <a:gd name="connsiteY33" fmla="*/ 621566 h 858155"/>
                <a:gd name="connsiteX34" fmla="*/ 142064 w 528287"/>
                <a:gd name="connsiteY34" fmla="*/ 621566 h 858155"/>
                <a:gd name="connsiteX35" fmla="*/ 134977 w 528287"/>
                <a:gd name="connsiteY35" fmla="*/ 614028 h 858155"/>
                <a:gd name="connsiteX36" fmla="*/ 93405 w 528287"/>
                <a:gd name="connsiteY36" fmla="*/ 493426 h 858155"/>
                <a:gd name="connsiteX37" fmla="*/ 28684 w 528287"/>
                <a:gd name="connsiteY37" fmla="*/ 376122 h 858155"/>
                <a:gd name="connsiteX38" fmla="*/ 6008 w 528287"/>
                <a:gd name="connsiteY38" fmla="*/ 196632 h 858155"/>
                <a:gd name="connsiteX39" fmla="*/ 131671 w 528287"/>
                <a:gd name="connsiteY39" fmla="*/ 32218 h 858155"/>
                <a:gd name="connsiteX40" fmla="*/ 266900 w 528287"/>
                <a:gd name="connsiteY40"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17970 w 528287"/>
                <a:gd name="connsiteY30" fmla="*/ 409570 h 858155"/>
                <a:gd name="connsiteX31" fmla="*/ 183636 w 528287"/>
                <a:gd name="connsiteY31" fmla="*/ 538652 h 858155"/>
                <a:gd name="connsiteX32" fmla="*/ 197809 w 528287"/>
                <a:gd name="connsiteY32" fmla="*/ 621566 h 858155"/>
                <a:gd name="connsiteX33" fmla="*/ 142064 w 528287"/>
                <a:gd name="connsiteY33" fmla="*/ 621566 h 858155"/>
                <a:gd name="connsiteX34" fmla="*/ 134977 w 528287"/>
                <a:gd name="connsiteY34" fmla="*/ 614028 h 858155"/>
                <a:gd name="connsiteX35" fmla="*/ 93405 w 528287"/>
                <a:gd name="connsiteY35" fmla="*/ 493426 h 858155"/>
                <a:gd name="connsiteX36" fmla="*/ 28684 w 528287"/>
                <a:gd name="connsiteY36" fmla="*/ 376122 h 858155"/>
                <a:gd name="connsiteX37" fmla="*/ 6008 w 528287"/>
                <a:gd name="connsiteY37" fmla="*/ 196632 h 858155"/>
                <a:gd name="connsiteX38" fmla="*/ 131671 w 528287"/>
                <a:gd name="connsiteY38" fmla="*/ 32218 h 858155"/>
                <a:gd name="connsiteX39" fmla="*/ 266900 w 528287"/>
                <a:gd name="connsiteY39"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83636 w 528287"/>
                <a:gd name="connsiteY30" fmla="*/ 538652 h 858155"/>
                <a:gd name="connsiteX31" fmla="*/ 197809 w 528287"/>
                <a:gd name="connsiteY31" fmla="*/ 621566 h 858155"/>
                <a:gd name="connsiteX32" fmla="*/ 142064 w 528287"/>
                <a:gd name="connsiteY32" fmla="*/ 621566 h 858155"/>
                <a:gd name="connsiteX33" fmla="*/ 134977 w 528287"/>
                <a:gd name="connsiteY33" fmla="*/ 614028 h 858155"/>
                <a:gd name="connsiteX34" fmla="*/ 93405 w 528287"/>
                <a:gd name="connsiteY34" fmla="*/ 493426 h 858155"/>
                <a:gd name="connsiteX35" fmla="*/ 28684 w 528287"/>
                <a:gd name="connsiteY35" fmla="*/ 376122 h 858155"/>
                <a:gd name="connsiteX36" fmla="*/ 6008 w 528287"/>
                <a:gd name="connsiteY36" fmla="*/ 196632 h 858155"/>
                <a:gd name="connsiteX37" fmla="*/ 131671 w 528287"/>
                <a:gd name="connsiteY37" fmla="*/ 32218 h 858155"/>
                <a:gd name="connsiteX38" fmla="*/ 266900 w 528287"/>
                <a:gd name="connsiteY38"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97809 w 528287"/>
                <a:gd name="connsiteY30" fmla="*/ 621566 h 858155"/>
                <a:gd name="connsiteX31" fmla="*/ 142064 w 528287"/>
                <a:gd name="connsiteY31" fmla="*/ 621566 h 858155"/>
                <a:gd name="connsiteX32" fmla="*/ 134977 w 528287"/>
                <a:gd name="connsiteY32" fmla="*/ 614028 h 858155"/>
                <a:gd name="connsiteX33" fmla="*/ 93405 w 528287"/>
                <a:gd name="connsiteY33" fmla="*/ 493426 h 858155"/>
                <a:gd name="connsiteX34" fmla="*/ 28684 w 528287"/>
                <a:gd name="connsiteY34" fmla="*/ 376122 h 858155"/>
                <a:gd name="connsiteX35" fmla="*/ 6008 w 528287"/>
                <a:gd name="connsiteY35" fmla="*/ 196632 h 858155"/>
                <a:gd name="connsiteX36" fmla="*/ 131671 w 528287"/>
                <a:gd name="connsiteY36" fmla="*/ 32218 h 858155"/>
                <a:gd name="connsiteX37" fmla="*/ 266900 w 528287"/>
                <a:gd name="connsiteY37"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197809 w 528287"/>
                <a:gd name="connsiteY29" fmla="*/ 621566 h 858155"/>
                <a:gd name="connsiteX30" fmla="*/ 142064 w 528287"/>
                <a:gd name="connsiteY30" fmla="*/ 621566 h 858155"/>
                <a:gd name="connsiteX31" fmla="*/ 134977 w 528287"/>
                <a:gd name="connsiteY31" fmla="*/ 614028 h 858155"/>
                <a:gd name="connsiteX32" fmla="*/ 93405 w 528287"/>
                <a:gd name="connsiteY32" fmla="*/ 493426 h 858155"/>
                <a:gd name="connsiteX33" fmla="*/ 28684 w 528287"/>
                <a:gd name="connsiteY33" fmla="*/ 376122 h 858155"/>
                <a:gd name="connsiteX34" fmla="*/ 6008 w 528287"/>
                <a:gd name="connsiteY34" fmla="*/ 196632 h 858155"/>
                <a:gd name="connsiteX35" fmla="*/ 131671 w 528287"/>
                <a:gd name="connsiteY35" fmla="*/ 32218 h 858155"/>
                <a:gd name="connsiteX36" fmla="*/ 266900 w 528287"/>
                <a:gd name="connsiteY36"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28287" h="858155">
                  <a:moveTo>
                    <a:pt x="180897" y="808532"/>
                  </a:moveTo>
                  <a:lnTo>
                    <a:pt x="351275" y="808532"/>
                  </a:ln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lnTo>
                    <a:pt x="347585" y="731401"/>
                  </a:lnTo>
                  <a:cubicBezTo>
                    <a:pt x="365532" y="731401"/>
                    <a:pt x="375450" y="740280"/>
                    <a:pt x="375450" y="755235"/>
                  </a:cubicBezTo>
                  <a:cubicBezTo>
                    <a:pt x="374978" y="770189"/>
                    <a:pt x="365532" y="778134"/>
                    <a:pt x="347585" y="778134"/>
                  </a:cubicBezTo>
                  <a:cubicBezTo>
                    <a:pt x="320193" y="778601"/>
                    <a:pt x="292328" y="778601"/>
                    <a:pt x="264935" y="778601"/>
                  </a:cubicBezTo>
                  <a:lnTo>
                    <a:pt x="181813" y="778134"/>
                  </a:lnTo>
                  <a:cubicBezTo>
                    <a:pt x="165283" y="778134"/>
                    <a:pt x="154420" y="768787"/>
                    <a:pt x="154893" y="754300"/>
                  </a:cubicBezTo>
                  <a:cubicBezTo>
                    <a:pt x="155365" y="740280"/>
                    <a:pt x="165283" y="731401"/>
                    <a:pt x="182285" y="731401"/>
                  </a:cubicBezTo>
                  <a:close/>
                  <a:moveTo>
                    <a:pt x="174924" y="655422"/>
                  </a:moveTo>
                  <a:lnTo>
                    <a:pt x="354947" y="655422"/>
                  </a:lnTo>
                  <a:cubicBezTo>
                    <a:pt x="369633" y="655422"/>
                    <a:pt x="379581" y="664350"/>
                    <a:pt x="379581" y="677976"/>
                  </a:cubicBezTo>
                  <a:cubicBezTo>
                    <a:pt x="380055" y="691133"/>
                    <a:pt x="370107" y="701000"/>
                    <a:pt x="355421" y="701000"/>
                  </a:cubicBezTo>
                  <a:cubicBezTo>
                    <a:pt x="325575" y="701470"/>
                    <a:pt x="295255" y="701000"/>
                    <a:pt x="264935" y="701000"/>
                  </a:cubicBezTo>
                  <a:lnTo>
                    <a:pt x="175397" y="701000"/>
                  </a:ln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lnTo>
                    <a:pt x="331503" y="621095"/>
                  </a:lnTo>
                  <a:lnTo>
                    <a:pt x="197809" y="621566"/>
                  </a:ln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noFill/>
            <a:ln w="12700">
              <a:solidFill>
                <a:srgbClr val="0478D4"/>
              </a:solidFill>
              <a:round/>
              <a:headEnd/>
              <a:tailEnd/>
            </a:ln>
          </p:spPr>
          <p:txBody>
            <a:bodyPr vert="horz" wrap="square" lIns="93211" tIns="46605" rIns="93211" bIns="46605" numCol="1" anchor="t" anchorCtr="0" compatLnSpc="1">
              <a:prstTxWarp prst="textNoShape">
                <a:avLst/>
              </a:prstTxWarp>
              <a:noAutofit/>
            </a:bodyPr>
            <a:lstStyle/>
            <a:p>
              <a:pPr defTabSz="932227">
                <a:defRPr/>
              </a:pPr>
              <a:endParaRPr lang="en-US" sz="3999">
                <a:solidFill>
                  <a:srgbClr val="505050"/>
                </a:solidFill>
                <a:latin typeface="Segoe UI" panose="020B0502040204020203" pitchFamily="34" charset="0"/>
                <a:cs typeface="Segoe UI" panose="020B0502040204020203" pitchFamily="34" charset="0"/>
                <a:sym typeface="Segoe UI Semibold"/>
              </a:endParaRPr>
            </a:p>
          </p:txBody>
        </p:sp>
      </p:grpSp>
      <p:grpSp>
        <p:nvGrpSpPr>
          <p:cNvPr id="171" name="Group 170">
            <a:extLst>
              <a:ext uri="{FF2B5EF4-FFF2-40B4-BE49-F238E27FC236}">
                <a16:creationId xmlns:a16="http://schemas.microsoft.com/office/drawing/2014/main" id="{CB5545D4-D525-4AB9-8681-1769CCAE67C9}"/>
              </a:ext>
            </a:extLst>
          </p:cNvPr>
          <p:cNvGrpSpPr/>
          <p:nvPr/>
        </p:nvGrpSpPr>
        <p:grpSpPr>
          <a:xfrm>
            <a:off x="9778597" y="6029431"/>
            <a:ext cx="429769" cy="429769"/>
            <a:chOff x="9273302" y="2046197"/>
            <a:chExt cx="1426282" cy="1426282"/>
          </a:xfrm>
        </p:grpSpPr>
        <p:sp>
          <p:nvSpPr>
            <p:cNvPr id="172" name="Oval 171">
              <a:extLst>
                <a:ext uri="{FF2B5EF4-FFF2-40B4-BE49-F238E27FC236}">
                  <a16:creationId xmlns:a16="http://schemas.microsoft.com/office/drawing/2014/main" id="{53E0B294-4DA9-475D-8B5B-323958B18770}"/>
                </a:ext>
              </a:extLst>
            </p:cNvPr>
            <p:cNvSpPr>
              <a:spLocks noChangeAspect="1"/>
            </p:cNvSpPr>
            <p:nvPr/>
          </p:nvSpPr>
          <p:spPr bwMode="auto">
            <a:xfrm>
              <a:off x="9273302" y="2046197"/>
              <a:ext cx="1426282" cy="1426282"/>
            </a:xfrm>
            <a:prstGeom prst="ellipse">
              <a:avLst/>
            </a:prstGeom>
            <a:noFill/>
            <a:ln w="22225" cap="flat" cmpd="sng" algn="ctr">
              <a:solidFill>
                <a:srgbClr val="0478D4"/>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69193" fontAlgn="base">
                <a:spcBef>
                  <a:spcPct val="0"/>
                </a:spcBef>
                <a:spcAft>
                  <a:spcPct val="0"/>
                </a:spcAft>
                <a:defRPr/>
              </a:pPr>
              <a:endParaRPr lang="en-US" sz="2399" kern="0">
                <a:solidFill>
                  <a:srgbClr val="505050"/>
                </a:solidFill>
                <a:latin typeface="Segoe UI" panose="020B0502040204020203" pitchFamily="34" charset="0"/>
                <a:cs typeface="Segoe UI" panose="020B0502040204020203" pitchFamily="34" charset="0"/>
                <a:sym typeface="Segoe UI Semibold"/>
              </a:endParaRPr>
            </a:p>
          </p:txBody>
        </p:sp>
        <p:sp>
          <p:nvSpPr>
            <p:cNvPr id="173" name="Freeform: Shape 172">
              <a:extLst>
                <a:ext uri="{FF2B5EF4-FFF2-40B4-BE49-F238E27FC236}">
                  <a16:creationId xmlns:a16="http://schemas.microsoft.com/office/drawing/2014/main" id="{6372C9D9-1D8D-4E8A-90FD-D8A5E60C305F}"/>
                </a:ext>
              </a:extLst>
            </p:cNvPr>
            <p:cNvSpPr>
              <a:spLocks noChangeAspect="1"/>
            </p:cNvSpPr>
            <p:nvPr/>
          </p:nvSpPr>
          <p:spPr bwMode="black">
            <a:xfrm>
              <a:off x="9745867" y="2316705"/>
              <a:ext cx="527667" cy="885265"/>
            </a:xfrm>
            <a:custGeom>
              <a:avLst/>
              <a:gdLst>
                <a:gd name="connsiteX0" fmla="*/ 285484 w 1193354"/>
                <a:gd name="connsiteY0" fmla="*/ 451468 h 2002084"/>
                <a:gd name="connsiteX1" fmla="*/ 284883 w 1193354"/>
                <a:gd name="connsiteY1" fmla="*/ 491345 h 2002084"/>
                <a:gd name="connsiteX2" fmla="*/ 284785 w 1193354"/>
                <a:gd name="connsiteY2" fmla="*/ 491279 h 2002084"/>
                <a:gd name="connsiteX3" fmla="*/ 284979 w 1193354"/>
                <a:gd name="connsiteY3" fmla="*/ 475228 h 2002084"/>
                <a:gd name="connsiteX4" fmla="*/ 286242 w 1193354"/>
                <a:gd name="connsiteY4" fmla="*/ 415853 h 2002084"/>
                <a:gd name="connsiteX5" fmla="*/ 286102 w 1193354"/>
                <a:gd name="connsiteY5" fmla="*/ 422418 h 2002084"/>
                <a:gd name="connsiteX6" fmla="*/ 285843 w 1193354"/>
                <a:gd name="connsiteY6" fmla="*/ 430162 h 2002084"/>
                <a:gd name="connsiteX7" fmla="*/ 285612 w 1193354"/>
                <a:gd name="connsiteY7" fmla="*/ 445461 h 2002084"/>
                <a:gd name="connsiteX8" fmla="*/ 285484 w 1193354"/>
                <a:gd name="connsiteY8" fmla="*/ 451468 h 2002084"/>
                <a:gd name="connsiteX9" fmla="*/ 285841 w 1193354"/>
                <a:gd name="connsiteY9" fmla="*/ 427810 h 2002084"/>
                <a:gd name="connsiteX10" fmla="*/ 286701 w 1193354"/>
                <a:gd name="connsiteY10" fmla="*/ 402165 h 2002084"/>
                <a:gd name="connsiteX11" fmla="*/ 286242 w 1193354"/>
                <a:gd name="connsiteY11" fmla="*/ 415853 h 2002084"/>
                <a:gd name="connsiteX12" fmla="*/ 286436 w 1193354"/>
                <a:gd name="connsiteY12" fmla="*/ 406761 h 2002084"/>
                <a:gd name="connsiteX13" fmla="*/ 496328 w 1193354"/>
                <a:gd name="connsiteY13" fmla="*/ 360361 h 2002084"/>
                <a:gd name="connsiteX14" fmla="*/ 496354 w 1193354"/>
                <a:gd name="connsiteY14" fmla="*/ 360534 h 2002084"/>
                <a:gd name="connsiteX15" fmla="*/ 494883 w 1193354"/>
                <a:gd name="connsiteY15" fmla="*/ 463364 h 2002084"/>
                <a:gd name="connsiteX16" fmla="*/ 494300 w 1193354"/>
                <a:gd name="connsiteY16" fmla="*/ 506394 h 2002084"/>
                <a:gd name="connsiteX17" fmla="*/ 494267 w 1193354"/>
                <a:gd name="connsiteY17" fmla="*/ 506416 h 2002084"/>
                <a:gd name="connsiteX18" fmla="*/ 494882 w 1193354"/>
                <a:gd name="connsiteY18" fmla="*/ 461012 h 2002084"/>
                <a:gd name="connsiteX19" fmla="*/ 495899 w 1193354"/>
                <a:gd name="connsiteY19" fmla="*/ 397961 h 2002084"/>
                <a:gd name="connsiteX20" fmla="*/ 289252 w 1193354"/>
                <a:gd name="connsiteY20" fmla="*/ 358061 h 2002084"/>
                <a:gd name="connsiteX21" fmla="*/ 289249 w 1193354"/>
                <a:gd name="connsiteY21" fmla="*/ 358087 h 2002084"/>
                <a:gd name="connsiteX22" fmla="*/ 288429 w 1193354"/>
                <a:gd name="connsiteY22" fmla="*/ 372279 h 2002084"/>
                <a:gd name="connsiteX23" fmla="*/ 287181 w 1193354"/>
                <a:gd name="connsiteY23" fmla="*/ 390263 h 2002084"/>
                <a:gd name="connsiteX24" fmla="*/ 286893 w 1193354"/>
                <a:gd name="connsiteY24" fmla="*/ 398838 h 2002084"/>
                <a:gd name="connsiteX25" fmla="*/ 286701 w 1193354"/>
                <a:gd name="connsiteY25" fmla="*/ 402165 h 2002084"/>
                <a:gd name="connsiteX26" fmla="*/ 287179 w 1193354"/>
                <a:gd name="connsiteY26" fmla="*/ 387912 h 2002084"/>
                <a:gd name="connsiteX27" fmla="*/ 289248 w 1193354"/>
                <a:gd name="connsiteY27" fmla="*/ 358087 h 2002084"/>
                <a:gd name="connsiteX28" fmla="*/ 296920 w 1193354"/>
                <a:gd name="connsiteY28" fmla="*/ 310739 h 2002084"/>
                <a:gd name="connsiteX29" fmla="*/ 289252 w 1193354"/>
                <a:gd name="connsiteY29" fmla="*/ 358061 h 2002084"/>
                <a:gd name="connsiteX30" fmla="*/ 294307 w 1193354"/>
                <a:gd name="connsiteY30" fmla="*/ 317179 h 2002084"/>
                <a:gd name="connsiteX31" fmla="*/ 301470 w 1193354"/>
                <a:gd name="connsiteY31" fmla="*/ 299529 h 2002084"/>
                <a:gd name="connsiteX32" fmla="*/ 298558 w 1193354"/>
                <a:gd name="connsiteY32" fmla="*/ 306704 h 2002084"/>
                <a:gd name="connsiteX33" fmla="*/ 297737 w 1193354"/>
                <a:gd name="connsiteY33" fmla="*/ 308062 h 2002084"/>
                <a:gd name="connsiteX34" fmla="*/ 297558 w 1193354"/>
                <a:gd name="connsiteY34" fmla="*/ 309167 h 2002084"/>
                <a:gd name="connsiteX35" fmla="*/ 296920 w 1193354"/>
                <a:gd name="connsiteY35" fmla="*/ 310739 h 2002084"/>
                <a:gd name="connsiteX36" fmla="*/ 297735 w 1193354"/>
                <a:gd name="connsiteY36" fmla="*/ 305710 h 2002084"/>
                <a:gd name="connsiteX37" fmla="*/ 483118 w 1193354"/>
                <a:gd name="connsiteY37" fmla="*/ 298753 h 2002084"/>
                <a:gd name="connsiteX38" fmla="*/ 489189 w 1193354"/>
                <a:gd name="connsiteY38" fmla="*/ 310293 h 2002084"/>
                <a:gd name="connsiteX39" fmla="*/ 496353 w 1193354"/>
                <a:gd name="connsiteY39" fmla="*/ 358182 h 2002084"/>
                <a:gd name="connsiteX40" fmla="*/ 496328 w 1193354"/>
                <a:gd name="connsiteY40" fmla="*/ 360361 h 2002084"/>
                <a:gd name="connsiteX41" fmla="*/ 496327 w 1193354"/>
                <a:gd name="connsiteY41" fmla="*/ 360355 h 2002084"/>
                <a:gd name="connsiteX42" fmla="*/ 496352 w 1193354"/>
                <a:gd name="connsiteY42" fmla="*/ 358182 h 2002084"/>
                <a:gd name="connsiteX43" fmla="*/ 495286 w 1193354"/>
                <a:gd name="connsiteY43" fmla="*/ 353397 h 2002084"/>
                <a:gd name="connsiteX44" fmla="*/ 489190 w 1193354"/>
                <a:gd name="connsiteY44" fmla="*/ 312645 h 2002084"/>
                <a:gd name="connsiteX45" fmla="*/ 484026 w 1193354"/>
                <a:gd name="connsiteY45" fmla="*/ 302828 h 2002084"/>
                <a:gd name="connsiteX46" fmla="*/ 312270 w 1193354"/>
                <a:gd name="connsiteY46" fmla="*/ 281652 h 2002084"/>
                <a:gd name="connsiteX47" fmla="*/ 301470 w 1193354"/>
                <a:gd name="connsiteY47" fmla="*/ 299529 h 2002084"/>
                <a:gd name="connsiteX48" fmla="*/ 307000 w 1193354"/>
                <a:gd name="connsiteY48" fmla="*/ 285901 h 2002084"/>
                <a:gd name="connsiteX49" fmla="*/ 473685 w 1193354"/>
                <a:gd name="connsiteY49" fmla="*/ 280824 h 2002084"/>
                <a:gd name="connsiteX50" fmla="*/ 481372 w 1193354"/>
                <a:gd name="connsiteY50" fmla="*/ 290914 h 2002084"/>
                <a:gd name="connsiteX51" fmla="*/ 483118 w 1193354"/>
                <a:gd name="connsiteY51" fmla="*/ 298753 h 2002084"/>
                <a:gd name="connsiteX52" fmla="*/ 467383 w 1193354"/>
                <a:gd name="connsiteY52" fmla="*/ 272552 h 2002084"/>
                <a:gd name="connsiteX53" fmla="*/ 470477 w 1193354"/>
                <a:gd name="connsiteY53" fmla="*/ 274726 h 2002084"/>
                <a:gd name="connsiteX54" fmla="*/ 473685 w 1193354"/>
                <a:gd name="connsiteY54" fmla="*/ 280824 h 2002084"/>
                <a:gd name="connsiteX55" fmla="*/ 438680 w 1193354"/>
                <a:gd name="connsiteY55" fmla="*/ 252385 h 2002084"/>
                <a:gd name="connsiteX56" fmla="*/ 463812 w 1193354"/>
                <a:gd name="connsiteY56" fmla="*/ 267865 h 2002084"/>
                <a:gd name="connsiteX57" fmla="*/ 467383 w 1193354"/>
                <a:gd name="connsiteY57" fmla="*/ 272552 h 2002084"/>
                <a:gd name="connsiteX58" fmla="*/ 392214 w 1193354"/>
                <a:gd name="connsiteY58" fmla="*/ 246486 h 2002084"/>
                <a:gd name="connsiteX59" fmla="*/ 470478 w 1193354"/>
                <a:gd name="connsiteY59" fmla="*/ 277078 h 2002084"/>
                <a:gd name="connsiteX60" fmla="*/ 484026 w 1193354"/>
                <a:gd name="connsiteY60" fmla="*/ 302828 h 2002084"/>
                <a:gd name="connsiteX61" fmla="*/ 495286 w 1193354"/>
                <a:gd name="connsiteY61" fmla="*/ 353397 h 2002084"/>
                <a:gd name="connsiteX62" fmla="*/ 496327 w 1193354"/>
                <a:gd name="connsiteY62" fmla="*/ 360355 h 2002084"/>
                <a:gd name="connsiteX63" fmla="*/ 495898 w 1193354"/>
                <a:gd name="connsiteY63" fmla="*/ 397961 h 2002084"/>
                <a:gd name="connsiteX64" fmla="*/ 494881 w 1193354"/>
                <a:gd name="connsiteY64" fmla="*/ 461012 h 2002084"/>
                <a:gd name="connsiteX65" fmla="*/ 494266 w 1193354"/>
                <a:gd name="connsiteY65" fmla="*/ 506417 h 2002084"/>
                <a:gd name="connsiteX66" fmla="*/ 494267 w 1193354"/>
                <a:gd name="connsiteY66" fmla="*/ 506416 h 2002084"/>
                <a:gd name="connsiteX67" fmla="*/ 493818 w 1193354"/>
                <a:gd name="connsiteY67" fmla="*/ 539623 h 2002084"/>
                <a:gd name="connsiteX68" fmla="*/ 493224 w 1193354"/>
                <a:gd name="connsiteY68" fmla="*/ 626081 h 2002084"/>
                <a:gd name="connsiteX69" fmla="*/ 493231 w 1193354"/>
                <a:gd name="connsiteY69" fmla="*/ 627553 h 2002084"/>
                <a:gd name="connsiteX70" fmla="*/ 493225 w 1193354"/>
                <a:gd name="connsiteY70" fmla="*/ 628433 h 2002084"/>
                <a:gd name="connsiteX71" fmla="*/ 505879 w 1193354"/>
                <a:gd name="connsiteY71" fmla="*/ 898482 h 2002084"/>
                <a:gd name="connsiteX72" fmla="*/ 622620 w 1193354"/>
                <a:gd name="connsiteY72" fmla="*/ 786882 h 2002084"/>
                <a:gd name="connsiteX73" fmla="*/ 739361 w 1193354"/>
                <a:gd name="connsiteY73" fmla="*/ 898482 h 2002084"/>
                <a:gd name="connsiteX74" fmla="*/ 739361 w 1193354"/>
                <a:gd name="connsiteY74" fmla="*/ 954282 h 2002084"/>
                <a:gd name="connsiteX75" fmla="*/ 849616 w 1193354"/>
                <a:gd name="connsiteY75" fmla="*/ 842682 h 2002084"/>
                <a:gd name="connsiteX76" fmla="*/ 966358 w 1193354"/>
                <a:gd name="connsiteY76" fmla="*/ 954282 h 2002084"/>
                <a:gd name="connsiteX77" fmla="*/ 966358 w 1193354"/>
                <a:gd name="connsiteY77" fmla="*/ 1010082 h 2002084"/>
                <a:gd name="connsiteX78" fmla="*/ 1083099 w 1193354"/>
                <a:gd name="connsiteY78" fmla="*/ 898482 h 2002084"/>
                <a:gd name="connsiteX79" fmla="*/ 1193354 w 1193354"/>
                <a:gd name="connsiteY79" fmla="*/ 1010082 h 2002084"/>
                <a:gd name="connsiteX80" fmla="*/ 1193354 w 1193354"/>
                <a:gd name="connsiteY80" fmla="*/ 1245682 h 2002084"/>
                <a:gd name="connsiteX81" fmla="*/ 1193354 w 1193354"/>
                <a:gd name="connsiteY81" fmla="*/ 1431683 h 2002084"/>
                <a:gd name="connsiteX82" fmla="*/ 1193354 w 1193354"/>
                <a:gd name="connsiteY82" fmla="*/ 1493683 h 2002084"/>
                <a:gd name="connsiteX83" fmla="*/ 596677 w 1193354"/>
                <a:gd name="connsiteY83" fmla="*/ 2002084 h 2002084"/>
                <a:gd name="connsiteX84" fmla="*/ 0 w 1193354"/>
                <a:gd name="connsiteY84" fmla="*/ 1431683 h 2002084"/>
                <a:gd name="connsiteX85" fmla="*/ 0 w 1193354"/>
                <a:gd name="connsiteY85" fmla="*/ 1109282 h 2002084"/>
                <a:gd name="connsiteX86" fmla="*/ 0 w 1193354"/>
                <a:gd name="connsiteY86" fmla="*/ 997682 h 2002084"/>
                <a:gd name="connsiteX87" fmla="*/ 116742 w 1193354"/>
                <a:gd name="connsiteY87" fmla="*/ 997682 h 2002084"/>
                <a:gd name="connsiteX88" fmla="*/ 226997 w 1193354"/>
                <a:gd name="connsiteY88" fmla="*/ 1109282 h 2002084"/>
                <a:gd name="connsiteX89" fmla="*/ 226997 w 1193354"/>
                <a:gd name="connsiteY89" fmla="*/ 1375883 h 2002084"/>
                <a:gd name="connsiteX90" fmla="*/ 278882 w 1193354"/>
                <a:gd name="connsiteY90" fmla="*/ 1320083 h 2002084"/>
                <a:gd name="connsiteX91" fmla="*/ 278882 w 1193354"/>
                <a:gd name="connsiteY91" fmla="*/ 1010082 h 2002084"/>
                <a:gd name="connsiteX92" fmla="*/ 278882 w 1193354"/>
                <a:gd name="connsiteY92" fmla="*/ 738056 h 2002084"/>
                <a:gd name="connsiteX93" fmla="*/ 282697 w 1193354"/>
                <a:gd name="connsiteY93" fmla="*/ 639405 h 2002084"/>
                <a:gd name="connsiteX94" fmla="*/ 283227 w 1193354"/>
                <a:gd name="connsiteY94" fmla="*/ 604037 h 2002084"/>
                <a:gd name="connsiteX95" fmla="*/ 284019 w 1193354"/>
                <a:gd name="connsiteY95" fmla="*/ 554865 h 2002084"/>
                <a:gd name="connsiteX96" fmla="*/ 284242 w 1193354"/>
                <a:gd name="connsiteY96" fmla="*/ 536372 h 2002084"/>
                <a:gd name="connsiteX97" fmla="*/ 284338 w 1193354"/>
                <a:gd name="connsiteY97" fmla="*/ 529962 h 2002084"/>
                <a:gd name="connsiteX98" fmla="*/ 285612 w 1193354"/>
                <a:gd name="connsiteY98" fmla="*/ 445461 h 2002084"/>
                <a:gd name="connsiteX99" fmla="*/ 286102 w 1193354"/>
                <a:gd name="connsiteY99" fmla="*/ 422418 h 2002084"/>
                <a:gd name="connsiteX100" fmla="*/ 286893 w 1193354"/>
                <a:gd name="connsiteY100" fmla="*/ 398838 h 2002084"/>
                <a:gd name="connsiteX101" fmla="*/ 288429 w 1193354"/>
                <a:gd name="connsiteY101" fmla="*/ 372279 h 2002084"/>
                <a:gd name="connsiteX102" fmla="*/ 289250 w 1193354"/>
                <a:gd name="connsiteY102" fmla="*/ 360439 h 2002084"/>
                <a:gd name="connsiteX103" fmla="*/ 297558 w 1193354"/>
                <a:gd name="connsiteY103" fmla="*/ 309167 h 2002084"/>
                <a:gd name="connsiteX104" fmla="*/ 298558 w 1193354"/>
                <a:gd name="connsiteY104" fmla="*/ 306704 h 2002084"/>
                <a:gd name="connsiteX105" fmla="*/ 315044 w 1193354"/>
                <a:gd name="connsiteY105" fmla="*/ 279415 h 2002084"/>
                <a:gd name="connsiteX106" fmla="*/ 338643 w 1193354"/>
                <a:gd name="connsiteY106" fmla="*/ 260387 h 2002084"/>
                <a:gd name="connsiteX107" fmla="*/ 351480 w 1193354"/>
                <a:gd name="connsiteY107" fmla="*/ 252389 h 2002084"/>
                <a:gd name="connsiteX108" fmla="*/ 392214 w 1193354"/>
                <a:gd name="connsiteY108" fmla="*/ 246486 h 2002084"/>
                <a:gd name="connsiteX109" fmla="*/ 392212 w 1193354"/>
                <a:gd name="connsiteY109" fmla="*/ 244134 h 2002084"/>
                <a:gd name="connsiteX110" fmla="*/ 351479 w 1193354"/>
                <a:gd name="connsiteY110" fmla="*/ 250037 h 2002084"/>
                <a:gd name="connsiteX111" fmla="*/ 338643 w 1193354"/>
                <a:gd name="connsiteY111" fmla="*/ 260387 h 2002084"/>
                <a:gd name="connsiteX112" fmla="*/ 319234 w 1193354"/>
                <a:gd name="connsiteY112" fmla="*/ 272480 h 2002084"/>
                <a:gd name="connsiteX113" fmla="*/ 315044 w 1193354"/>
                <a:gd name="connsiteY113" fmla="*/ 279415 h 2002084"/>
                <a:gd name="connsiteX114" fmla="*/ 312270 w 1193354"/>
                <a:gd name="connsiteY114" fmla="*/ 281652 h 2002084"/>
                <a:gd name="connsiteX115" fmla="*/ 319232 w 1193354"/>
                <a:gd name="connsiteY115" fmla="*/ 270128 h 2002084"/>
                <a:gd name="connsiteX116" fmla="*/ 392212 w 1193354"/>
                <a:gd name="connsiteY116" fmla="*/ 244134 h 2002084"/>
                <a:gd name="connsiteX117" fmla="*/ 392212 w 1193354"/>
                <a:gd name="connsiteY117" fmla="*/ 244134 h 2002084"/>
                <a:gd name="connsiteX118" fmla="*/ 392213 w 1193354"/>
                <a:gd name="connsiteY118" fmla="*/ 244134 h 2002084"/>
                <a:gd name="connsiteX119" fmla="*/ 438667 w 1193354"/>
                <a:gd name="connsiteY119" fmla="*/ 252376 h 2002084"/>
                <a:gd name="connsiteX120" fmla="*/ 438680 w 1193354"/>
                <a:gd name="connsiteY120" fmla="*/ 252385 h 2002084"/>
                <a:gd name="connsiteX121" fmla="*/ 438666 w 1193354"/>
                <a:gd name="connsiteY121" fmla="*/ 252376 h 2002084"/>
                <a:gd name="connsiteX122" fmla="*/ 400753 w 1193354"/>
                <a:gd name="connsiteY122" fmla="*/ 0 h 2002084"/>
                <a:gd name="connsiteX123" fmla="*/ 730683 w 1193354"/>
                <a:gd name="connsiteY123" fmla="*/ 329930 h 2002084"/>
                <a:gd name="connsiteX124" fmla="*/ 529177 w 1193354"/>
                <a:gd name="connsiteY124" fmla="*/ 633933 h 2002084"/>
                <a:gd name="connsiteX125" fmla="*/ 493310 w 1193354"/>
                <a:gd name="connsiteY125" fmla="*/ 645066 h 2002084"/>
                <a:gd name="connsiteX126" fmla="*/ 493231 w 1193354"/>
                <a:gd name="connsiteY126" fmla="*/ 627553 h 2002084"/>
                <a:gd name="connsiteX127" fmla="*/ 493819 w 1193354"/>
                <a:gd name="connsiteY127" fmla="*/ 541975 h 2002084"/>
                <a:gd name="connsiteX128" fmla="*/ 494300 w 1193354"/>
                <a:gd name="connsiteY128" fmla="*/ 506394 h 2002084"/>
                <a:gd name="connsiteX129" fmla="*/ 543825 w 1193354"/>
                <a:gd name="connsiteY129" fmla="*/ 473003 h 2002084"/>
                <a:gd name="connsiteX130" fmla="*/ 603088 w 1193354"/>
                <a:gd name="connsiteY130" fmla="*/ 329930 h 2002084"/>
                <a:gd name="connsiteX131" fmla="*/ 400752 w 1193354"/>
                <a:gd name="connsiteY131" fmla="*/ 127594 h 2002084"/>
                <a:gd name="connsiteX132" fmla="*/ 198416 w 1193354"/>
                <a:gd name="connsiteY132" fmla="*/ 329930 h 2002084"/>
                <a:gd name="connsiteX133" fmla="*/ 257679 w 1193354"/>
                <a:gd name="connsiteY133" fmla="*/ 473003 h 2002084"/>
                <a:gd name="connsiteX134" fmla="*/ 284785 w 1193354"/>
                <a:gd name="connsiteY134" fmla="*/ 491279 h 2002084"/>
                <a:gd name="connsiteX135" fmla="*/ 284242 w 1193354"/>
                <a:gd name="connsiteY135" fmla="*/ 536372 h 2002084"/>
                <a:gd name="connsiteX136" fmla="*/ 283227 w 1193354"/>
                <a:gd name="connsiteY136" fmla="*/ 604037 h 2002084"/>
                <a:gd name="connsiteX137" fmla="*/ 282696 w 1193354"/>
                <a:gd name="connsiteY137" fmla="*/ 637053 h 2002084"/>
                <a:gd name="connsiteX138" fmla="*/ 282693 w 1193354"/>
                <a:gd name="connsiteY138" fmla="*/ 637150 h 2002084"/>
                <a:gd name="connsiteX139" fmla="*/ 272330 w 1193354"/>
                <a:gd name="connsiteY139" fmla="*/ 633933 h 2002084"/>
                <a:gd name="connsiteX140" fmla="*/ 70823 w 1193354"/>
                <a:gd name="connsiteY140" fmla="*/ 329930 h 2002084"/>
                <a:gd name="connsiteX141" fmla="*/ 400753 w 1193354"/>
                <a:gd name="connsiteY141" fmla="*/ 0 h 2002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193354" h="2002084">
                  <a:moveTo>
                    <a:pt x="285484" y="451468"/>
                  </a:moveTo>
                  <a:lnTo>
                    <a:pt x="284883" y="491345"/>
                  </a:lnTo>
                  <a:lnTo>
                    <a:pt x="284785" y="491279"/>
                  </a:lnTo>
                  <a:lnTo>
                    <a:pt x="284979" y="475228"/>
                  </a:lnTo>
                  <a:close/>
                  <a:moveTo>
                    <a:pt x="286242" y="415853"/>
                  </a:moveTo>
                  <a:lnTo>
                    <a:pt x="286102" y="422418"/>
                  </a:lnTo>
                  <a:lnTo>
                    <a:pt x="285843" y="430162"/>
                  </a:lnTo>
                  <a:lnTo>
                    <a:pt x="285612" y="445461"/>
                  </a:lnTo>
                  <a:lnTo>
                    <a:pt x="285484" y="451468"/>
                  </a:lnTo>
                  <a:lnTo>
                    <a:pt x="285841" y="427810"/>
                  </a:lnTo>
                  <a:close/>
                  <a:moveTo>
                    <a:pt x="286701" y="402165"/>
                  </a:moveTo>
                  <a:lnTo>
                    <a:pt x="286242" y="415853"/>
                  </a:lnTo>
                  <a:lnTo>
                    <a:pt x="286436" y="406761"/>
                  </a:lnTo>
                  <a:close/>
                  <a:moveTo>
                    <a:pt x="496328" y="360361"/>
                  </a:moveTo>
                  <a:lnTo>
                    <a:pt x="496354" y="360534"/>
                  </a:lnTo>
                  <a:cubicBezTo>
                    <a:pt x="496354" y="377582"/>
                    <a:pt x="495634" y="415286"/>
                    <a:pt x="494883" y="463364"/>
                  </a:cubicBezTo>
                  <a:lnTo>
                    <a:pt x="494300" y="506394"/>
                  </a:lnTo>
                  <a:lnTo>
                    <a:pt x="494267" y="506416"/>
                  </a:lnTo>
                  <a:lnTo>
                    <a:pt x="494882" y="461012"/>
                  </a:lnTo>
                  <a:cubicBezTo>
                    <a:pt x="495258" y="436974"/>
                    <a:pt x="495625" y="415528"/>
                    <a:pt x="495899" y="397961"/>
                  </a:cubicBezTo>
                  <a:close/>
                  <a:moveTo>
                    <a:pt x="289252" y="358061"/>
                  </a:moveTo>
                  <a:lnTo>
                    <a:pt x="289249" y="358087"/>
                  </a:lnTo>
                  <a:lnTo>
                    <a:pt x="288429" y="372279"/>
                  </a:lnTo>
                  <a:lnTo>
                    <a:pt x="287181" y="390263"/>
                  </a:lnTo>
                  <a:lnTo>
                    <a:pt x="286893" y="398838"/>
                  </a:lnTo>
                  <a:lnTo>
                    <a:pt x="286701" y="402165"/>
                  </a:lnTo>
                  <a:lnTo>
                    <a:pt x="287179" y="387912"/>
                  </a:lnTo>
                  <a:cubicBezTo>
                    <a:pt x="287733" y="376149"/>
                    <a:pt x="288409" y="366066"/>
                    <a:pt x="289248" y="358087"/>
                  </a:cubicBezTo>
                  <a:close/>
                  <a:moveTo>
                    <a:pt x="296920" y="310739"/>
                  </a:moveTo>
                  <a:lnTo>
                    <a:pt x="289252" y="358061"/>
                  </a:lnTo>
                  <a:lnTo>
                    <a:pt x="294307" y="317179"/>
                  </a:lnTo>
                  <a:close/>
                  <a:moveTo>
                    <a:pt x="301470" y="299529"/>
                  </a:moveTo>
                  <a:lnTo>
                    <a:pt x="298558" y="306704"/>
                  </a:lnTo>
                  <a:lnTo>
                    <a:pt x="297737" y="308062"/>
                  </a:lnTo>
                  <a:lnTo>
                    <a:pt x="297558" y="309167"/>
                  </a:lnTo>
                  <a:lnTo>
                    <a:pt x="296920" y="310739"/>
                  </a:lnTo>
                  <a:lnTo>
                    <a:pt x="297735" y="305710"/>
                  </a:lnTo>
                  <a:close/>
                  <a:moveTo>
                    <a:pt x="483118" y="298753"/>
                  </a:moveTo>
                  <a:lnTo>
                    <a:pt x="489189" y="310293"/>
                  </a:lnTo>
                  <a:cubicBezTo>
                    <a:pt x="493416" y="324252"/>
                    <a:pt x="495718" y="340264"/>
                    <a:pt x="496353" y="358182"/>
                  </a:cubicBezTo>
                  <a:lnTo>
                    <a:pt x="496328" y="360361"/>
                  </a:lnTo>
                  <a:lnTo>
                    <a:pt x="496327" y="360355"/>
                  </a:lnTo>
                  <a:lnTo>
                    <a:pt x="496352" y="358182"/>
                  </a:lnTo>
                  <a:lnTo>
                    <a:pt x="495286" y="353397"/>
                  </a:lnTo>
                  <a:lnTo>
                    <a:pt x="489190" y="312645"/>
                  </a:lnTo>
                  <a:lnTo>
                    <a:pt x="484026" y="302828"/>
                  </a:lnTo>
                  <a:close/>
                  <a:moveTo>
                    <a:pt x="312270" y="281652"/>
                  </a:moveTo>
                  <a:lnTo>
                    <a:pt x="301470" y="299529"/>
                  </a:lnTo>
                  <a:lnTo>
                    <a:pt x="307000" y="285901"/>
                  </a:lnTo>
                  <a:close/>
                  <a:moveTo>
                    <a:pt x="473685" y="280824"/>
                  </a:moveTo>
                  <a:lnTo>
                    <a:pt x="481372" y="290914"/>
                  </a:lnTo>
                  <a:lnTo>
                    <a:pt x="483118" y="298753"/>
                  </a:lnTo>
                  <a:close/>
                  <a:moveTo>
                    <a:pt x="467383" y="272552"/>
                  </a:moveTo>
                  <a:lnTo>
                    <a:pt x="470477" y="274726"/>
                  </a:lnTo>
                  <a:lnTo>
                    <a:pt x="473685" y="280824"/>
                  </a:lnTo>
                  <a:close/>
                  <a:moveTo>
                    <a:pt x="438680" y="252385"/>
                  </a:moveTo>
                  <a:lnTo>
                    <a:pt x="463812" y="267865"/>
                  </a:lnTo>
                  <a:lnTo>
                    <a:pt x="467383" y="272552"/>
                  </a:lnTo>
                  <a:close/>
                  <a:moveTo>
                    <a:pt x="392214" y="246486"/>
                  </a:moveTo>
                  <a:cubicBezTo>
                    <a:pt x="428409" y="247079"/>
                    <a:pt x="453809" y="257674"/>
                    <a:pt x="470478" y="277078"/>
                  </a:cubicBezTo>
                  <a:lnTo>
                    <a:pt x="484026" y="302828"/>
                  </a:lnTo>
                  <a:lnTo>
                    <a:pt x="495286" y="353397"/>
                  </a:lnTo>
                  <a:lnTo>
                    <a:pt x="496327" y="360355"/>
                  </a:lnTo>
                  <a:lnTo>
                    <a:pt x="495898" y="397961"/>
                  </a:lnTo>
                  <a:cubicBezTo>
                    <a:pt x="495624" y="415528"/>
                    <a:pt x="495257" y="436973"/>
                    <a:pt x="494881" y="461012"/>
                  </a:cubicBezTo>
                  <a:lnTo>
                    <a:pt x="494266" y="506417"/>
                  </a:lnTo>
                  <a:lnTo>
                    <a:pt x="494267" y="506416"/>
                  </a:lnTo>
                  <a:lnTo>
                    <a:pt x="493818" y="539623"/>
                  </a:lnTo>
                  <a:cubicBezTo>
                    <a:pt x="493513" y="567563"/>
                    <a:pt x="493286" y="596811"/>
                    <a:pt x="493224" y="626081"/>
                  </a:cubicBezTo>
                  <a:lnTo>
                    <a:pt x="493231" y="627553"/>
                  </a:lnTo>
                  <a:lnTo>
                    <a:pt x="493225" y="628433"/>
                  </a:lnTo>
                  <a:cubicBezTo>
                    <a:pt x="492975" y="745514"/>
                    <a:pt x="495357" y="862953"/>
                    <a:pt x="505879" y="898482"/>
                  </a:cubicBezTo>
                  <a:cubicBezTo>
                    <a:pt x="526923" y="969540"/>
                    <a:pt x="557764" y="786882"/>
                    <a:pt x="622620" y="786882"/>
                  </a:cubicBezTo>
                  <a:cubicBezTo>
                    <a:pt x="687476" y="786882"/>
                    <a:pt x="739361" y="836482"/>
                    <a:pt x="739361" y="898482"/>
                  </a:cubicBezTo>
                  <a:lnTo>
                    <a:pt x="739361" y="954282"/>
                  </a:lnTo>
                  <a:cubicBezTo>
                    <a:pt x="739361" y="892282"/>
                    <a:pt x="791246" y="842682"/>
                    <a:pt x="849616" y="842682"/>
                  </a:cubicBezTo>
                  <a:cubicBezTo>
                    <a:pt x="914473" y="842682"/>
                    <a:pt x="966358" y="892282"/>
                    <a:pt x="966358" y="954282"/>
                  </a:cubicBezTo>
                  <a:lnTo>
                    <a:pt x="966358" y="1010082"/>
                  </a:lnTo>
                  <a:cubicBezTo>
                    <a:pt x="966358" y="948082"/>
                    <a:pt x="1018243" y="898482"/>
                    <a:pt x="1083099" y="898482"/>
                  </a:cubicBezTo>
                  <a:cubicBezTo>
                    <a:pt x="1147955" y="898482"/>
                    <a:pt x="1193354" y="948082"/>
                    <a:pt x="1193354" y="1010082"/>
                  </a:cubicBezTo>
                  <a:lnTo>
                    <a:pt x="1193354" y="1245682"/>
                  </a:lnTo>
                  <a:lnTo>
                    <a:pt x="1193354" y="1431683"/>
                  </a:lnTo>
                  <a:lnTo>
                    <a:pt x="1193354" y="1493683"/>
                  </a:lnTo>
                  <a:cubicBezTo>
                    <a:pt x="1160926" y="1778884"/>
                    <a:pt x="907987" y="2002084"/>
                    <a:pt x="596677" y="2002084"/>
                  </a:cubicBezTo>
                  <a:cubicBezTo>
                    <a:pt x="265911" y="2002084"/>
                    <a:pt x="0" y="1747884"/>
                    <a:pt x="0" y="1431683"/>
                  </a:cubicBezTo>
                  <a:lnTo>
                    <a:pt x="0" y="1109282"/>
                  </a:lnTo>
                  <a:lnTo>
                    <a:pt x="0" y="997682"/>
                  </a:lnTo>
                  <a:lnTo>
                    <a:pt x="116742" y="997682"/>
                  </a:lnTo>
                  <a:cubicBezTo>
                    <a:pt x="181598" y="997682"/>
                    <a:pt x="226997" y="1047282"/>
                    <a:pt x="226997" y="1109282"/>
                  </a:cubicBezTo>
                  <a:lnTo>
                    <a:pt x="226997" y="1375883"/>
                  </a:lnTo>
                  <a:cubicBezTo>
                    <a:pt x="265911" y="1375883"/>
                    <a:pt x="278882" y="1344883"/>
                    <a:pt x="278882" y="1320083"/>
                  </a:cubicBezTo>
                  <a:lnTo>
                    <a:pt x="278882" y="1010082"/>
                  </a:lnTo>
                  <a:lnTo>
                    <a:pt x="278882" y="738056"/>
                  </a:lnTo>
                  <a:cubicBezTo>
                    <a:pt x="280743" y="709242"/>
                    <a:pt x="281901" y="675222"/>
                    <a:pt x="282697" y="639405"/>
                  </a:cubicBezTo>
                  <a:lnTo>
                    <a:pt x="283227" y="604037"/>
                  </a:lnTo>
                  <a:lnTo>
                    <a:pt x="284019" y="554865"/>
                  </a:lnTo>
                  <a:lnTo>
                    <a:pt x="284242" y="536372"/>
                  </a:lnTo>
                  <a:lnTo>
                    <a:pt x="284338" y="529962"/>
                  </a:lnTo>
                  <a:lnTo>
                    <a:pt x="285612" y="445461"/>
                  </a:lnTo>
                  <a:lnTo>
                    <a:pt x="286102" y="422418"/>
                  </a:lnTo>
                  <a:lnTo>
                    <a:pt x="286893" y="398838"/>
                  </a:lnTo>
                  <a:lnTo>
                    <a:pt x="288429" y="372279"/>
                  </a:lnTo>
                  <a:lnTo>
                    <a:pt x="289250" y="360439"/>
                  </a:lnTo>
                  <a:lnTo>
                    <a:pt x="297558" y="309167"/>
                  </a:lnTo>
                  <a:lnTo>
                    <a:pt x="298558" y="306704"/>
                  </a:lnTo>
                  <a:lnTo>
                    <a:pt x="315044" y="279415"/>
                  </a:lnTo>
                  <a:lnTo>
                    <a:pt x="338643" y="260387"/>
                  </a:lnTo>
                  <a:lnTo>
                    <a:pt x="351480" y="252389"/>
                  </a:lnTo>
                  <a:cubicBezTo>
                    <a:pt x="363769" y="248129"/>
                    <a:pt x="377473" y="246233"/>
                    <a:pt x="392214" y="246486"/>
                  </a:cubicBezTo>
                  <a:close/>
                  <a:moveTo>
                    <a:pt x="392212" y="244134"/>
                  </a:moveTo>
                  <a:lnTo>
                    <a:pt x="351479" y="250037"/>
                  </a:lnTo>
                  <a:lnTo>
                    <a:pt x="338643" y="260387"/>
                  </a:lnTo>
                  <a:lnTo>
                    <a:pt x="319234" y="272480"/>
                  </a:lnTo>
                  <a:lnTo>
                    <a:pt x="315044" y="279415"/>
                  </a:lnTo>
                  <a:lnTo>
                    <a:pt x="312270" y="281652"/>
                  </a:lnTo>
                  <a:lnTo>
                    <a:pt x="319232" y="270128"/>
                  </a:lnTo>
                  <a:cubicBezTo>
                    <a:pt x="337398" y="251715"/>
                    <a:pt x="362730" y="243629"/>
                    <a:pt x="392212" y="244134"/>
                  </a:cubicBezTo>
                  <a:close/>
                  <a:moveTo>
                    <a:pt x="392212" y="244134"/>
                  </a:moveTo>
                  <a:lnTo>
                    <a:pt x="392213" y="244134"/>
                  </a:lnTo>
                  <a:cubicBezTo>
                    <a:pt x="410311" y="244430"/>
                    <a:pt x="425709" y="247227"/>
                    <a:pt x="438667" y="252376"/>
                  </a:cubicBezTo>
                  <a:lnTo>
                    <a:pt x="438680" y="252385"/>
                  </a:lnTo>
                  <a:lnTo>
                    <a:pt x="438666" y="252376"/>
                  </a:lnTo>
                  <a:close/>
                  <a:moveTo>
                    <a:pt x="400753" y="0"/>
                  </a:moveTo>
                  <a:cubicBezTo>
                    <a:pt x="582968" y="0"/>
                    <a:pt x="730683" y="147715"/>
                    <a:pt x="730683" y="329930"/>
                  </a:cubicBezTo>
                  <a:cubicBezTo>
                    <a:pt x="730683" y="466592"/>
                    <a:pt x="647593" y="583847"/>
                    <a:pt x="529177" y="633933"/>
                  </a:cubicBezTo>
                  <a:lnTo>
                    <a:pt x="493310" y="645066"/>
                  </a:lnTo>
                  <a:lnTo>
                    <a:pt x="493231" y="627553"/>
                  </a:lnTo>
                  <a:lnTo>
                    <a:pt x="493819" y="541975"/>
                  </a:lnTo>
                  <a:lnTo>
                    <a:pt x="494300" y="506394"/>
                  </a:lnTo>
                  <a:lnTo>
                    <a:pt x="543825" y="473003"/>
                  </a:lnTo>
                  <a:cubicBezTo>
                    <a:pt x="580441" y="436388"/>
                    <a:pt x="603088" y="385804"/>
                    <a:pt x="603088" y="329930"/>
                  </a:cubicBezTo>
                  <a:cubicBezTo>
                    <a:pt x="603088" y="218183"/>
                    <a:pt x="512499" y="127594"/>
                    <a:pt x="400752" y="127594"/>
                  </a:cubicBezTo>
                  <a:cubicBezTo>
                    <a:pt x="289005" y="127594"/>
                    <a:pt x="198416" y="218183"/>
                    <a:pt x="198416" y="329930"/>
                  </a:cubicBezTo>
                  <a:cubicBezTo>
                    <a:pt x="198416" y="385804"/>
                    <a:pt x="221064" y="436388"/>
                    <a:pt x="257679" y="473003"/>
                  </a:cubicBezTo>
                  <a:lnTo>
                    <a:pt x="284785" y="491279"/>
                  </a:lnTo>
                  <a:lnTo>
                    <a:pt x="284242" y="536372"/>
                  </a:lnTo>
                  <a:lnTo>
                    <a:pt x="283227" y="604037"/>
                  </a:lnTo>
                  <a:lnTo>
                    <a:pt x="282696" y="637053"/>
                  </a:lnTo>
                  <a:lnTo>
                    <a:pt x="282693" y="637150"/>
                  </a:lnTo>
                  <a:lnTo>
                    <a:pt x="272330" y="633933"/>
                  </a:lnTo>
                  <a:cubicBezTo>
                    <a:pt x="153913" y="583847"/>
                    <a:pt x="70823" y="466592"/>
                    <a:pt x="70823" y="329930"/>
                  </a:cubicBezTo>
                  <a:cubicBezTo>
                    <a:pt x="70823" y="147715"/>
                    <a:pt x="218538" y="0"/>
                    <a:pt x="400753" y="0"/>
                  </a:cubicBezTo>
                  <a:close/>
                </a:path>
              </a:pathLst>
            </a:custGeom>
            <a:noFill/>
            <a:ln w="12700">
              <a:solidFill>
                <a:srgbClr val="0478D4"/>
              </a:solidFill>
            </a:ln>
          </p:spPr>
          <p:txBody>
            <a:bodyPr vert="horz" wrap="square" lIns="93211" tIns="46605" rIns="93211" bIns="46605" numCol="1" anchor="t" anchorCtr="0" compatLnSpc="1">
              <a:prstTxWarp prst="textNoShape">
                <a:avLst/>
              </a:prstTxWarp>
              <a:noAutofit/>
            </a:bodyPr>
            <a:lstStyle/>
            <a:p>
              <a:pPr defTabSz="932227">
                <a:defRPr/>
              </a:pPr>
              <a:endParaRPr lang="en-US" sz="3999">
                <a:solidFill>
                  <a:srgbClr val="505050"/>
                </a:solidFill>
                <a:latin typeface="Segoe UI" panose="020B0502040204020203" pitchFamily="34" charset="0"/>
                <a:cs typeface="Segoe UI" panose="020B0502040204020203" pitchFamily="34" charset="0"/>
                <a:sym typeface="Segoe UI Semibold"/>
              </a:endParaRPr>
            </a:p>
          </p:txBody>
        </p:sp>
      </p:grpSp>
      <p:sp>
        <p:nvSpPr>
          <p:cNvPr id="174" name="Rectangle: Rounded Corners 173">
            <a:extLst>
              <a:ext uri="{FF2B5EF4-FFF2-40B4-BE49-F238E27FC236}">
                <a16:creationId xmlns:a16="http://schemas.microsoft.com/office/drawing/2014/main" id="{CFAD6029-BB8E-436B-B317-492B06B75812}"/>
              </a:ext>
            </a:extLst>
          </p:cNvPr>
          <p:cNvSpPr/>
          <p:nvPr/>
        </p:nvSpPr>
        <p:spPr>
          <a:xfrm>
            <a:off x="2043653" y="2842939"/>
            <a:ext cx="1047894" cy="778522"/>
          </a:xfrm>
          <a:prstGeom prst="roundRect">
            <a:avLst/>
          </a:prstGeom>
          <a:solidFill>
            <a:srgbClr val="7030A0"/>
          </a:solidFill>
          <a:ln w="12700" cap="flat" cmpd="sng" algn="ctr">
            <a:noFill/>
            <a:prstDash val="solid"/>
            <a:miter lim="800000"/>
          </a:ln>
          <a:effectLst/>
        </p:spPr>
        <p:txBody>
          <a:bodyPr rtlCol="0" anchor="ctr"/>
          <a:lstStyle/>
          <a:p>
            <a:pPr algn="ctr" defTabSz="914126">
              <a:defRPr/>
            </a:pPr>
            <a:r>
              <a:rPr lang="en-AU" sz="1400">
                <a:solidFill>
                  <a:prstClr val="white"/>
                </a:solidFill>
                <a:latin typeface="Segoe UI" panose="020B0502040204020203" pitchFamily="34" charset="0"/>
                <a:cs typeface="Segoe UI" panose="020B0502040204020203" pitchFamily="34" charset="0"/>
                <a:sym typeface="Segoe UI Semibold"/>
              </a:rPr>
              <a:t>Field Gateways</a:t>
            </a:r>
          </a:p>
        </p:txBody>
      </p:sp>
      <p:sp>
        <p:nvSpPr>
          <p:cNvPr id="175" name="Rectangle: Rounded Corners 174">
            <a:extLst>
              <a:ext uri="{FF2B5EF4-FFF2-40B4-BE49-F238E27FC236}">
                <a16:creationId xmlns:a16="http://schemas.microsoft.com/office/drawing/2014/main" id="{A162CEA1-1ABE-4CAD-9EEE-392592CB1B93}"/>
              </a:ext>
            </a:extLst>
          </p:cNvPr>
          <p:cNvSpPr/>
          <p:nvPr/>
        </p:nvSpPr>
        <p:spPr>
          <a:xfrm>
            <a:off x="851334" y="2842939"/>
            <a:ext cx="912731" cy="353518"/>
          </a:xfrm>
          <a:prstGeom prst="roundRect">
            <a:avLst/>
          </a:prstGeom>
          <a:solidFill>
            <a:srgbClr val="7030A0"/>
          </a:solidFill>
          <a:ln w="12700" cap="flat" cmpd="sng" algn="ctr">
            <a:noFill/>
            <a:prstDash val="solid"/>
            <a:miter lim="800000"/>
          </a:ln>
          <a:effectLst/>
        </p:spPr>
        <p:txBody>
          <a:bodyPr rtlCol="0" anchor="ctr"/>
          <a:lstStyle/>
          <a:p>
            <a:pPr algn="ctr" defTabSz="914126">
              <a:defRPr/>
            </a:pPr>
            <a:r>
              <a:rPr lang="en-AU" sz="1000">
                <a:solidFill>
                  <a:prstClr val="white"/>
                </a:solidFill>
                <a:latin typeface="Segoe UI" panose="020B0502040204020203" pitchFamily="34" charset="0"/>
                <a:cs typeface="Segoe UI" panose="020B0502040204020203" pitchFamily="34" charset="0"/>
                <a:sym typeface="Segoe UI Semibold"/>
              </a:rPr>
              <a:t>Constrained Devices</a:t>
            </a:r>
          </a:p>
        </p:txBody>
      </p:sp>
      <p:sp>
        <p:nvSpPr>
          <p:cNvPr id="176" name="Rectangle: Rounded Corners 175">
            <a:extLst>
              <a:ext uri="{FF2B5EF4-FFF2-40B4-BE49-F238E27FC236}">
                <a16:creationId xmlns:a16="http://schemas.microsoft.com/office/drawing/2014/main" id="{14998521-474F-4EA3-A226-B2BA75C8BDE9}"/>
              </a:ext>
            </a:extLst>
          </p:cNvPr>
          <p:cNvSpPr/>
          <p:nvPr/>
        </p:nvSpPr>
        <p:spPr>
          <a:xfrm>
            <a:off x="851334" y="3267944"/>
            <a:ext cx="920252" cy="353518"/>
          </a:xfrm>
          <a:prstGeom prst="roundRect">
            <a:avLst/>
          </a:prstGeom>
          <a:solidFill>
            <a:srgbClr val="7030A0"/>
          </a:solidFill>
          <a:ln w="12700" cap="flat" cmpd="sng" algn="ctr">
            <a:noFill/>
            <a:prstDash val="solid"/>
            <a:miter lim="800000"/>
          </a:ln>
          <a:effectLst/>
        </p:spPr>
        <p:txBody>
          <a:bodyPr rtlCol="0" anchor="ctr"/>
          <a:lstStyle/>
          <a:p>
            <a:pPr algn="ctr" defTabSz="914126">
              <a:defRPr/>
            </a:pPr>
            <a:r>
              <a:rPr lang="en-AU" sz="1000">
                <a:solidFill>
                  <a:prstClr val="white"/>
                </a:solidFill>
                <a:latin typeface="Segoe UI" panose="020B0502040204020203" pitchFamily="34" charset="0"/>
                <a:cs typeface="Segoe UI" panose="020B0502040204020203" pitchFamily="34" charset="0"/>
                <a:sym typeface="Segoe UI Semibold"/>
              </a:rPr>
              <a:t>Constrained Devices</a:t>
            </a:r>
          </a:p>
        </p:txBody>
      </p:sp>
      <p:cxnSp>
        <p:nvCxnSpPr>
          <p:cNvPr id="177" name="Straight Arrow Connector 176">
            <a:extLst>
              <a:ext uri="{FF2B5EF4-FFF2-40B4-BE49-F238E27FC236}">
                <a16:creationId xmlns:a16="http://schemas.microsoft.com/office/drawing/2014/main" id="{EC87BA0E-C393-4820-B581-23C570E99BC7}"/>
              </a:ext>
            </a:extLst>
          </p:cNvPr>
          <p:cNvCxnSpPr>
            <a:cxnSpLocks/>
          </p:cNvCxnSpPr>
          <p:nvPr/>
        </p:nvCxnSpPr>
        <p:spPr>
          <a:xfrm>
            <a:off x="3091547" y="3267945"/>
            <a:ext cx="386556" cy="233575"/>
          </a:xfrm>
          <a:prstGeom prst="straightConnector1">
            <a:avLst/>
          </a:prstGeom>
          <a:noFill/>
          <a:ln w="6350" cap="flat" cmpd="sng" algn="ctr">
            <a:solidFill>
              <a:sysClr val="windowText" lastClr="000000"/>
            </a:solidFill>
            <a:prstDash val="solid"/>
            <a:miter lim="800000"/>
            <a:headEnd type="triangle"/>
            <a:tailEnd type="triangle"/>
          </a:ln>
          <a:effectLst/>
        </p:spPr>
      </p:cxnSp>
      <p:cxnSp>
        <p:nvCxnSpPr>
          <p:cNvPr id="178" name="Straight Arrow Connector 177">
            <a:extLst>
              <a:ext uri="{FF2B5EF4-FFF2-40B4-BE49-F238E27FC236}">
                <a16:creationId xmlns:a16="http://schemas.microsoft.com/office/drawing/2014/main" id="{779F9217-311E-48FC-92DD-62337BDEEA8E}"/>
              </a:ext>
            </a:extLst>
          </p:cNvPr>
          <p:cNvCxnSpPr>
            <a:cxnSpLocks/>
          </p:cNvCxnSpPr>
          <p:nvPr/>
        </p:nvCxnSpPr>
        <p:spPr>
          <a:xfrm>
            <a:off x="1777897" y="3034131"/>
            <a:ext cx="255874" cy="7705"/>
          </a:xfrm>
          <a:prstGeom prst="straightConnector1">
            <a:avLst/>
          </a:prstGeom>
          <a:noFill/>
          <a:ln w="6350" cap="flat" cmpd="sng" algn="ctr">
            <a:solidFill>
              <a:sysClr val="windowText" lastClr="000000"/>
            </a:solidFill>
            <a:prstDash val="solid"/>
            <a:miter lim="800000"/>
            <a:headEnd type="triangle"/>
            <a:tailEnd type="triangle"/>
          </a:ln>
          <a:effectLst/>
        </p:spPr>
      </p:cxnSp>
      <p:sp>
        <p:nvSpPr>
          <p:cNvPr id="179" name="Rectangle: Rounded Corners 178">
            <a:extLst>
              <a:ext uri="{FF2B5EF4-FFF2-40B4-BE49-F238E27FC236}">
                <a16:creationId xmlns:a16="http://schemas.microsoft.com/office/drawing/2014/main" id="{1DF2C455-7DD1-4E1C-B69E-AEB55DDB92FF}"/>
              </a:ext>
            </a:extLst>
          </p:cNvPr>
          <p:cNvSpPr/>
          <p:nvPr/>
        </p:nvSpPr>
        <p:spPr>
          <a:xfrm>
            <a:off x="2032083" y="3923063"/>
            <a:ext cx="1059465" cy="778522"/>
          </a:xfrm>
          <a:prstGeom prst="roundRect">
            <a:avLst/>
          </a:prstGeom>
          <a:solidFill>
            <a:srgbClr val="C55A11"/>
          </a:solidFill>
          <a:ln w="12700" cap="flat" cmpd="sng" algn="ctr">
            <a:noFill/>
            <a:prstDash val="solid"/>
            <a:miter lim="800000"/>
          </a:ln>
          <a:effectLst/>
        </p:spPr>
        <p:txBody>
          <a:bodyPr rtlCol="0" anchor="ctr"/>
          <a:lstStyle/>
          <a:p>
            <a:pPr algn="ctr" defTabSz="914126">
              <a:defRPr/>
            </a:pPr>
            <a:r>
              <a:rPr lang="en-AU" sz="1400">
                <a:solidFill>
                  <a:prstClr val="white"/>
                </a:solidFill>
                <a:latin typeface="Segoe UI" panose="020B0502040204020203" pitchFamily="34" charset="0"/>
                <a:cs typeface="Segoe UI" panose="020B0502040204020203" pitchFamily="34" charset="0"/>
                <a:sym typeface="Segoe UI Semibold"/>
              </a:rPr>
              <a:t>Intelligent</a:t>
            </a:r>
          </a:p>
          <a:p>
            <a:pPr algn="ctr" defTabSz="914126">
              <a:defRPr/>
            </a:pPr>
            <a:r>
              <a:rPr lang="en-AU" sz="1400">
                <a:solidFill>
                  <a:prstClr val="white"/>
                </a:solidFill>
                <a:latin typeface="Segoe UI" panose="020B0502040204020203" pitchFamily="34" charset="0"/>
                <a:cs typeface="Segoe UI" panose="020B0502040204020203" pitchFamily="34" charset="0"/>
                <a:sym typeface="Segoe UI Semibold"/>
              </a:rPr>
              <a:t>Edge</a:t>
            </a:r>
          </a:p>
        </p:txBody>
      </p:sp>
      <p:sp>
        <p:nvSpPr>
          <p:cNvPr id="180" name="Oval 179">
            <a:extLst>
              <a:ext uri="{FF2B5EF4-FFF2-40B4-BE49-F238E27FC236}">
                <a16:creationId xmlns:a16="http://schemas.microsoft.com/office/drawing/2014/main" id="{F5251FA6-DBF6-4E32-AE86-EC39AB73B28E}"/>
              </a:ext>
            </a:extLst>
          </p:cNvPr>
          <p:cNvSpPr/>
          <p:nvPr/>
        </p:nvSpPr>
        <p:spPr bwMode="auto">
          <a:xfrm>
            <a:off x="1283642" y="1478592"/>
            <a:ext cx="1058102" cy="1058102"/>
          </a:xfrm>
          <a:prstGeom prst="ellipse">
            <a:avLst/>
          </a:prstGeom>
          <a:solidFill>
            <a:srgbClr val="00B050"/>
          </a:solidFill>
          <a:ln w="12700" cap="flat" cmpd="sng" algn="ctr">
            <a:solidFill>
              <a:sysClr val="window" lastClr="FFFFFF"/>
            </a:solid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defRPr/>
            </a:pPr>
            <a:r>
              <a:rPr lang="en-US" sz="14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rPr>
              <a:t>IoT Devices</a:t>
            </a:r>
          </a:p>
        </p:txBody>
      </p:sp>
      <p:sp>
        <p:nvSpPr>
          <p:cNvPr id="181" name="Rectangle 180">
            <a:extLst>
              <a:ext uri="{FF2B5EF4-FFF2-40B4-BE49-F238E27FC236}">
                <a16:creationId xmlns:a16="http://schemas.microsoft.com/office/drawing/2014/main" id="{EDF6DFB8-0465-4EF1-BED5-98BF5AB1F272}"/>
              </a:ext>
            </a:extLst>
          </p:cNvPr>
          <p:cNvSpPr/>
          <p:nvPr/>
        </p:nvSpPr>
        <p:spPr>
          <a:xfrm>
            <a:off x="2421681" y="1795718"/>
            <a:ext cx="919556" cy="409460"/>
          </a:xfrm>
          <a:prstGeom prst="rect">
            <a:avLst/>
          </a:prstGeom>
          <a:noFill/>
          <a:ln w="12700" cap="flat" cmpd="sng" algn="ctr">
            <a:noFill/>
            <a:prstDash val="solid"/>
            <a:miter lim="800000"/>
          </a:ln>
          <a:effectLst/>
        </p:spPr>
        <p:txBody>
          <a:bodyPr rtlCol="0" anchor="ctr"/>
          <a:lstStyle/>
          <a:p>
            <a:pPr algn="ctr" defTabSz="914126">
              <a:defRPr/>
            </a:pPr>
            <a:r>
              <a:rPr lang="en-AU" sz="1100">
                <a:solidFill>
                  <a:prstClr val="black"/>
                </a:solidFill>
                <a:latin typeface="Segoe UI" panose="020B0502040204020203" pitchFamily="34" charset="0"/>
                <a:cs typeface="Segoe UI" panose="020B0502040204020203" pitchFamily="34" charset="0"/>
                <a:sym typeface="Segoe UI Semibold"/>
              </a:rPr>
              <a:t>Custom</a:t>
            </a:r>
          </a:p>
          <a:p>
            <a:pPr algn="ctr" defTabSz="914126">
              <a:defRPr/>
            </a:pPr>
            <a:r>
              <a:rPr lang="en-AU" sz="1100">
                <a:solidFill>
                  <a:prstClr val="black"/>
                </a:solidFill>
                <a:latin typeface="Segoe UI" panose="020B0502040204020203" pitchFamily="34" charset="0"/>
                <a:cs typeface="Segoe UI" panose="020B0502040204020203" pitchFamily="34" charset="0"/>
                <a:sym typeface="Segoe UI Semibold"/>
              </a:rPr>
              <a:t> Protocols</a:t>
            </a:r>
          </a:p>
        </p:txBody>
      </p:sp>
      <p:sp>
        <p:nvSpPr>
          <p:cNvPr id="182" name="Rectangle: Rounded Corners 181">
            <a:extLst>
              <a:ext uri="{FF2B5EF4-FFF2-40B4-BE49-F238E27FC236}">
                <a16:creationId xmlns:a16="http://schemas.microsoft.com/office/drawing/2014/main" id="{D3E6D136-2189-4506-B09C-7DD299FEA796}"/>
              </a:ext>
            </a:extLst>
          </p:cNvPr>
          <p:cNvSpPr/>
          <p:nvPr/>
        </p:nvSpPr>
        <p:spPr>
          <a:xfrm>
            <a:off x="3340713" y="1692060"/>
            <a:ext cx="1047894" cy="625768"/>
          </a:xfrm>
          <a:prstGeom prst="roundRect">
            <a:avLst/>
          </a:prstGeom>
          <a:solidFill>
            <a:srgbClr val="00B050"/>
          </a:solidFill>
          <a:ln w="12700" cap="flat" cmpd="sng" algn="ctr">
            <a:noFill/>
            <a:prstDash val="solid"/>
            <a:miter lim="800000"/>
          </a:ln>
          <a:effectLst/>
        </p:spPr>
        <p:txBody>
          <a:bodyPr rtlCol="0" anchor="ctr"/>
          <a:lstStyle/>
          <a:p>
            <a:pPr algn="ctr" defTabSz="914126">
              <a:defRPr/>
            </a:pPr>
            <a:r>
              <a:rPr lang="en-AU" sz="1400">
                <a:solidFill>
                  <a:prstClr val="white"/>
                </a:solidFill>
                <a:latin typeface="Segoe UI" panose="020B0502040204020203" pitchFamily="34" charset="0"/>
                <a:cs typeface="Segoe UI" panose="020B0502040204020203" pitchFamily="34" charset="0"/>
                <a:sym typeface="Segoe UI Semibold"/>
              </a:rPr>
              <a:t>Custom</a:t>
            </a:r>
          </a:p>
          <a:p>
            <a:pPr algn="ctr" defTabSz="914126">
              <a:defRPr/>
            </a:pPr>
            <a:r>
              <a:rPr lang="en-AU" sz="1400">
                <a:solidFill>
                  <a:prstClr val="white"/>
                </a:solidFill>
                <a:latin typeface="Segoe UI" panose="020B0502040204020203" pitchFamily="34" charset="0"/>
                <a:cs typeface="Segoe UI" panose="020B0502040204020203" pitchFamily="34" charset="0"/>
                <a:sym typeface="Segoe UI Semibold"/>
              </a:rPr>
              <a:t>Cloud Gateways</a:t>
            </a:r>
          </a:p>
        </p:txBody>
      </p:sp>
      <p:cxnSp>
        <p:nvCxnSpPr>
          <p:cNvPr id="183" name="Straight Arrow Connector 182">
            <a:extLst>
              <a:ext uri="{FF2B5EF4-FFF2-40B4-BE49-F238E27FC236}">
                <a16:creationId xmlns:a16="http://schemas.microsoft.com/office/drawing/2014/main" id="{3DE76813-95AB-4DF4-A57D-37DEC215A923}"/>
              </a:ext>
            </a:extLst>
          </p:cNvPr>
          <p:cNvCxnSpPr>
            <a:cxnSpLocks/>
          </p:cNvCxnSpPr>
          <p:nvPr/>
        </p:nvCxnSpPr>
        <p:spPr>
          <a:xfrm flipV="1">
            <a:off x="2341745" y="2000449"/>
            <a:ext cx="999493" cy="7195"/>
          </a:xfrm>
          <a:prstGeom prst="straightConnector1">
            <a:avLst/>
          </a:prstGeom>
          <a:noFill/>
          <a:ln w="6350" cap="flat" cmpd="sng" algn="ctr">
            <a:solidFill>
              <a:sysClr val="windowText" lastClr="000000"/>
            </a:solidFill>
            <a:prstDash val="solid"/>
            <a:miter lim="800000"/>
            <a:headEnd type="triangle"/>
            <a:tailEnd type="triangle"/>
          </a:ln>
          <a:effectLst/>
        </p:spPr>
      </p:cxnSp>
      <p:cxnSp>
        <p:nvCxnSpPr>
          <p:cNvPr id="184" name="Straight Arrow Connector 183">
            <a:extLst>
              <a:ext uri="{FF2B5EF4-FFF2-40B4-BE49-F238E27FC236}">
                <a16:creationId xmlns:a16="http://schemas.microsoft.com/office/drawing/2014/main" id="{BEFBE9DD-4556-4C2E-81D4-35C65858B8C5}"/>
              </a:ext>
            </a:extLst>
          </p:cNvPr>
          <p:cNvCxnSpPr>
            <a:cxnSpLocks/>
          </p:cNvCxnSpPr>
          <p:nvPr/>
        </p:nvCxnSpPr>
        <p:spPr>
          <a:xfrm>
            <a:off x="3864660" y="2317828"/>
            <a:ext cx="142" cy="1055345"/>
          </a:xfrm>
          <a:prstGeom prst="straightConnector1">
            <a:avLst/>
          </a:prstGeom>
          <a:noFill/>
          <a:ln w="6350" cap="flat" cmpd="sng" algn="ctr">
            <a:solidFill>
              <a:sysClr val="windowText" lastClr="000000"/>
            </a:solidFill>
            <a:prstDash val="solid"/>
            <a:miter lim="800000"/>
            <a:headEnd type="triangle"/>
            <a:tailEnd type="triangle"/>
          </a:ln>
          <a:effectLst/>
        </p:spPr>
      </p:cxnSp>
      <p:cxnSp>
        <p:nvCxnSpPr>
          <p:cNvPr id="185" name="Straight Arrow Connector 184">
            <a:extLst>
              <a:ext uri="{FF2B5EF4-FFF2-40B4-BE49-F238E27FC236}">
                <a16:creationId xmlns:a16="http://schemas.microsoft.com/office/drawing/2014/main" id="{5600C90A-76A7-4508-8768-81B6F5EE9254}"/>
              </a:ext>
            </a:extLst>
          </p:cNvPr>
          <p:cNvCxnSpPr>
            <a:cxnSpLocks/>
          </p:cNvCxnSpPr>
          <p:nvPr/>
        </p:nvCxnSpPr>
        <p:spPr>
          <a:xfrm>
            <a:off x="1777897" y="3452768"/>
            <a:ext cx="255874" cy="7705"/>
          </a:xfrm>
          <a:prstGeom prst="straightConnector1">
            <a:avLst/>
          </a:prstGeom>
          <a:noFill/>
          <a:ln w="6350" cap="flat" cmpd="sng" algn="ctr">
            <a:solidFill>
              <a:sysClr val="windowText" lastClr="000000"/>
            </a:solidFill>
            <a:prstDash val="solid"/>
            <a:miter lim="800000"/>
            <a:headEnd type="triangle"/>
            <a:tailEnd type="triangle"/>
          </a:ln>
          <a:effectLst/>
        </p:spPr>
      </p:cxnSp>
      <p:cxnSp>
        <p:nvCxnSpPr>
          <p:cNvPr id="186" name="Straight Arrow Connector 185">
            <a:extLst>
              <a:ext uri="{FF2B5EF4-FFF2-40B4-BE49-F238E27FC236}">
                <a16:creationId xmlns:a16="http://schemas.microsoft.com/office/drawing/2014/main" id="{C8A65B6A-CD3A-44B4-81B5-ED6A718403B2}"/>
              </a:ext>
            </a:extLst>
          </p:cNvPr>
          <p:cNvCxnSpPr>
            <a:cxnSpLocks/>
          </p:cNvCxnSpPr>
          <p:nvPr/>
        </p:nvCxnSpPr>
        <p:spPr>
          <a:xfrm flipV="1">
            <a:off x="3099168" y="4263249"/>
            <a:ext cx="211735" cy="69838"/>
          </a:xfrm>
          <a:prstGeom prst="straightConnector1">
            <a:avLst/>
          </a:prstGeom>
          <a:noFill/>
          <a:ln w="6350" cap="flat" cmpd="sng" algn="ctr">
            <a:solidFill>
              <a:sysClr val="windowText" lastClr="000000"/>
            </a:solidFill>
            <a:prstDash val="solid"/>
            <a:miter lim="800000"/>
            <a:headEnd type="triangle"/>
            <a:tailEnd type="triangle"/>
          </a:ln>
          <a:effectLst/>
        </p:spPr>
      </p:cxnSp>
      <p:sp>
        <p:nvSpPr>
          <p:cNvPr id="187" name="Rectangle: Rounded Corners 186">
            <a:extLst>
              <a:ext uri="{FF2B5EF4-FFF2-40B4-BE49-F238E27FC236}">
                <a16:creationId xmlns:a16="http://schemas.microsoft.com/office/drawing/2014/main" id="{14AC6151-51E9-4930-A3D1-BDF68A392F26}"/>
              </a:ext>
            </a:extLst>
          </p:cNvPr>
          <p:cNvSpPr/>
          <p:nvPr/>
        </p:nvSpPr>
        <p:spPr>
          <a:xfrm>
            <a:off x="858856" y="3923062"/>
            <a:ext cx="912731" cy="353518"/>
          </a:xfrm>
          <a:prstGeom prst="roundRect">
            <a:avLst/>
          </a:prstGeom>
          <a:solidFill>
            <a:srgbClr val="C55A11"/>
          </a:solidFill>
          <a:ln w="12700" cap="flat" cmpd="sng" algn="ctr">
            <a:noFill/>
            <a:prstDash val="solid"/>
            <a:miter lim="800000"/>
          </a:ln>
          <a:effectLst/>
        </p:spPr>
        <p:txBody>
          <a:bodyPr rtlCol="0" anchor="ctr"/>
          <a:lstStyle/>
          <a:p>
            <a:pPr algn="ctr" defTabSz="914126">
              <a:defRPr/>
            </a:pPr>
            <a:r>
              <a:rPr lang="en-AU" sz="1000">
                <a:solidFill>
                  <a:prstClr val="white"/>
                </a:solidFill>
                <a:latin typeface="Segoe UI" panose="020B0502040204020203" pitchFamily="34" charset="0"/>
                <a:cs typeface="Segoe UI" panose="020B0502040204020203" pitchFamily="34" charset="0"/>
                <a:sym typeface="Segoe UI Semibold"/>
              </a:rPr>
              <a:t>Edge Devices</a:t>
            </a:r>
          </a:p>
        </p:txBody>
      </p:sp>
      <p:sp>
        <p:nvSpPr>
          <p:cNvPr id="188" name="Rectangle: Rounded Corners 187">
            <a:extLst>
              <a:ext uri="{FF2B5EF4-FFF2-40B4-BE49-F238E27FC236}">
                <a16:creationId xmlns:a16="http://schemas.microsoft.com/office/drawing/2014/main" id="{3D0B110B-CA35-4FBB-8EFD-EB65144B58D7}"/>
              </a:ext>
            </a:extLst>
          </p:cNvPr>
          <p:cNvSpPr/>
          <p:nvPr/>
        </p:nvSpPr>
        <p:spPr>
          <a:xfrm>
            <a:off x="858856" y="4348067"/>
            <a:ext cx="920252" cy="353518"/>
          </a:xfrm>
          <a:prstGeom prst="roundRect">
            <a:avLst/>
          </a:prstGeom>
          <a:solidFill>
            <a:srgbClr val="C55A11"/>
          </a:solidFill>
          <a:ln w="12700" cap="flat" cmpd="sng" algn="ctr">
            <a:noFill/>
            <a:prstDash val="solid"/>
            <a:miter lim="800000"/>
          </a:ln>
          <a:effectLst/>
        </p:spPr>
        <p:txBody>
          <a:bodyPr rtlCol="0" anchor="ctr"/>
          <a:lstStyle/>
          <a:p>
            <a:pPr algn="ctr" defTabSz="914126">
              <a:defRPr/>
            </a:pPr>
            <a:r>
              <a:rPr lang="en-AU" sz="1000">
                <a:solidFill>
                  <a:prstClr val="white"/>
                </a:solidFill>
                <a:latin typeface="Segoe UI" panose="020B0502040204020203" pitchFamily="34" charset="0"/>
                <a:cs typeface="Segoe UI" panose="020B0502040204020203" pitchFamily="34" charset="0"/>
                <a:sym typeface="Segoe UI Semibold"/>
              </a:rPr>
              <a:t>Edge Devices</a:t>
            </a:r>
          </a:p>
        </p:txBody>
      </p:sp>
      <p:cxnSp>
        <p:nvCxnSpPr>
          <p:cNvPr id="189" name="Straight Arrow Connector 188">
            <a:extLst>
              <a:ext uri="{FF2B5EF4-FFF2-40B4-BE49-F238E27FC236}">
                <a16:creationId xmlns:a16="http://schemas.microsoft.com/office/drawing/2014/main" id="{998B98AA-9E52-42C4-A78A-AB6DE9301547}"/>
              </a:ext>
            </a:extLst>
          </p:cNvPr>
          <p:cNvCxnSpPr>
            <a:cxnSpLocks/>
          </p:cNvCxnSpPr>
          <p:nvPr/>
        </p:nvCxnSpPr>
        <p:spPr>
          <a:xfrm>
            <a:off x="1764064" y="4115316"/>
            <a:ext cx="255874" cy="7705"/>
          </a:xfrm>
          <a:prstGeom prst="straightConnector1">
            <a:avLst/>
          </a:prstGeom>
          <a:noFill/>
          <a:ln w="6350" cap="flat" cmpd="sng" algn="ctr">
            <a:solidFill>
              <a:sysClr val="windowText" lastClr="000000"/>
            </a:solidFill>
            <a:prstDash val="solid"/>
            <a:miter lim="800000"/>
            <a:headEnd type="triangle"/>
            <a:tailEnd type="triangle"/>
          </a:ln>
          <a:effectLst/>
        </p:spPr>
      </p:cxnSp>
      <p:cxnSp>
        <p:nvCxnSpPr>
          <p:cNvPr id="190" name="Straight Arrow Connector 189">
            <a:extLst>
              <a:ext uri="{FF2B5EF4-FFF2-40B4-BE49-F238E27FC236}">
                <a16:creationId xmlns:a16="http://schemas.microsoft.com/office/drawing/2014/main" id="{4105D59F-443F-4871-9E51-8C192A495138}"/>
              </a:ext>
            </a:extLst>
          </p:cNvPr>
          <p:cNvCxnSpPr>
            <a:cxnSpLocks/>
          </p:cNvCxnSpPr>
          <p:nvPr/>
        </p:nvCxnSpPr>
        <p:spPr>
          <a:xfrm>
            <a:off x="1764064" y="4514903"/>
            <a:ext cx="255874" cy="7705"/>
          </a:xfrm>
          <a:prstGeom prst="straightConnector1">
            <a:avLst/>
          </a:prstGeom>
          <a:noFill/>
          <a:ln w="6350" cap="flat" cmpd="sng" algn="ctr">
            <a:solidFill>
              <a:sysClr val="windowText" lastClr="000000"/>
            </a:solidFill>
            <a:prstDash val="solid"/>
            <a:miter lim="800000"/>
            <a:headEnd type="triangle"/>
            <a:tailEnd type="triangle"/>
          </a:ln>
          <a:effectLst/>
        </p:spPr>
      </p:cxnSp>
      <p:grpSp>
        <p:nvGrpSpPr>
          <p:cNvPr id="48" name="Group 47">
            <a:extLst>
              <a:ext uri="{FF2B5EF4-FFF2-40B4-BE49-F238E27FC236}">
                <a16:creationId xmlns:a16="http://schemas.microsoft.com/office/drawing/2014/main" id="{54976302-9393-4E95-9588-336F1F3EF87F}"/>
              </a:ext>
            </a:extLst>
          </p:cNvPr>
          <p:cNvGrpSpPr/>
          <p:nvPr/>
        </p:nvGrpSpPr>
        <p:grpSpPr>
          <a:xfrm>
            <a:off x="2048376" y="6047952"/>
            <a:ext cx="450060" cy="575298"/>
            <a:chOff x="3041653" y="4644257"/>
            <a:chExt cx="1318030" cy="1684798"/>
          </a:xfrm>
        </p:grpSpPr>
        <p:sp>
          <p:nvSpPr>
            <p:cNvPr id="49" name="Oval 48">
              <a:extLst>
                <a:ext uri="{FF2B5EF4-FFF2-40B4-BE49-F238E27FC236}">
                  <a16:creationId xmlns:a16="http://schemas.microsoft.com/office/drawing/2014/main" id="{3EB3031F-BE29-4559-BBCA-F743449C485C}"/>
                </a:ext>
              </a:extLst>
            </p:cNvPr>
            <p:cNvSpPr/>
            <p:nvPr/>
          </p:nvSpPr>
          <p:spPr bwMode="auto">
            <a:xfrm>
              <a:off x="3070081" y="4644257"/>
              <a:ext cx="1261176" cy="1261176"/>
            </a:xfrm>
            <a:prstGeom prst="ellipse">
              <a:avLst/>
            </a:prstGeom>
            <a:noFill/>
            <a:ln w="19050">
              <a:solidFill>
                <a:srgbClr val="04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799">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sym typeface="Segoe UI Semibold"/>
              </a:endParaRPr>
            </a:p>
          </p:txBody>
        </p:sp>
        <p:grpSp>
          <p:nvGrpSpPr>
            <p:cNvPr id="50" name="Group 49">
              <a:extLst>
                <a:ext uri="{FF2B5EF4-FFF2-40B4-BE49-F238E27FC236}">
                  <a16:creationId xmlns:a16="http://schemas.microsoft.com/office/drawing/2014/main" id="{0A6CD212-49A9-42EE-B662-54A0576FFBE4}"/>
                </a:ext>
              </a:extLst>
            </p:cNvPr>
            <p:cNvGrpSpPr/>
            <p:nvPr/>
          </p:nvGrpSpPr>
          <p:grpSpPr>
            <a:xfrm rot="-2700000">
              <a:off x="3041653" y="5011025"/>
              <a:ext cx="1318030" cy="1318030"/>
              <a:chOff x="2059298" y="4518808"/>
              <a:chExt cx="914400" cy="914400"/>
            </a:xfrm>
          </p:grpSpPr>
          <p:sp>
            <p:nvSpPr>
              <p:cNvPr id="52" name="Arc 51">
                <a:extLst>
                  <a:ext uri="{FF2B5EF4-FFF2-40B4-BE49-F238E27FC236}">
                    <a16:creationId xmlns:a16="http://schemas.microsoft.com/office/drawing/2014/main" id="{34B27B67-8AC6-4E17-83B0-739D1F0C6BCB}"/>
                  </a:ext>
                </a:extLst>
              </p:cNvPr>
              <p:cNvSpPr/>
              <p:nvPr/>
            </p:nvSpPr>
            <p:spPr>
              <a:xfrm>
                <a:off x="2059298" y="4518808"/>
                <a:ext cx="914400" cy="914400"/>
              </a:xfrm>
              <a:prstGeom prst="arc">
                <a:avLst/>
              </a:prstGeom>
              <a:ln w="12700">
                <a:solidFill>
                  <a:srgbClr val="04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endParaRPr lang="en-US" sz="1799">
                  <a:solidFill>
                    <a:prstClr val="black"/>
                  </a:solidFill>
                  <a:latin typeface="Segoe UI" panose="020B0502040204020203" pitchFamily="34" charset="0"/>
                  <a:cs typeface="Segoe UI" panose="020B0502040204020203" pitchFamily="34" charset="0"/>
                  <a:sym typeface="Segoe UI Semibold"/>
                </a:endParaRPr>
              </a:p>
            </p:txBody>
          </p:sp>
          <p:sp>
            <p:nvSpPr>
              <p:cNvPr id="53" name="Arc 52">
                <a:extLst>
                  <a:ext uri="{FF2B5EF4-FFF2-40B4-BE49-F238E27FC236}">
                    <a16:creationId xmlns:a16="http://schemas.microsoft.com/office/drawing/2014/main" id="{E77DF2BB-F73B-4979-901E-85998440080D}"/>
                  </a:ext>
                </a:extLst>
              </p:cNvPr>
              <p:cNvSpPr/>
              <p:nvPr/>
            </p:nvSpPr>
            <p:spPr>
              <a:xfrm>
                <a:off x="2289175" y="4744664"/>
                <a:ext cx="457200" cy="457200"/>
              </a:xfrm>
              <a:prstGeom prst="arc">
                <a:avLst/>
              </a:prstGeom>
              <a:ln w="12700">
                <a:solidFill>
                  <a:srgbClr val="04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endParaRPr lang="en-US" sz="1799">
                  <a:solidFill>
                    <a:prstClr val="black"/>
                  </a:solidFill>
                  <a:latin typeface="Segoe UI" panose="020B0502040204020203" pitchFamily="34" charset="0"/>
                  <a:cs typeface="Segoe UI" panose="020B0502040204020203" pitchFamily="34" charset="0"/>
                  <a:sym typeface="Segoe UI Semibold"/>
                </a:endParaRPr>
              </a:p>
            </p:txBody>
          </p:sp>
          <p:sp>
            <p:nvSpPr>
              <p:cNvPr id="55" name="Arc 54">
                <a:extLst>
                  <a:ext uri="{FF2B5EF4-FFF2-40B4-BE49-F238E27FC236}">
                    <a16:creationId xmlns:a16="http://schemas.microsoft.com/office/drawing/2014/main" id="{F43D5C87-CC58-4ABF-8C8D-8BEB80CBBF15}"/>
                  </a:ext>
                </a:extLst>
              </p:cNvPr>
              <p:cNvSpPr/>
              <p:nvPr/>
            </p:nvSpPr>
            <p:spPr>
              <a:xfrm>
                <a:off x="2173598" y="4630364"/>
                <a:ext cx="685800" cy="685800"/>
              </a:xfrm>
              <a:prstGeom prst="arc">
                <a:avLst/>
              </a:prstGeom>
              <a:ln w="12700">
                <a:solidFill>
                  <a:srgbClr val="04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endParaRPr lang="en-US" sz="1799">
                  <a:solidFill>
                    <a:prstClr val="black"/>
                  </a:solidFill>
                  <a:latin typeface="Segoe UI" panose="020B0502040204020203" pitchFamily="34" charset="0"/>
                  <a:cs typeface="Segoe UI" panose="020B0502040204020203" pitchFamily="34" charset="0"/>
                  <a:sym typeface="Segoe UI Semibold"/>
                </a:endParaRPr>
              </a:p>
            </p:txBody>
          </p:sp>
          <p:sp>
            <p:nvSpPr>
              <p:cNvPr id="56" name="Oval 55">
                <a:extLst>
                  <a:ext uri="{FF2B5EF4-FFF2-40B4-BE49-F238E27FC236}">
                    <a16:creationId xmlns:a16="http://schemas.microsoft.com/office/drawing/2014/main" id="{CBBCE90B-5E18-4B7C-891A-22DEAE698C67}"/>
                  </a:ext>
                </a:extLst>
              </p:cNvPr>
              <p:cNvSpPr/>
              <p:nvPr/>
            </p:nvSpPr>
            <p:spPr bwMode="auto">
              <a:xfrm>
                <a:off x="2516498" y="4860758"/>
                <a:ext cx="111450" cy="111450"/>
              </a:xfrm>
              <a:prstGeom prst="ellipse">
                <a:avLst/>
              </a:prstGeom>
              <a:noFill/>
              <a:ln w="12700">
                <a:solidFill>
                  <a:srgbClr val="04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endParaRPr lang="en-US" sz="1600">
                  <a:gradFill>
                    <a:gsLst>
                      <a:gs pos="40075">
                        <a:srgbClr val="FFFFFF"/>
                      </a:gs>
                      <a:gs pos="30000">
                        <a:srgbClr val="FFFFFF"/>
                      </a:gs>
                    </a:gsLst>
                    <a:lin ang="5400000" scaled="0"/>
                  </a:gradFill>
                  <a:latin typeface="Segoe UI" panose="020B0502040204020203" pitchFamily="34" charset="0"/>
                  <a:cs typeface="Segoe UI" panose="020B0502040204020203" pitchFamily="34" charset="0"/>
                  <a:sym typeface="Segoe UI Semibold"/>
                </a:endParaRPr>
              </a:p>
            </p:txBody>
          </p:sp>
        </p:grpSp>
      </p:grpSp>
    </p:spTree>
    <p:extLst>
      <p:ext uri="{BB962C8B-B14F-4D97-AF65-F5344CB8AC3E}">
        <p14:creationId xmlns:p14="http://schemas.microsoft.com/office/powerpoint/2010/main" val="2245287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8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9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3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4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4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4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45"/>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4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5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5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5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6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6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6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6"/>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14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47"/>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4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54"/>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56"/>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6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6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p:bldP spid="139" grpId="0" animBg="1"/>
      <p:bldP spid="140" grpId="0" animBg="1"/>
      <p:bldP spid="141" grpId="0" animBg="1"/>
      <p:bldP spid="142" grpId="0" animBg="1"/>
      <p:bldP spid="153" grpId="0"/>
      <p:bldP spid="154" grpId="0"/>
      <p:bldP spid="155" grpId="0"/>
      <p:bldP spid="156" grpId="0"/>
      <p:bldP spid="158" grpId="0"/>
      <p:bldP spid="160" grpId="0" animBg="1"/>
      <p:bldP spid="161" grpId="0"/>
      <p:bldP spid="162" grpId="0" animBg="1"/>
      <p:bldP spid="163" grpId="0" animBg="1"/>
      <p:bldP spid="164" grpId="0" animBg="1"/>
      <p:bldP spid="165" grpId="0" animBg="1"/>
      <p:bldP spid="174" grpId="0" animBg="1"/>
      <p:bldP spid="175" grpId="0" animBg="1"/>
      <p:bldP spid="176" grpId="0" animBg="1"/>
      <p:bldP spid="179" grpId="0" animBg="1"/>
      <p:bldP spid="180" grpId="0" animBg="1"/>
      <p:bldP spid="181" grpId="0"/>
      <p:bldP spid="182" grpId="0" animBg="1"/>
      <p:bldP spid="187" grpId="0" animBg="1"/>
      <p:bldP spid="18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AB401C60-694E-478D-9367-8FB64475E126}"/>
              </a:ext>
            </a:extLst>
          </p:cNvPr>
          <p:cNvGraphicFramePr/>
          <p:nvPr/>
        </p:nvGraphicFramePr>
        <p:xfrm>
          <a:off x="270066" y="1189496"/>
          <a:ext cx="11651869" cy="4948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98E29CEF-A27F-43AF-ABD5-8CE844B41AAF}"/>
              </a:ext>
            </a:extLst>
          </p:cNvPr>
          <p:cNvGrpSpPr/>
          <p:nvPr/>
        </p:nvGrpSpPr>
        <p:grpSpPr>
          <a:xfrm>
            <a:off x="5003436" y="1494704"/>
            <a:ext cx="2187372" cy="1651358"/>
            <a:chOff x="779721" y="1552353"/>
            <a:chExt cx="2863702" cy="2161954"/>
          </a:xfrm>
        </p:grpSpPr>
        <p:sp>
          <p:nvSpPr>
            <p:cNvPr id="6" name="Rectangle: Rounded Corners 5">
              <a:extLst>
                <a:ext uri="{FF2B5EF4-FFF2-40B4-BE49-F238E27FC236}">
                  <a16:creationId xmlns:a16="http://schemas.microsoft.com/office/drawing/2014/main" id="{2F3102B4-BC2A-4647-B542-3E60A815A492}"/>
                </a:ext>
              </a:extLst>
            </p:cNvPr>
            <p:cNvSpPr/>
            <p:nvPr/>
          </p:nvSpPr>
          <p:spPr bwMode="auto">
            <a:xfrm>
              <a:off x="1046313" y="2288963"/>
              <a:ext cx="1431852" cy="1290084"/>
            </a:xfrm>
            <a:prstGeom prst="roundRect">
              <a:avLst/>
            </a:prstGeom>
            <a:solidFill>
              <a:schemeClr val="bg1">
                <a:lumMod val="20000"/>
                <a:lumOff val="80000"/>
              </a:schemeClr>
            </a:solidFill>
            <a:ln>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solidFill>
                    <a:srgbClr val="505050">
                      <a:lumMod val="50000"/>
                    </a:srgbClr>
                  </a:solidFill>
                  <a:latin typeface="Segoe UI"/>
                </a:rPr>
                <a:t>Factory</a:t>
              </a:r>
            </a:p>
            <a:p>
              <a:pPr algn="ctr" defTabSz="932293" fontAlgn="base">
                <a:spcBef>
                  <a:spcPct val="0"/>
                </a:spcBef>
                <a:spcAft>
                  <a:spcPct val="0"/>
                </a:spcAft>
              </a:pPr>
              <a:endParaRPr lang="en-US" sz="1600">
                <a:solidFill>
                  <a:srgbClr val="505050">
                    <a:lumMod val="50000"/>
                  </a:srgbClr>
                </a:solidFill>
                <a:latin typeface="Segoe UI"/>
              </a:endParaRPr>
            </a:p>
            <a:p>
              <a:pPr algn="ctr" defTabSz="932293" fontAlgn="base">
                <a:spcBef>
                  <a:spcPct val="0"/>
                </a:spcBef>
                <a:spcAft>
                  <a:spcPct val="0"/>
                </a:spcAft>
              </a:pPr>
              <a:endParaRPr lang="en-US" sz="1600">
                <a:solidFill>
                  <a:srgbClr val="505050">
                    <a:lumMod val="50000"/>
                  </a:srgbClr>
                </a:solidFill>
                <a:latin typeface="Segoe UI"/>
              </a:endParaRPr>
            </a:p>
            <a:p>
              <a:pPr algn="ctr" defTabSz="932293" fontAlgn="base">
                <a:spcBef>
                  <a:spcPct val="0"/>
                </a:spcBef>
                <a:spcAft>
                  <a:spcPct val="0"/>
                </a:spcAft>
              </a:pPr>
              <a:endParaRPr lang="en-US" sz="1600">
                <a:solidFill>
                  <a:srgbClr val="505050">
                    <a:lumMod val="50000"/>
                  </a:srgbClr>
                </a:solidFill>
                <a:latin typeface="Segoe UI"/>
              </a:endParaRPr>
            </a:p>
          </p:txBody>
        </p:sp>
        <p:sp>
          <p:nvSpPr>
            <p:cNvPr id="7" name="Rectangle 6">
              <a:extLst>
                <a:ext uri="{FF2B5EF4-FFF2-40B4-BE49-F238E27FC236}">
                  <a16:creationId xmlns:a16="http://schemas.microsoft.com/office/drawing/2014/main" id="{7E73DA47-96ED-452D-9547-19C651868CBB}"/>
                </a:ext>
              </a:extLst>
            </p:cNvPr>
            <p:cNvSpPr/>
            <p:nvPr/>
          </p:nvSpPr>
          <p:spPr bwMode="auto">
            <a:xfrm>
              <a:off x="779721" y="1552353"/>
              <a:ext cx="2863702" cy="21619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0">
                      <a:srgbClr val="FFFFFF"/>
                    </a:gs>
                    <a:gs pos="100000">
                      <a:srgbClr val="FFFFFF"/>
                    </a:gs>
                  </a:gsLst>
                  <a:lin ang="5400000" scaled="0"/>
                </a:gradFill>
                <a:latin typeface="Segoe UI"/>
              </a:endParaRPr>
            </a:p>
          </p:txBody>
        </p:sp>
        <p:pic>
          <p:nvPicPr>
            <p:cNvPr id="8" name="Graphic 7">
              <a:extLst>
                <a:ext uri="{FF2B5EF4-FFF2-40B4-BE49-F238E27FC236}">
                  <a16:creationId xmlns:a16="http://schemas.microsoft.com/office/drawing/2014/main" id="{B8735D50-8D13-4973-8470-63A2718AE0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8195" y="2839699"/>
              <a:ext cx="693564" cy="693564"/>
            </a:xfrm>
            <a:prstGeom prst="rect">
              <a:avLst/>
            </a:prstGeom>
          </p:spPr>
        </p:pic>
        <p:pic>
          <p:nvPicPr>
            <p:cNvPr id="9" name="Graphic 8">
              <a:extLst>
                <a:ext uri="{FF2B5EF4-FFF2-40B4-BE49-F238E27FC236}">
                  <a16:creationId xmlns:a16="http://schemas.microsoft.com/office/drawing/2014/main" id="{B942C7EF-ADDA-48AB-9E72-F8E6E9AF4E4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15611" y="2839699"/>
              <a:ext cx="693564" cy="693564"/>
            </a:xfrm>
            <a:prstGeom prst="rect">
              <a:avLst/>
            </a:prstGeom>
          </p:spPr>
        </p:pic>
        <p:sp>
          <p:nvSpPr>
            <p:cNvPr id="10" name="Rectangle 9">
              <a:extLst>
                <a:ext uri="{FF2B5EF4-FFF2-40B4-BE49-F238E27FC236}">
                  <a16:creationId xmlns:a16="http://schemas.microsoft.com/office/drawing/2014/main" id="{EBDD00B0-664D-4A49-AD2A-19A0FBF3EA37}"/>
                </a:ext>
              </a:extLst>
            </p:cNvPr>
            <p:cNvSpPr/>
            <p:nvPr/>
          </p:nvSpPr>
          <p:spPr bwMode="auto">
            <a:xfrm>
              <a:off x="2211572" y="2527010"/>
              <a:ext cx="467833" cy="414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GW</a:t>
              </a:r>
            </a:p>
          </p:txBody>
        </p:sp>
        <p:sp>
          <p:nvSpPr>
            <p:cNvPr id="11" name="Cloud 10">
              <a:extLst>
                <a:ext uri="{FF2B5EF4-FFF2-40B4-BE49-F238E27FC236}">
                  <a16:creationId xmlns:a16="http://schemas.microsoft.com/office/drawing/2014/main" id="{A752495F-476C-44E5-A0BA-81E133099E81}"/>
                </a:ext>
              </a:extLst>
            </p:cNvPr>
            <p:cNvSpPr/>
            <p:nvPr/>
          </p:nvSpPr>
          <p:spPr bwMode="auto">
            <a:xfrm>
              <a:off x="2502195" y="1618169"/>
              <a:ext cx="914400" cy="914400"/>
            </a:xfrm>
            <a:prstGeom prst="cloud">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IoT Hub</a:t>
              </a:r>
            </a:p>
          </p:txBody>
        </p:sp>
        <p:cxnSp>
          <p:nvCxnSpPr>
            <p:cNvPr id="12" name="Connector: Elbow 11">
              <a:extLst>
                <a:ext uri="{FF2B5EF4-FFF2-40B4-BE49-F238E27FC236}">
                  <a16:creationId xmlns:a16="http://schemas.microsoft.com/office/drawing/2014/main" id="{B22C9005-2B2D-479F-A16D-89F4A6A2CCC9}"/>
                </a:ext>
              </a:extLst>
            </p:cNvPr>
            <p:cNvCxnSpPr>
              <a:cxnSpLocks/>
              <a:stCxn id="10" idx="3"/>
              <a:endCxn id="11" idx="1"/>
            </p:cNvCxnSpPr>
            <p:nvPr/>
          </p:nvCxnSpPr>
          <p:spPr>
            <a:xfrm flipV="1">
              <a:off x="2679405" y="2531595"/>
              <a:ext cx="279990" cy="202750"/>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1C449A0-5CB8-49F6-85B0-A9EA73193B83}"/>
                </a:ext>
              </a:extLst>
            </p:cNvPr>
            <p:cNvCxnSpPr>
              <a:cxnSpLocks/>
              <a:stCxn id="9" idx="0"/>
              <a:endCxn id="10" idx="1"/>
            </p:cNvCxnSpPr>
            <p:nvPr/>
          </p:nvCxnSpPr>
          <p:spPr>
            <a:xfrm rot="5400000" flipH="1" flipV="1">
              <a:off x="1934305" y="2562433"/>
              <a:ext cx="105354" cy="449179"/>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9B70359-7979-4680-9E87-2C8448D27623}"/>
                </a:ext>
              </a:extLst>
            </p:cNvPr>
            <p:cNvCxnSpPr>
              <a:cxnSpLocks/>
              <a:stCxn id="8" idx="0"/>
              <a:endCxn id="10" idx="1"/>
            </p:cNvCxnSpPr>
            <p:nvPr/>
          </p:nvCxnSpPr>
          <p:spPr>
            <a:xfrm rot="5400000" flipH="1" flipV="1">
              <a:off x="1715597" y="2343725"/>
              <a:ext cx="105354" cy="886595"/>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57CC930A-F1A5-4A57-A4C4-3CA246998D49}"/>
              </a:ext>
            </a:extLst>
          </p:cNvPr>
          <p:cNvGrpSpPr/>
          <p:nvPr/>
        </p:nvGrpSpPr>
        <p:grpSpPr>
          <a:xfrm>
            <a:off x="7321355" y="1544727"/>
            <a:ext cx="2192179" cy="1651358"/>
            <a:chOff x="4714561" y="1552353"/>
            <a:chExt cx="2869996" cy="2161954"/>
          </a:xfrm>
        </p:grpSpPr>
        <p:sp>
          <p:nvSpPr>
            <p:cNvPr id="16" name="Rectangle 15">
              <a:extLst>
                <a:ext uri="{FF2B5EF4-FFF2-40B4-BE49-F238E27FC236}">
                  <a16:creationId xmlns:a16="http://schemas.microsoft.com/office/drawing/2014/main" id="{1AADBE84-6381-40B7-9478-A2C48DAB196D}"/>
                </a:ext>
              </a:extLst>
            </p:cNvPr>
            <p:cNvSpPr/>
            <p:nvPr/>
          </p:nvSpPr>
          <p:spPr bwMode="auto">
            <a:xfrm>
              <a:off x="4720855" y="1552353"/>
              <a:ext cx="2863702" cy="21619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0">
                      <a:srgbClr val="FFFFFF"/>
                    </a:gs>
                    <a:gs pos="100000">
                      <a:srgbClr val="FFFFFF"/>
                    </a:gs>
                  </a:gsLst>
                  <a:lin ang="5400000" scaled="0"/>
                </a:gradFill>
                <a:latin typeface="Segoe UI"/>
              </a:endParaRPr>
            </a:p>
          </p:txBody>
        </p:sp>
        <p:sp>
          <p:nvSpPr>
            <p:cNvPr id="17" name="Rectangle 16">
              <a:extLst>
                <a:ext uri="{FF2B5EF4-FFF2-40B4-BE49-F238E27FC236}">
                  <a16:creationId xmlns:a16="http://schemas.microsoft.com/office/drawing/2014/main" id="{3E2B4E34-4DF8-4F7C-83A1-A40FBE7C3AD6}"/>
                </a:ext>
              </a:extLst>
            </p:cNvPr>
            <p:cNvSpPr/>
            <p:nvPr/>
          </p:nvSpPr>
          <p:spPr bwMode="auto">
            <a:xfrm>
              <a:off x="6152706" y="2527010"/>
              <a:ext cx="467833" cy="414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PG</a:t>
              </a:r>
            </a:p>
          </p:txBody>
        </p:sp>
        <p:sp>
          <p:nvSpPr>
            <p:cNvPr id="18" name="Cloud 17">
              <a:extLst>
                <a:ext uri="{FF2B5EF4-FFF2-40B4-BE49-F238E27FC236}">
                  <a16:creationId xmlns:a16="http://schemas.microsoft.com/office/drawing/2014/main" id="{D3EADE2B-55AB-442E-8CDC-EC4D3ED6A46A}"/>
                </a:ext>
              </a:extLst>
            </p:cNvPr>
            <p:cNvSpPr/>
            <p:nvPr/>
          </p:nvSpPr>
          <p:spPr bwMode="auto">
            <a:xfrm>
              <a:off x="6443329" y="1618169"/>
              <a:ext cx="914400" cy="914400"/>
            </a:xfrm>
            <a:prstGeom prst="cloud">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IoT Hub</a:t>
              </a:r>
            </a:p>
          </p:txBody>
        </p:sp>
        <p:cxnSp>
          <p:nvCxnSpPr>
            <p:cNvPr id="19" name="Connector: Elbow 18">
              <a:extLst>
                <a:ext uri="{FF2B5EF4-FFF2-40B4-BE49-F238E27FC236}">
                  <a16:creationId xmlns:a16="http://schemas.microsoft.com/office/drawing/2014/main" id="{410359C0-9EE7-4B96-95EC-D28A7FCBE9C6}"/>
                </a:ext>
              </a:extLst>
            </p:cNvPr>
            <p:cNvCxnSpPr>
              <a:cxnSpLocks/>
              <a:stCxn id="17" idx="3"/>
              <a:endCxn id="18" idx="1"/>
            </p:cNvCxnSpPr>
            <p:nvPr/>
          </p:nvCxnSpPr>
          <p:spPr>
            <a:xfrm flipV="1">
              <a:off x="6620539" y="2531595"/>
              <a:ext cx="279990" cy="202750"/>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3A374039-D57C-4478-942A-0BA7ABF7B9C4}"/>
                </a:ext>
              </a:extLst>
            </p:cNvPr>
            <p:cNvCxnSpPr>
              <a:cxnSpLocks/>
              <a:stCxn id="22" idx="0"/>
              <a:endCxn id="17" idx="1"/>
            </p:cNvCxnSpPr>
            <p:nvPr/>
          </p:nvCxnSpPr>
          <p:spPr>
            <a:xfrm rot="5400000" flipH="1" flipV="1">
              <a:off x="5867451" y="2704637"/>
              <a:ext cx="255547" cy="314964"/>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22386026-A37A-4DE8-914C-9B6A05DC2837}"/>
                </a:ext>
              </a:extLst>
            </p:cNvPr>
            <p:cNvCxnSpPr>
              <a:cxnSpLocks/>
              <a:stCxn id="23" idx="0"/>
              <a:endCxn id="17" idx="1"/>
            </p:cNvCxnSpPr>
            <p:nvPr/>
          </p:nvCxnSpPr>
          <p:spPr>
            <a:xfrm rot="5400000" flipH="1" flipV="1">
              <a:off x="5633589" y="2294994"/>
              <a:ext cx="79765" cy="958469"/>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2" name="Graphic 21" descr="Car">
              <a:extLst>
                <a:ext uri="{FF2B5EF4-FFF2-40B4-BE49-F238E27FC236}">
                  <a16:creationId xmlns:a16="http://schemas.microsoft.com/office/drawing/2014/main" id="{3B71BA1B-D2EC-4F93-8027-AB7DCB8E4E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22778" y="2989892"/>
              <a:ext cx="629928" cy="629928"/>
            </a:xfrm>
            <a:prstGeom prst="rect">
              <a:avLst/>
            </a:prstGeom>
          </p:spPr>
        </p:pic>
        <p:pic>
          <p:nvPicPr>
            <p:cNvPr id="23" name="Graphic 22" descr="Car">
              <a:extLst>
                <a:ext uri="{FF2B5EF4-FFF2-40B4-BE49-F238E27FC236}">
                  <a16:creationId xmlns:a16="http://schemas.microsoft.com/office/drawing/2014/main" id="{130D380A-B0BE-4CC9-99AA-D376EE7967A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79273" y="2814110"/>
              <a:ext cx="629928" cy="629928"/>
            </a:xfrm>
            <a:prstGeom prst="rect">
              <a:avLst/>
            </a:prstGeom>
          </p:spPr>
        </p:pic>
        <p:pic>
          <p:nvPicPr>
            <p:cNvPr id="24" name="Graphic 23" descr="Car">
              <a:extLst>
                <a:ext uri="{FF2B5EF4-FFF2-40B4-BE49-F238E27FC236}">
                  <a16:creationId xmlns:a16="http://schemas.microsoft.com/office/drawing/2014/main" id="{DA037881-2C72-4D74-84DC-02B37FA5A8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14561" y="2039504"/>
              <a:ext cx="629928" cy="629928"/>
            </a:xfrm>
            <a:prstGeom prst="rect">
              <a:avLst/>
            </a:prstGeom>
          </p:spPr>
        </p:pic>
        <p:pic>
          <p:nvPicPr>
            <p:cNvPr id="25" name="Graphic 24" descr="Car">
              <a:extLst>
                <a:ext uri="{FF2B5EF4-FFF2-40B4-BE49-F238E27FC236}">
                  <a16:creationId xmlns:a16="http://schemas.microsoft.com/office/drawing/2014/main" id="{126E12DC-093C-4FE6-A6C8-D97A0DD108C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98263" y="1874153"/>
              <a:ext cx="629928" cy="629928"/>
            </a:xfrm>
            <a:prstGeom prst="rect">
              <a:avLst/>
            </a:prstGeom>
          </p:spPr>
        </p:pic>
        <p:cxnSp>
          <p:nvCxnSpPr>
            <p:cNvPr id="26" name="Connector: Elbow 25">
              <a:extLst>
                <a:ext uri="{FF2B5EF4-FFF2-40B4-BE49-F238E27FC236}">
                  <a16:creationId xmlns:a16="http://schemas.microsoft.com/office/drawing/2014/main" id="{93A5D461-9BBD-4520-B711-3B2C795142EC}"/>
                </a:ext>
              </a:extLst>
            </p:cNvPr>
            <p:cNvCxnSpPr>
              <a:cxnSpLocks/>
              <a:stCxn id="25" idx="2"/>
              <a:endCxn id="17" idx="1"/>
            </p:cNvCxnSpPr>
            <p:nvPr/>
          </p:nvCxnSpPr>
          <p:spPr>
            <a:xfrm rot="16200000" flipH="1">
              <a:off x="5817834" y="2399473"/>
              <a:ext cx="230264" cy="439479"/>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D871C256-B38F-4E3B-8B73-E26CDFA4B3B7}"/>
                </a:ext>
              </a:extLst>
            </p:cNvPr>
            <p:cNvCxnSpPr>
              <a:cxnSpLocks/>
              <a:stCxn id="24" idx="2"/>
              <a:endCxn id="17" idx="1"/>
            </p:cNvCxnSpPr>
            <p:nvPr/>
          </p:nvCxnSpPr>
          <p:spPr>
            <a:xfrm rot="16200000" flipH="1">
              <a:off x="5558659" y="2140297"/>
              <a:ext cx="64913" cy="1123181"/>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686533F-085D-4D67-8902-C75BF607ED8C}"/>
              </a:ext>
            </a:extLst>
          </p:cNvPr>
          <p:cNvGrpSpPr/>
          <p:nvPr/>
        </p:nvGrpSpPr>
        <p:grpSpPr>
          <a:xfrm>
            <a:off x="9467351" y="1442529"/>
            <a:ext cx="2187372" cy="1676398"/>
            <a:chOff x="8931349" y="1457866"/>
            <a:chExt cx="2863702" cy="2194735"/>
          </a:xfrm>
        </p:grpSpPr>
        <p:sp>
          <p:nvSpPr>
            <p:cNvPr id="29" name="Rectangle: Rounded Corners 28">
              <a:extLst>
                <a:ext uri="{FF2B5EF4-FFF2-40B4-BE49-F238E27FC236}">
                  <a16:creationId xmlns:a16="http://schemas.microsoft.com/office/drawing/2014/main" id="{6FC67862-F1CC-418C-B790-39452B91C232}"/>
                </a:ext>
              </a:extLst>
            </p:cNvPr>
            <p:cNvSpPr/>
            <p:nvPr/>
          </p:nvSpPr>
          <p:spPr bwMode="auto">
            <a:xfrm>
              <a:off x="9066028" y="1844062"/>
              <a:ext cx="1431852" cy="1775758"/>
            </a:xfrm>
            <a:prstGeom prst="round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t" anchorCtr="0" compatLnSpc="1">
              <a:prstTxWarp prst="textNoShape">
                <a:avLst/>
              </a:prstTxWarp>
            </a:bodyPr>
            <a:lstStyle/>
            <a:p>
              <a:pPr algn="ctr" defTabSz="932293" fontAlgn="base">
                <a:spcBef>
                  <a:spcPct val="0"/>
                </a:spcBef>
                <a:spcAft>
                  <a:spcPct val="0"/>
                </a:spcAft>
              </a:pPr>
              <a:r>
                <a:rPr lang="en-US" sz="1400">
                  <a:solidFill>
                    <a:srgbClr val="505050">
                      <a:lumMod val="50000"/>
                    </a:srgbClr>
                  </a:solidFill>
                  <a:latin typeface="Segoe UI"/>
                </a:rPr>
                <a:t>Edge device</a:t>
              </a:r>
            </a:p>
            <a:p>
              <a:pPr algn="ctr" defTabSz="932293" fontAlgn="base">
                <a:spcBef>
                  <a:spcPct val="0"/>
                </a:spcBef>
                <a:spcAft>
                  <a:spcPct val="0"/>
                </a:spcAft>
              </a:pPr>
              <a:endParaRPr lang="en-US" sz="1400">
                <a:solidFill>
                  <a:srgbClr val="505050">
                    <a:lumMod val="50000"/>
                  </a:srgbClr>
                </a:solidFill>
                <a:latin typeface="Segoe UI"/>
              </a:endParaRPr>
            </a:p>
            <a:p>
              <a:pPr algn="ctr" defTabSz="932293" fontAlgn="base">
                <a:spcBef>
                  <a:spcPct val="0"/>
                </a:spcBef>
                <a:spcAft>
                  <a:spcPct val="0"/>
                </a:spcAft>
              </a:pPr>
              <a:endParaRPr lang="en-US" sz="1400">
                <a:solidFill>
                  <a:srgbClr val="505050">
                    <a:lumMod val="50000"/>
                  </a:srgbClr>
                </a:solidFill>
                <a:latin typeface="Segoe UI"/>
              </a:endParaRPr>
            </a:p>
            <a:p>
              <a:pPr algn="ctr" defTabSz="932293" fontAlgn="base">
                <a:spcBef>
                  <a:spcPct val="0"/>
                </a:spcBef>
                <a:spcAft>
                  <a:spcPct val="0"/>
                </a:spcAft>
              </a:pPr>
              <a:endParaRPr lang="en-US" sz="1400">
                <a:solidFill>
                  <a:srgbClr val="505050">
                    <a:lumMod val="50000"/>
                  </a:srgbClr>
                </a:solidFill>
                <a:latin typeface="Segoe UI"/>
              </a:endParaRPr>
            </a:p>
          </p:txBody>
        </p:sp>
        <p:sp>
          <p:nvSpPr>
            <p:cNvPr id="30" name="Rectangle 29">
              <a:extLst>
                <a:ext uri="{FF2B5EF4-FFF2-40B4-BE49-F238E27FC236}">
                  <a16:creationId xmlns:a16="http://schemas.microsoft.com/office/drawing/2014/main" id="{E014AEED-69A4-4B58-AD5E-70FA814CA7D1}"/>
                </a:ext>
              </a:extLst>
            </p:cNvPr>
            <p:cNvSpPr/>
            <p:nvPr/>
          </p:nvSpPr>
          <p:spPr bwMode="auto">
            <a:xfrm>
              <a:off x="8931349" y="1457866"/>
              <a:ext cx="2863702" cy="21619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0">
                      <a:srgbClr val="FFFFFF"/>
                    </a:gs>
                    <a:gs pos="100000">
                      <a:srgbClr val="FFFFFF"/>
                    </a:gs>
                  </a:gsLst>
                  <a:lin ang="5400000" scaled="0"/>
                </a:gradFill>
                <a:latin typeface="Segoe UI"/>
              </a:endParaRPr>
            </a:p>
          </p:txBody>
        </p:sp>
        <p:sp>
          <p:nvSpPr>
            <p:cNvPr id="31" name="Rectangle 30">
              <a:extLst>
                <a:ext uri="{FF2B5EF4-FFF2-40B4-BE49-F238E27FC236}">
                  <a16:creationId xmlns:a16="http://schemas.microsoft.com/office/drawing/2014/main" id="{912CA2F9-21A0-463F-B5A2-79A78017308A}"/>
                </a:ext>
              </a:extLst>
            </p:cNvPr>
            <p:cNvSpPr/>
            <p:nvPr/>
          </p:nvSpPr>
          <p:spPr bwMode="auto">
            <a:xfrm>
              <a:off x="10285777" y="2432523"/>
              <a:ext cx="622680" cy="414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Edge</a:t>
              </a:r>
            </a:p>
          </p:txBody>
        </p:sp>
        <p:sp>
          <p:nvSpPr>
            <p:cNvPr id="32" name="Cloud 31">
              <a:extLst>
                <a:ext uri="{FF2B5EF4-FFF2-40B4-BE49-F238E27FC236}">
                  <a16:creationId xmlns:a16="http://schemas.microsoft.com/office/drawing/2014/main" id="{085AE0E1-54C7-474B-9B22-1F582F467BBF}"/>
                </a:ext>
              </a:extLst>
            </p:cNvPr>
            <p:cNvSpPr/>
            <p:nvPr/>
          </p:nvSpPr>
          <p:spPr bwMode="auto">
            <a:xfrm>
              <a:off x="10653823" y="1523682"/>
              <a:ext cx="914400" cy="914400"/>
            </a:xfrm>
            <a:prstGeom prst="cloud">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IoT Hub</a:t>
              </a:r>
            </a:p>
          </p:txBody>
        </p:sp>
        <p:cxnSp>
          <p:nvCxnSpPr>
            <p:cNvPr id="33" name="Connector: Elbow 32">
              <a:extLst>
                <a:ext uri="{FF2B5EF4-FFF2-40B4-BE49-F238E27FC236}">
                  <a16:creationId xmlns:a16="http://schemas.microsoft.com/office/drawing/2014/main" id="{58BF5CEC-B0C6-438E-BD6B-582BEA3459EC}"/>
                </a:ext>
              </a:extLst>
            </p:cNvPr>
            <p:cNvCxnSpPr>
              <a:cxnSpLocks/>
              <a:stCxn id="31" idx="3"/>
              <a:endCxn id="32" idx="1"/>
            </p:cNvCxnSpPr>
            <p:nvPr/>
          </p:nvCxnSpPr>
          <p:spPr>
            <a:xfrm flipV="1">
              <a:off x="10908457" y="2437108"/>
              <a:ext cx="202566" cy="202750"/>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33D92143-1AE2-45E4-BA6B-CA9A2F6BD9A8}"/>
                </a:ext>
              </a:extLst>
            </p:cNvPr>
            <p:cNvCxnSpPr>
              <a:cxnSpLocks/>
              <a:stCxn id="37" idx="0"/>
              <a:endCxn id="31" idx="1"/>
            </p:cNvCxnSpPr>
            <p:nvPr/>
          </p:nvCxnSpPr>
          <p:spPr>
            <a:xfrm rot="5400000" flipH="1" flipV="1">
              <a:off x="10027427" y="2603769"/>
              <a:ext cx="222261" cy="294440"/>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92182422-6408-4BB3-B532-6B6EDA8A253C}"/>
                </a:ext>
              </a:extLst>
            </p:cNvPr>
            <p:cNvCxnSpPr>
              <a:cxnSpLocks/>
            </p:cNvCxnSpPr>
            <p:nvPr/>
          </p:nvCxnSpPr>
          <p:spPr>
            <a:xfrm rot="5400000" flipH="1" flipV="1">
              <a:off x="9748247" y="2309325"/>
              <a:ext cx="222261" cy="883326"/>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43A308BB-AFC8-4808-AAB0-FEDB8AF04B85}"/>
                </a:ext>
              </a:extLst>
            </p:cNvPr>
            <p:cNvSpPr/>
            <p:nvPr/>
          </p:nvSpPr>
          <p:spPr bwMode="auto">
            <a:xfrm>
              <a:off x="9200158" y="2862119"/>
              <a:ext cx="404585" cy="39853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AI</a:t>
              </a:r>
            </a:p>
          </p:txBody>
        </p:sp>
        <p:sp>
          <p:nvSpPr>
            <p:cNvPr id="37" name="Rectangle: Rounded Corners 36">
              <a:extLst>
                <a:ext uri="{FF2B5EF4-FFF2-40B4-BE49-F238E27FC236}">
                  <a16:creationId xmlns:a16="http://schemas.microsoft.com/office/drawing/2014/main" id="{8E7FF92E-2D84-430E-AFFB-63148E509E45}"/>
                </a:ext>
              </a:extLst>
            </p:cNvPr>
            <p:cNvSpPr/>
            <p:nvPr/>
          </p:nvSpPr>
          <p:spPr bwMode="auto">
            <a:xfrm>
              <a:off x="9789044" y="2862119"/>
              <a:ext cx="404585" cy="39853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AI</a:t>
              </a:r>
            </a:p>
          </p:txBody>
        </p:sp>
        <p:pic>
          <p:nvPicPr>
            <p:cNvPr id="38" name="Graphic 37" descr="Web cam">
              <a:extLst>
                <a:ext uri="{FF2B5EF4-FFF2-40B4-BE49-F238E27FC236}">
                  <a16:creationId xmlns:a16="http://schemas.microsoft.com/office/drawing/2014/main" id="{D2A206E1-134E-4A37-A686-6C554FAB3CC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675087" y="2738201"/>
              <a:ext cx="914400" cy="914400"/>
            </a:xfrm>
            <a:prstGeom prst="rect">
              <a:avLst/>
            </a:prstGeom>
          </p:spPr>
        </p:pic>
        <p:cxnSp>
          <p:nvCxnSpPr>
            <p:cNvPr id="39" name="Connector: Elbow 38">
              <a:extLst>
                <a:ext uri="{FF2B5EF4-FFF2-40B4-BE49-F238E27FC236}">
                  <a16:creationId xmlns:a16="http://schemas.microsoft.com/office/drawing/2014/main" id="{A8D65582-EE80-4ED4-B18C-5DBAD0682E60}"/>
                </a:ext>
              </a:extLst>
            </p:cNvPr>
            <p:cNvCxnSpPr>
              <a:cxnSpLocks/>
              <a:stCxn id="38" idx="1"/>
              <a:endCxn id="37" idx="2"/>
            </p:cNvCxnSpPr>
            <p:nvPr/>
          </p:nvCxnSpPr>
          <p:spPr>
            <a:xfrm rot="10800000" flipV="1">
              <a:off x="9991337" y="3195401"/>
              <a:ext cx="683750" cy="65250"/>
            </a:xfrm>
            <a:prstGeom prst="bentConnector4">
              <a:avLst>
                <a:gd name="adj1" fmla="val 35207"/>
                <a:gd name="adj2" fmla="val 41009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0EFDE773-EE57-45A8-9C95-D040FFD03F03}"/>
                </a:ext>
              </a:extLst>
            </p:cNvPr>
            <p:cNvCxnSpPr>
              <a:cxnSpLocks/>
              <a:stCxn id="38" idx="1"/>
              <a:endCxn id="36" idx="2"/>
            </p:cNvCxnSpPr>
            <p:nvPr/>
          </p:nvCxnSpPr>
          <p:spPr>
            <a:xfrm rot="10800000" flipV="1">
              <a:off x="9402451" y="3195401"/>
              <a:ext cx="1272636" cy="65250"/>
            </a:xfrm>
            <a:prstGeom prst="bentConnector4">
              <a:avLst>
                <a:gd name="adj1" fmla="val 19216"/>
                <a:gd name="adj2" fmla="val 410093"/>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8E8B677C-610C-4ECA-BC1E-CDAB91F7EE68}"/>
              </a:ext>
            </a:extLst>
          </p:cNvPr>
          <p:cNvGrpSpPr/>
          <p:nvPr/>
        </p:nvGrpSpPr>
        <p:grpSpPr>
          <a:xfrm>
            <a:off x="2791970" y="1494704"/>
            <a:ext cx="2187372" cy="1651358"/>
            <a:chOff x="4720855" y="4124144"/>
            <a:chExt cx="2863702" cy="2161954"/>
          </a:xfrm>
        </p:grpSpPr>
        <p:sp>
          <p:nvSpPr>
            <p:cNvPr id="51" name="Rectangle 50">
              <a:extLst>
                <a:ext uri="{FF2B5EF4-FFF2-40B4-BE49-F238E27FC236}">
                  <a16:creationId xmlns:a16="http://schemas.microsoft.com/office/drawing/2014/main" id="{9D68022F-343F-4919-A84F-A5EB4CE30C55}"/>
                </a:ext>
              </a:extLst>
            </p:cNvPr>
            <p:cNvSpPr/>
            <p:nvPr/>
          </p:nvSpPr>
          <p:spPr bwMode="auto">
            <a:xfrm>
              <a:off x="4720855" y="4124144"/>
              <a:ext cx="2863702" cy="21619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0">
                      <a:srgbClr val="FFFFFF"/>
                    </a:gs>
                    <a:gs pos="100000">
                      <a:srgbClr val="FFFFFF"/>
                    </a:gs>
                  </a:gsLst>
                  <a:lin ang="5400000" scaled="0"/>
                </a:gradFill>
                <a:latin typeface="Segoe UI"/>
              </a:endParaRPr>
            </a:p>
          </p:txBody>
        </p:sp>
        <p:sp>
          <p:nvSpPr>
            <p:cNvPr id="52" name="Rectangle 51">
              <a:extLst>
                <a:ext uri="{FF2B5EF4-FFF2-40B4-BE49-F238E27FC236}">
                  <a16:creationId xmlns:a16="http://schemas.microsoft.com/office/drawing/2014/main" id="{B51D7930-1B82-41F4-B233-909ADEC4E75F}"/>
                </a:ext>
              </a:extLst>
            </p:cNvPr>
            <p:cNvSpPr/>
            <p:nvPr/>
          </p:nvSpPr>
          <p:spPr bwMode="auto">
            <a:xfrm>
              <a:off x="6152706" y="5098801"/>
              <a:ext cx="467833" cy="414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FG</a:t>
              </a:r>
            </a:p>
          </p:txBody>
        </p:sp>
        <p:sp>
          <p:nvSpPr>
            <p:cNvPr id="53" name="Cloud 52">
              <a:extLst>
                <a:ext uri="{FF2B5EF4-FFF2-40B4-BE49-F238E27FC236}">
                  <a16:creationId xmlns:a16="http://schemas.microsoft.com/office/drawing/2014/main" id="{BDEF7196-DFBE-425C-8961-3E0C7E06F771}"/>
                </a:ext>
              </a:extLst>
            </p:cNvPr>
            <p:cNvSpPr/>
            <p:nvPr/>
          </p:nvSpPr>
          <p:spPr bwMode="auto">
            <a:xfrm>
              <a:off x="6443329" y="4189960"/>
              <a:ext cx="914400" cy="914400"/>
            </a:xfrm>
            <a:prstGeom prst="cloud">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IoT Hub</a:t>
              </a:r>
            </a:p>
          </p:txBody>
        </p:sp>
        <p:cxnSp>
          <p:nvCxnSpPr>
            <p:cNvPr id="54" name="Connector: Elbow 53">
              <a:extLst>
                <a:ext uri="{FF2B5EF4-FFF2-40B4-BE49-F238E27FC236}">
                  <a16:creationId xmlns:a16="http://schemas.microsoft.com/office/drawing/2014/main" id="{60BE4C26-4B01-41F3-9267-CC433080286C}"/>
                </a:ext>
              </a:extLst>
            </p:cNvPr>
            <p:cNvCxnSpPr>
              <a:cxnSpLocks/>
              <a:stCxn id="52" idx="3"/>
              <a:endCxn id="53" idx="1"/>
            </p:cNvCxnSpPr>
            <p:nvPr/>
          </p:nvCxnSpPr>
          <p:spPr>
            <a:xfrm flipV="1">
              <a:off x="6620539" y="5103386"/>
              <a:ext cx="279990" cy="202750"/>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6FA91F90-0973-4316-A988-E9AF64F8464F}"/>
                </a:ext>
              </a:extLst>
            </p:cNvPr>
            <p:cNvCxnSpPr>
              <a:cxnSpLocks/>
              <a:stCxn id="59" idx="0"/>
              <a:endCxn id="52" idx="1"/>
            </p:cNvCxnSpPr>
            <p:nvPr/>
          </p:nvCxnSpPr>
          <p:spPr>
            <a:xfrm rot="5400000" flipH="1" flipV="1">
              <a:off x="5605009" y="5215150"/>
              <a:ext cx="456711" cy="638684"/>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EF0B076B-65DD-480F-9195-B8D2CAD81D3A}"/>
                </a:ext>
              </a:extLst>
            </p:cNvPr>
            <p:cNvCxnSpPr>
              <a:cxnSpLocks/>
              <a:stCxn id="58" idx="0"/>
              <a:endCxn id="52" idx="1"/>
            </p:cNvCxnSpPr>
            <p:nvPr/>
          </p:nvCxnSpPr>
          <p:spPr>
            <a:xfrm rot="5400000" flipH="1" flipV="1">
              <a:off x="5490597" y="4851363"/>
              <a:ext cx="207335" cy="1116883"/>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7" name="Graphic 56">
              <a:extLst>
                <a:ext uri="{FF2B5EF4-FFF2-40B4-BE49-F238E27FC236}">
                  <a16:creationId xmlns:a16="http://schemas.microsoft.com/office/drawing/2014/main" id="{BFF88C93-DE18-4DD1-80D8-243CE219E833}"/>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852328" y="4717576"/>
              <a:ext cx="361270" cy="361270"/>
            </a:xfrm>
            <a:prstGeom prst="rect">
              <a:avLst/>
            </a:prstGeom>
          </p:spPr>
        </p:pic>
        <p:pic>
          <p:nvPicPr>
            <p:cNvPr id="58" name="Graphic 57">
              <a:extLst>
                <a:ext uri="{FF2B5EF4-FFF2-40B4-BE49-F238E27FC236}">
                  <a16:creationId xmlns:a16="http://schemas.microsoft.com/office/drawing/2014/main" id="{10F9BA19-0CDB-4964-8A05-F6B546B58A3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855188" y="5513471"/>
              <a:ext cx="361270" cy="361270"/>
            </a:xfrm>
            <a:prstGeom prst="rect">
              <a:avLst/>
            </a:prstGeom>
          </p:spPr>
        </p:pic>
        <p:pic>
          <p:nvPicPr>
            <p:cNvPr id="59" name="Graphic 58">
              <a:extLst>
                <a:ext uri="{FF2B5EF4-FFF2-40B4-BE49-F238E27FC236}">
                  <a16:creationId xmlns:a16="http://schemas.microsoft.com/office/drawing/2014/main" id="{A7A0F9E2-E886-4060-81AD-1A5FADA17758}"/>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333387" y="5762847"/>
              <a:ext cx="361270" cy="361270"/>
            </a:xfrm>
            <a:prstGeom prst="rect">
              <a:avLst/>
            </a:prstGeom>
          </p:spPr>
        </p:pic>
        <p:cxnSp>
          <p:nvCxnSpPr>
            <p:cNvPr id="60" name="Connector: Elbow 59">
              <a:extLst>
                <a:ext uri="{FF2B5EF4-FFF2-40B4-BE49-F238E27FC236}">
                  <a16:creationId xmlns:a16="http://schemas.microsoft.com/office/drawing/2014/main" id="{FB2AD2EB-9751-4898-86C7-A730C80EDA8E}"/>
                </a:ext>
              </a:extLst>
            </p:cNvPr>
            <p:cNvCxnSpPr>
              <a:cxnSpLocks/>
              <a:stCxn id="57" idx="2"/>
              <a:endCxn id="52" idx="1"/>
            </p:cNvCxnSpPr>
            <p:nvPr/>
          </p:nvCxnSpPr>
          <p:spPr>
            <a:xfrm rot="16200000" flipH="1">
              <a:off x="5479189" y="4632619"/>
              <a:ext cx="227290" cy="1119743"/>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91D620D4-41E0-4F4F-9520-0F4C49F72C18}"/>
              </a:ext>
            </a:extLst>
          </p:cNvPr>
          <p:cNvGrpSpPr/>
          <p:nvPr/>
        </p:nvGrpSpPr>
        <p:grpSpPr>
          <a:xfrm>
            <a:off x="475112" y="1463516"/>
            <a:ext cx="2187372" cy="1651358"/>
            <a:chOff x="931447" y="3973619"/>
            <a:chExt cx="2863702" cy="2161954"/>
          </a:xfrm>
        </p:grpSpPr>
        <p:pic>
          <p:nvPicPr>
            <p:cNvPr id="62" name="Graphic 61" descr="Streetlight">
              <a:extLst>
                <a:ext uri="{FF2B5EF4-FFF2-40B4-BE49-F238E27FC236}">
                  <a16:creationId xmlns:a16="http://schemas.microsoft.com/office/drawing/2014/main" id="{AD95DA7B-F02E-431C-A018-F1F83C1B05A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48522" y="4848448"/>
              <a:ext cx="914400" cy="914400"/>
            </a:xfrm>
            <a:prstGeom prst="rect">
              <a:avLst/>
            </a:prstGeom>
          </p:spPr>
        </p:pic>
        <p:sp>
          <p:nvSpPr>
            <p:cNvPr id="63" name="Rectangle 62">
              <a:extLst>
                <a:ext uri="{FF2B5EF4-FFF2-40B4-BE49-F238E27FC236}">
                  <a16:creationId xmlns:a16="http://schemas.microsoft.com/office/drawing/2014/main" id="{D81C5B48-8314-407C-9191-EB0B7F606FF2}"/>
                </a:ext>
              </a:extLst>
            </p:cNvPr>
            <p:cNvSpPr/>
            <p:nvPr/>
          </p:nvSpPr>
          <p:spPr bwMode="auto">
            <a:xfrm>
              <a:off x="931447" y="3973619"/>
              <a:ext cx="2863702" cy="21619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0">
                      <a:srgbClr val="FFFFFF"/>
                    </a:gs>
                    <a:gs pos="100000">
                      <a:srgbClr val="FFFFFF"/>
                    </a:gs>
                  </a:gsLst>
                  <a:lin ang="5400000" scaled="0"/>
                </a:gradFill>
                <a:latin typeface="Segoe UI"/>
              </a:endParaRPr>
            </a:p>
          </p:txBody>
        </p:sp>
        <p:sp>
          <p:nvSpPr>
            <p:cNvPr id="64" name="Cloud 63">
              <a:extLst>
                <a:ext uri="{FF2B5EF4-FFF2-40B4-BE49-F238E27FC236}">
                  <a16:creationId xmlns:a16="http://schemas.microsoft.com/office/drawing/2014/main" id="{71A91454-6E8D-4A50-85C1-34A78BC7B5E4}"/>
                </a:ext>
              </a:extLst>
            </p:cNvPr>
            <p:cNvSpPr/>
            <p:nvPr/>
          </p:nvSpPr>
          <p:spPr bwMode="auto">
            <a:xfrm>
              <a:off x="2526333" y="3996907"/>
              <a:ext cx="914400" cy="914400"/>
            </a:xfrm>
            <a:prstGeom prst="cloud">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rPr>
                <a:t>IoT Hub</a:t>
              </a:r>
            </a:p>
          </p:txBody>
        </p:sp>
        <p:cxnSp>
          <p:nvCxnSpPr>
            <p:cNvPr id="65" name="Connector: Elbow 64">
              <a:extLst>
                <a:ext uri="{FF2B5EF4-FFF2-40B4-BE49-F238E27FC236}">
                  <a16:creationId xmlns:a16="http://schemas.microsoft.com/office/drawing/2014/main" id="{5885EE4B-904B-403B-8590-45C08D19867F}"/>
                </a:ext>
              </a:extLst>
            </p:cNvPr>
            <p:cNvCxnSpPr>
              <a:cxnSpLocks/>
              <a:stCxn id="66" idx="0"/>
              <a:endCxn id="64" idx="2"/>
            </p:cNvCxnSpPr>
            <p:nvPr/>
          </p:nvCxnSpPr>
          <p:spPr>
            <a:xfrm rot="5400000" flipH="1" flipV="1">
              <a:off x="1919631" y="4603609"/>
              <a:ext cx="759040" cy="460036"/>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6" name="Graphic 65" descr="Streetlight">
              <a:extLst>
                <a:ext uri="{FF2B5EF4-FFF2-40B4-BE49-F238E27FC236}">
                  <a16:creationId xmlns:a16="http://schemas.microsoft.com/office/drawing/2014/main" id="{C081D625-72E4-4053-817D-29535A14F48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611933" y="5213147"/>
              <a:ext cx="914400" cy="914400"/>
            </a:xfrm>
            <a:prstGeom prst="rect">
              <a:avLst/>
            </a:prstGeom>
          </p:spPr>
        </p:pic>
        <p:pic>
          <p:nvPicPr>
            <p:cNvPr id="67" name="Graphic 66" descr="Streetlight">
              <a:extLst>
                <a:ext uri="{FF2B5EF4-FFF2-40B4-BE49-F238E27FC236}">
                  <a16:creationId xmlns:a16="http://schemas.microsoft.com/office/drawing/2014/main" id="{65703FAC-5934-4527-942F-A2957C9AB9A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526333" y="5205121"/>
              <a:ext cx="914400" cy="914400"/>
            </a:xfrm>
            <a:prstGeom prst="rect">
              <a:avLst/>
            </a:prstGeom>
          </p:spPr>
        </p:pic>
        <p:cxnSp>
          <p:nvCxnSpPr>
            <p:cNvPr id="68" name="Connector: Elbow 67">
              <a:extLst>
                <a:ext uri="{FF2B5EF4-FFF2-40B4-BE49-F238E27FC236}">
                  <a16:creationId xmlns:a16="http://schemas.microsoft.com/office/drawing/2014/main" id="{15AF51AA-5937-4D79-8937-F8A8F3A09196}"/>
                </a:ext>
              </a:extLst>
            </p:cNvPr>
            <p:cNvCxnSpPr>
              <a:cxnSpLocks/>
              <a:stCxn id="62" idx="0"/>
              <a:endCxn id="64" idx="2"/>
            </p:cNvCxnSpPr>
            <p:nvPr/>
          </p:nvCxnSpPr>
          <p:spPr>
            <a:xfrm rot="5400000" flipH="1" flipV="1">
              <a:off x="1820275" y="4139555"/>
              <a:ext cx="394340" cy="1023447"/>
            </a:xfrm>
            <a:prstGeom prst="bentConnector2">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6829152B-47FF-4F77-93E7-A91D5949A0AD}"/>
                </a:ext>
              </a:extLst>
            </p:cNvPr>
            <p:cNvCxnSpPr>
              <a:cxnSpLocks/>
              <a:stCxn id="67" idx="0"/>
              <a:endCxn id="64" idx="0"/>
            </p:cNvCxnSpPr>
            <p:nvPr/>
          </p:nvCxnSpPr>
          <p:spPr>
            <a:xfrm rot="5400000" flipH="1" flipV="1">
              <a:off x="2836245" y="4601395"/>
              <a:ext cx="751014" cy="456438"/>
            </a:xfrm>
            <a:prstGeom prst="bentConnector4">
              <a:avLst>
                <a:gd name="adj1" fmla="val 19561"/>
                <a:gd name="adj2" fmla="val 150083"/>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1" name="TextBox 40">
            <a:extLst>
              <a:ext uri="{FF2B5EF4-FFF2-40B4-BE49-F238E27FC236}">
                <a16:creationId xmlns:a16="http://schemas.microsoft.com/office/drawing/2014/main" id="{C3EF7F9D-82AD-4F9A-A5A6-53A1815357AA}"/>
              </a:ext>
            </a:extLst>
          </p:cNvPr>
          <p:cNvSpPr txBox="1"/>
          <p:nvPr/>
        </p:nvSpPr>
        <p:spPr>
          <a:xfrm>
            <a:off x="1175869" y="2674320"/>
            <a:ext cx="722725" cy="461600"/>
          </a:xfrm>
          <a:prstGeom prst="rect">
            <a:avLst/>
          </a:prstGeom>
          <a:noFill/>
        </p:spPr>
        <p:txBody>
          <a:bodyPr wrap="none" lIns="182854" tIns="146284" rIns="182854" bIns="146284" rtlCol="0">
            <a:spAutoFit/>
          </a:bodyPr>
          <a:lstStyle/>
          <a:p>
            <a:pPr algn="ctr" defTabSz="914225">
              <a:lnSpc>
                <a:spcPct val="90000"/>
              </a:lnSpc>
              <a:spcAft>
                <a:spcPts val="600"/>
              </a:spcAft>
            </a:pPr>
            <a:r>
              <a:rPr lang="en-US" sz="1200">
                <a:solidFill>
                  <a:srgbClr val="505050">
                    <a:lumMod val="50000"/>
                  </a:srgbClr>
                </a:solidFill>
                <a:latin typeface="Segoe UI"/>
              </a:rPr>
              <a:t>WAN</a:t>
            </a:r>
          </a:p>
        </p:txBody>
      </p:sp>
      <p:sp>
        <p:nvSpPr>
          <p:cNvPr id="74" name="TextBox 73">
            <a:extLst>
              <a:ext uri="{FF2B5EF4-FFF2-40B4-BE49-F238E27FC236}">
                <a16:creationId xmlns:a16="http://schemas.microsoft.com/office/drawing/2014/main" id="{EE3B24EC-7D7A-44F0-BBE1-76107E328878}"/>
              </a:ext>
            </a:extLst>
          </p:cNvPr>
          <p:cNvSpPr txBox="1"/>
          <p:nvPr/>
        </p:nvSpPr>
        <p:spPr>
          <a:xfrm>
            <a:off x="5743922" y="2442972"/>
            <a:ext cx="1000325" cy="711376"/>
          </a:xfrm>
          <a:prstGeom prst="rect">
            <a:avLst/>
          </a:prstGeom>
          <a:noFill/>
        </p:spPr>
        <p:txBody>
          <a:bodyPr wrap="none" lIns="182854" tIns="146284" rIns="182854" bIns="146284" rtlCol="0">
            <a:spAutoFit/>
          </a:bodyPr>
          <a:lstStyle/>
          <a:p>
            <a:pPr defTabSz="914225">
              <a:lnSpc>
                <a:spcPct val="90000"/>
              </a:lnSpc>
              <a:spcAft>
                <a:spcPts val="600"/>
              </a:spcAft>
            </a:pPr>
            <a:r>
              <a:rPr lang="en-US" sz="1200">
                <a:solidFill>
                  <a:srgbClr val="505050">
                    <a:lumMod val="50000"/>
                  </a:srgbClr>
                </a:solidFill>
                <a:latin typeface="Segoe UI"/>
              </a:rPr>
              <a:t>On-prem</a:t>
            </a:r>
          </a:p>
          <a:p>
            <a:pPr defTabSz="914225">
              <a:lnSpc>
                <a:spcPct val="90000"/>
              </a:lnSpc>
              <a:spcAft>
                <a:spcPts val="600"/>
              </a:spcAft>
            </a:pPr>
            <a:r>
              <a:rPr lang="en-US" sz="1200">
                <a:solidFill>
                  <a:srgbClr val="505050">
                    <a:lumMod val="50000"/>
                  </a:srgbClr>
                </a:solidFill>
                <a:latin typeface="Segoe UI"/>
              </a:rPr>
              <a:t>network</a:t>
            </a:r>
          </a:p>
        </p:txBody>
      </p:sp>
      <p:sp>
        <p:nvSpPr>
          <p:cNvPr id="75" name="TextBox 74">
            <a:extLst>
              <a:ext uri="{FF2B5EF4-FFF2-40B4-BE49-F238E27FC236}">
                <a16:creationId xmlns:a16="http://schemas.microsoft.com/office/drawing/2014/main" id="{CF35D078-EA0D-40C3-8660-1454D1F0755A}"/>
              </a:ext>
            </a:extLst>
          </p:cNvPr>
          <p:cNvSpPr txBox="1"/>
          <p:nvPr/>
        </p:nvSpPr>
        <p:spPr>
          <a:xfrm>
            <a:off x="3493660" y="2437778"/>
            <a:ext cx="1520009" cy="711376"/>
          </a:xfrm>
          <a:prstGeom prst="rect">
            <a:avLst/>
          </a:prstGeom>
          <a:noFill/>
        </p:spPr>
        <p:txBody>
          <a:bodyPr wrap="none" lIns="182854" tIns="146284" rIns="182854" bIns="146284" rtlCol="0">
            <a:spAutoFit/>
          </a:bodyPr>
          <a:lstStyle/>
          <a:p>
            <a:pPr defTabSz="914225">
              <a:lnSpc>
                <a:spcPct val="90000"/>
              </a:lnSpc>
              <a:spcAft>
                <a:spcPts val="600"/>
              </a:spcAft>
            </a:pPr>
            <a:r>
              <a:rPr lang="en-US" sz="1200">
                <a:solidFill>
                  <a:srgbClr val="505050">
                    <a:lumMod val="50000"/>
                  </a:srgbClr>
                </a:solidFill>
                <a:latin typeface="Segoe UI"/>
              </a:rPr>
              <a:t>Batching &amp;</a:t>
            </a:r>
          </a:p>
          <a:p>
            <a:pPr defTabSz="914225">
              <a:lnSpc>
                <a:spcPct val="90000"/>
              </a:lnSpc>
              <a:spcAft>
                <a:spcPts val="600"/>
              </a:spcAft>
            </a:pPr>
            <a:r>
              <a:rPr lang="en-US" sz="1200">
                <a:solidFill>
                  <a:srgbClr val="505050">
                    <a:lumMod val="50000"/>
                  </a:srgbClr>
                </a:solidFill>
                <a:latin typeface="Segoe UI"/>
              </a:rPr>
              <a:t>Proto translation</a:t>
            </a:r>
          </a:p>
        </p:txBody>
      </p:sp>
      <p:sp>
        <p:nvSpPr>
          <p:cNvPr id="76" name="TextBox 75">
            <a:extLst>
              <a:ext uri="{FF2B5EF4-FFF2-40B4-BE49-F238E27FC236}">
                <a16:creationId xmlns:a16="http://schemas.microsoft.com/office/drawing/2014/main" id="{CC155465-D563-4CC8-B9AE-3A888F2B8CF9}"/>
              </a:ext>
            </a:extLst>
          </p:cNvPr>
          <p:cNvSpPr txBox="1"/>
          <p:nvPr/>
        </p:nvSpPr>
        <p:spPr>
          <a:xfrm>
            <a:off x="2742997" y="1641702"/>
            <a:ext cx="965512" cy="464933"/>
          </a:xfrm>
          <a:prstGeom prst="rect">
            <a:avLst/>
          </a:prstGeom>
          <a:noFill/>
        </p:spPr>
        <p:txBody>
          <a:bodyPr wrap="none" lIns="182854" tIns="146284" rIns="182854" bIns="146284" rtlCol="0">
            <a:spAutoFit/>
          </a:bodyPr>
          <a:lstStyle/>
          <a:p>
            <a:pPr defTabSz="914225">
              <a:lnSpc>
                <a:spcPct val="90000"/>
              </a:lnSpc>
              <a:spcAft>
                <a:spcPts val="600"/>
              </a:spcAft>
            </a:pPr>
            <a:r>
              <a:rPr lang="en-US" sz="1200">
                <a:solidFill>
                  <a:srgbClr val="505050">
                    <a:lumMod val="50000"/>
                  </a:srgbClr>
                </a:solidFill>
                <a:latin typeface="Segoe UI"/>
              </a:rPr>
              <a:t>BLE/NFC</a:t>
            </a:r>
          </a:p>
        </p:txBody>
      </p:sp>
      <p:sp>
        <p:nvSpPr>
          <p:cNvPr id="77" name="TextBox 76">
            <a:extLst>
              <a:ext uri="{FF2B5EF4-FFF2-40B4-BE49-F238E27FC236}">
                <a16:creationId xmlns:a16="http://schemas.microsoft.com/office/drawing/2014/main" id="{63D99ECD-67BF-43DC-A30C-BFC825CD405A}"/>
              </a:ext>
            </a:extLst>
          </p:cNvPr>
          <p:cNvSpPr txBox="1"/>
          <p:nvPr/>
        </p:nvSpPr>
        <p:spPr>
          <a:xfrm>
            <a:off x="8292504" y="2477265"/>
            <a:ext cx="1101749" cy="711376"/>
          </a:xfrm>
          <a:prstGeom prst="rect">
            <a:avLst/>
          </a:prstGeom>
          <a:noFill/>
        </p:spPr>
        <p:txBody>
          <a:bodyPr wrap="none" lIns="182854" tIns="146284" rIns="182854" bIns="146284" rtlCol="0">
            <a:spAutoFit/>
          </a:bodyPr>
          <a:lstStyle/>
          <a:p>
            <a:pPr defTabSz="914225">
              <a:lnSpc>
                <a:spcPct val="90000"/>
              </a:lnSpc>
              <a:spcAft>
                <a:spcPts val="600"/>
              </a:spcAft>
            </a:pPr>
            <a:r>
              <a:rPr lang="en-US" sz="1200">
                <a:solidFill>
                  <a:srgbClr val="505050">
                    <a:lumMod val="50000"/>
                  </a:srgbClr>
                </a:solidFill>
                <a:latin typeface="Segoe UI"/>
              </a:rPr>
              <a:t>Protocol</a:t>
            </a:r>
          </a:p>
          <a:p>
            <a:pPr defTabSz="914225">
              <a:lnSpc>
                <a:spcPct val="90000"/>
              </a:lnSpc>
              <a:spcAft>
                <a:spcPts val="600"/>
              </a:spcAft>
            </a:pPr>
            <a:r>
              <a:rPr lang="en-US" sz="1200">
                <a:solidFill>
                  <a:srgbClr val="505050">
                    <a:lumMod val="50000"/>
                  </a:srgbClr>
                </a:solidFill>
                <a:latin typeface="Segoe UI"/>
              </a:rPr>
              <a:t>translation</a:t>
            </a:r>
          </a:p>
        </p:txBody>
      </p:sp>
      <p:sp>
        <p:nvSpPr>
          <p:cNvPr id="2" name="Rectangle 1">
            <a:extLst>
              <a:ext uri="{FF2B5EF4-FFF2-40B4-BE49-F238E27FC236}">
                <a16:creationId xmlns:a16="http://schemas.microsoft.com/office/drawing/2014/main" id="{BF8FE106-C59C-4B40-B903-0B9A4D87A2DB}"/>
              </a:ext>
            </a:extLst>
          </p:cNvPr>
          <p:cNvSpPr/>
          <p:nvPr/>
        </p:nvSpPr>
        <p:spPr bwMode="auto">
          <a:xfrm>
            <a:off x="9447286" y="1189496"/>
            <a:ext cx="2579575" cy="529988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70" name="Rectangle 69">
            <a:extLst>
              <a:ext uri="{FF2B5EF4-FFF2-40B4-BE49-F238E27FC236}">
                <a16:creationId xmlns:a16="http://schemas.microsoft.com/office/drawing/2014/main" id="{AA4536CD-0151-492A-8AFE-E209B8B5F73E}"/>
              </a:ext>
            </a:extLst>
          </p:cNvPr>
          <p:cNvSpPr/>
          <p:nvPr/>
        </p:nvSpPr>
        <p:spPr bwMode="auto">
          <a:xfrm>
            <a:off x="7190509" y="1189495"/>
            <a:ext cx="2579575" cy="529988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71" name="Rectangle 70">
            <a:extLst>
              <a:ext uri="{FF2B5EF4-FFF2-40B4-BE49-F238E27FC236}">
                <a16:creationId xmlns:a16="http://schemas.microsoft.com/office/drawing/2014/main" id="{423A0878-52E2-4769-B736-4AA153F80697}"/>
              </a:ext>
            </a:extLst>
          </p:cNvPr>
          <p:cNvSpPr/>
          <p:nvPr/>
        </p:nvSpPr>
        <p:spPr bwMode="auto">
          <a:xfrm>
            <a:off x="4982109" y="1189495"/>
            <a:ext cx="2579575" cy="529988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72" name="Rectangle 71">
            <a:extLst>
              <a:ext uri="{FF2B5EF4-FFF2-40B4-BE49-F238E27FC236}">
                <a16:creationId xmlns:a16="http://schemas.microsoft.com/office/drawing/2014/main" id="{9B3DE676-A406-4E65-BBA5-390BE6337F76}"/>
              </a:ext>
            </a:extLst>
          </p:cNvPr>
          <p:cNvSpPr/>
          <p:nvPr/>
        </p:nvSpPr>
        <p:spPr bwMode="auto">
          <a:xfrm>
            <a:off x="2757028" y="1189494"/>
            <a:ext cx="2579575" cy="529988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81" name="TextBox 80">
            <a:extLst>
              <a:ext uri="{FF2B5EF4-FFF2-40B4-BE49-F238E27FC236}">
                <a16:creationId xmlns:a16="http://schemas.microsoft.com/office/drawing/2014/main" id="{86DBB7D2-699A-4D88-B1C6-0090A539885D}"/>
              </a:ext>
            </a:extLst>
          </p:cNvPr>
          <p:cNvSpPr txBox="1"/>
          <p:nvPr/>
        </p:nvSpPr>
        <p:spPr>
          <a:xfrm>
            <a:off x="360259" y="438327"/>
            <a:ext cx="6094206" cy="461665"/>
          </a:xfrm>
          <a:prstGeom prst="rect">
            <a:avLst/>
          </a:prstGeom>
          <a:noFill/>
        </p:spPr>
        <p:txBody>
          <a:bodyPr wrap="square">
            <a:spAutoFit/>
          </a:bodyPr>
          <a:lstStyle/>
          <a:p>
            <a:r>
              <a:rPr lang="en-US" sz="2400" dirty="0">
                <a:solidFill>
                  <a:schemeClr val="bg1">
                    <a:lumMod val="50000"/>
                  </a:schemeClr>
                </a:solidFill>
                <a:latin typeface="Segoe UI Semibold (Headings)"/>
              </a:rPr>
              <a:t>IoT Hub Connectivity Models</a:t>
            </a:r>
          </a:p>
        </p:txBody>
      </p:sp>
    </p:spTree>
    <p:extLst>
      <p:ext uri="{BB962C8B-B14F-4D97-AF65-F5344CB8AC3E}">
        <p14:creationId xmlns:p14="http://schemas.microsoft.com/office/powerpoint/2010/main" val="3755220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2"/>
                                        </p:tgtEl>
                                      </p:cBhvr>
                                    </p:animEffect>
                                    <p:set>
                                      <p:cBhvr>
                                        <p:cTn id="7" dur="1" fill="hold">
                                          <p:stCondLst>
                                            <p:cond delay="499"/>
                                          </p:stCondLst>
                                        </p:cTn>
                                        <p:tgtEl>
                                          <p:spTgt spid="7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71"/>
                                        </p:tgtEl>
                                      </p:cBhvr>
                                    </p:animEffect>
                                    <p:set>
                                      <p:cBhvr>
                                        <p:cTn id="12" dur="1" fill="hold">
                                          <p:stCondLst>
                                            <p:cond delay="499"/>
                                          </p:stCondLst>
                                        </p:cTn>
                                        <p:tgtEl>
                                          <p:spTgt spid="71"/>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70"/>
                                        </p:tgtEl>
                                      </p:cBhvr>
                                    </p:animEffect>
                                    <p:set>
                                      <p:cBhvr>
                                        <p:cTn id="17" dur="1" fill="hold">
                                          <p:stCondLst>
                                            <p:cond delay="499"/>
                                          </p:stCondLst>
                                        </p:cTn>
                                        <p:tgtEl>
                                          <p:spTgt spid="70"/>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2"/>
                                        </p:tgtEl>
                                      </p:cBhvr>
                                    </p:animEffect>
                                    <p:set>
                                      <p:cBhvr>
                                        <p:cTn id="22"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0" grpId="0" animBg="1"/>
      <p:bldP spid="71" grpId="0" animBg="1"/>
      <p:bldP spid="72"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45D4AA-5F5D-466F-902B-154944817361}"/>
              </a:ext>
            </a:extLst>
          </p:cNvPr>
          <p:cNvSpPr>
            <a:spLocks noGrp="1"/>
          </p:cNvSpPr>
          <p:nvPr>
            <p:ph type="title"/>
          </p:nvPr>
        </p:nvSpPr>
        <p:spPr>
          <a:xfrm>
            <a:off x="455995" y="620428"/>
            <a:ext cx="11306469" cy="397545"/>
          </a:xfrm>
        </p:spPr>
        <p:txBody>
          <a:bodyPr/>
          <a:lstStyle/>
          <a:p>
            <a:r>
              <a:rPr lang="en-US" sz="2800" dirty="0">
                <a:solidFill>
                  <a:schemeClr val="bg2"/>
                </a:solidFill>
              </a:rPr>
              <a:t>Communication protocols</a:t>
            </a:r>
          </a:p>
        </p:txBody>
      </p:sp>
      <p:sp>
        <p:nvSpPr>
          <p:cNvPr id="28" name="Text Placeholder 1">
            <a:extLst>
              <a:ext uri="{FF2B5EF4-FFF2-40B4-BE49-F238E27FC236}">
                <a16:creationId xmlns:a16="http://schemas.microsoft.com/office/drawing/2014/main" id="{4B3B6AD1-81BB-4CDB-A9C4-6D92D45759C1}"/>
              </a:ext>
            </a:extLst>
          </p:cNvPr>
          <p:cNvSpPr txBox="1">
            <a:spLocks/>
          </p:cNvSpPr>
          <p:nvPr/>
        </p:nvSpPr>
        <p:spPr>
          <a:xfrm>
            <a:off x="432089" y="1264000"/>
            <a:ext cx="11651870" cy="2876206"/>
          </a:xfrm>
          <a:prstGeom prst="rect">
            <a:avLst/>
          </a:prstGeo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indent="-336145">
              <a:buFont typeface="Arial" panose="020B0604020202020204" pitchFamily="34" charset="0"/>
              <a:buChar char="•"/>
            </a:pPr>
            <a:r>
              <a:rPr lang="en-US" sz="2200" dirty="0">
                <a:solidFill>
                  <a:schemeClr val="bg1"/>
                </a:solidFill>
                <a:latin typeface="Segoe UI (Body)"/>
              </a:rPr>
              <a:t>IoT Hub is inherently a message-based cloud-hosted service</a:t>
            </a:r>
          </a:p>
          <a:p>
            <a:pPr marL="336145" indent="-336145">
              <a:buFont typeface="Arial" panose="020B0604020202020204" pitchFamily="34" charset="0"/>
              <a:buChar char="•"/>
            </a:pPr>
            <a:r>
              <a:rPr lang="en-US" sz="2200" dirty="0">
                <a:solidFill>
                  <a:schemeClr val="bg1"/>
                </a:solidFill>
                <a:latin typeface="Segoe UI (Body)"/>
              </a:rPr>
              <a:t>Supported protocols are </a:t>
            </a:r>
            <a:r>
              <a:rPr lang="en-US" sz="2200" b="1" dirty="0">
                <a:solidFill>
                  <a:schemeClr val="bg1"/>
                </a:solidFill>
                <a:latin typeface="Segoe UI (Body)"/>
              </a:rPr>
              <a:t>AMQP</a:t>
            </a:r>
            <a:r>
              <a:rPr lang="en-US" sz="2200" dirty="0">
                <a:solidFill>
                  <a:schemeClr val="bg1"/>
                </a:solidFill>
                <a:latin typeface="Segoe UI (Body)"/>
              </a:rPr>
              <a:t>, </a:t>
            </a:r>
            <a:r>
              <a:rPr lang="en-US" sz="2200" b="1" dirty="0">
                <a:solidFill>
                  <a:schemeClr val="bg1"/>
                </a:solidFill>
                <a:latin typeface="Segoe UI (Body)"/>
              </a:rPr>
              <a:t>MQTT</a:t>
            </a:r>
            <a:r>
              <a:rPr lang="en-US" sz="2200" dirty="0">
                <a:solidFill>
                  <a:schemeClr val="bg1"/>
                </a:solidFill>
                <a:latin typeface="Segoe UI (Body)"/>
              </a:rPr>
              <a:t> and </a:t>
            </a:r>
            <a:r>
              <a:rPr lang="en-US" sz="2200" b="1" dirty="0">
                <a:solidFill>
                  <a:schemeClr val="bg1"/>
                </a:solidFill>
                <a:latin typeface="Segoe UI (Body)"/>
              </a:rPr>
              <a:t>HTTPS</a:t>
            </a:r>
          </a:p>
          <a:p>
            <a:pPr marL="336145" indent="-336145">
              <a:buFont typeface="Arial" panose="020B0604020202020204" pitchFamily="34" charset="0"/>
              <a:buChar char="•"/>
            </a:pPr>
            <a:r>
              <a:rPr lang="en-US" sz="2200" dirty="0">
                <a:solidFill>
                  <a:schemeClr val="bg1"/>
                </a:solidFill>
                <a:latin typeface="Segoe UI (Body)"/>
              </a:rPr>
              <a:t>Devices maintain a persisted connection to IoT Hub</a:t>
            </a:r>
          </a:p>
          <a:p>
            <a:pPr marL="336145" indent="-336145">
              <a:buFont typeface="Arial" panose="020B0604020202020204" pitchFamily="34" charset="0"/>
              <a:buChar char="•"/>
            </a:pPr>
            <a:r>
              <a:rPr lang="en-US" sz="2200" dirty="0">
                <a:solidFill>
                  <a:schemeClr val="bg1"/>
                </a:solidFill>
                <a:latin typeface="Segoe UI (Body)"/>
              </a:rPr>
              <a:t>Connections are all TLS-enabled and devices are authenticated</a:t>
            </a:r>
          </a:p>
          <a:p>
            <a:pPr marL="336145" indent="-336145">
              <a:buFont typeface="Arial" panose="020B0604020202020204" pitchFamily="34" charset="0"/>
              <a:buChar char="•"/>
            </a:pPr>
            <a:r>
              <a:rPr lang="en-US" sz="2200" dirty="0">
                <a:solidFill>
                  <a:schemeClr val="bg1"/>
                </a:solidFill>
                <a:latin typeface="Segoe UI (Body)"/>
              </a:rPr>
              <a:t>Devices have an IoT Hub identity (SAS key or a certificate)</a:t>
            </a:r>
          </a:p>
          <a:p>
            <a:pPr marL="336145" indent="-336145">
              <a:buFont typeface="Arial" panose="020B0604020202020204" pitchFamily="34" charset="0"/>
              <a:buChar char="•"/>
            </a:pPr>
            <a:r>
              <a:rPr lang="en-US" sz="2200" dirty="0">
                <a:solidFill>
                  <a:schemeClr val="bg1"/>
                </a:solidFill>
                <a:latin typeface="Segoe UI (Body)"/>
              </a:rPr>
              <a:t>We allow a special-purpose service-identity with higher privileges, e.g.,</a:t>
            </a:r>
          </a:p>
          <a:p>
            <a:pPr marL="336145" lvl="1" indent="-336145">
              <a:buFont typeface="Arial" panose="020B0604020202020204" pitchFamily="34" charset="0"/>
              <a:buChar char="•"/>
            </a:pPr>
            <a:endParaRPr lang="en-US" dirty="0">
              <a:solidFill>
                <a:schemeClr val="bg1"/>
              </a:solidFill>
            </a:endParaRPr>
          </a:p>
          <a:p>
            <a:pPr marL="336145" indent="-336145">
              <a:buFont typeface="Arial" panose="020B0604020202020204" pitchFamily="34" charset="0"/>
              <a:buChar char="•"/>
            </a:pPr>
            <a:endParaRPr lang="en-US" dirty="0"/>
          </a:p>
        </p:txBody>
      </p:sp>
      <p:sp>
        <p:nvSpPr>
          <p:cNvPr id="29" name="Title 2">
            <a:extLst>
              <a:ext uri="{FF2B5EF4-FFF2-40B4-BE49-F238E27FC236}">
                <a16:creationId xmlns:a16="http://schemas.microsoft.com/office/drawing/2014/main" id="{F7899E17-78F6-4801-A795-0B7C23D2ABC5}"/>
              </a:ext>
            </a:extLst>
          </p:cNvPr>
          <p:cNvSpPr txBox="1">
            <a:spLocks/>
          </p:cNvSpPr>
          <p:nvPr/>
        </p:nvSpPr>
        <p:spPr>
          <a:xfrm>
            <a:off x="269240" y="289513"/>
            <a:ext cx="11655840" cy="89966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en-US"/>
              <a:t>Protocols</a:t>
            </a:r>
            <a:endParaRPr lang="en-US" dirty="0"/>
          </a:p>
        </p:txBody>
      </p:sp>
      <p:graphicFrame>
        <p:nvGraphicFramePr>
          <p:cNvPr id="30" name="Table 29">
            <a:extLst>
              <a:ext uri="{FF2B5EF4-FFF2-40B4-BE49-F238E27FC236}">
                <a16:creationId xmlns:a16="http://schemas.microsoft.com/office/drawing/2014/main" id="{31996B24-6146-4C46-B0BC-78BAA5A10868}"/>
              </a:ext>
            </a:extLst>
          </p:cNvPr>
          <p:cNvGraphicFramePr>
            <a:graphicFrameLocks noGrp="1"/>
          </p:cNvGraphicFramePr>
          <p:nvPr>
            <p:extLst>
              <p:ext uri="{D42A27DB-BD31-4B8C-83A1-F6EECF244321}">
                <p14:modId xmlns:p14="http://schemas.microsoft.com/office/powerpoint/2010/main" val="4230582707"/>
              </p:ext>
            </p:extLst>
          </p:nvPr>
        </p:nvGraphicFramePr>
        <p:xfrm>
          <a:off x="591970" y="3780768"/>
          <a:ext cx="10758477" cy="2417016"/>
        </p:xfrm>
        <a:graphic>
          <a:graphicData uri="http://schemas.openxmlformats.org/drawingml/2006/table">
            <a:tbl>
              <a:tblPr firstRow="1" bandRow="1">
                <a:tableStyleId>{073A0DAA-6AF3-43AB-8588-CEC1D06C72B9}</a:tableStyleId>
              </a:tblPr>
              <a:tblGrid>
                <a:gridCol w="2785931">
                  <a:extLst>
                    <a:ext uri="{9D8B030D-6E8A-4147-A177-3AD203B41FA5}">
                      <a16:colId xmlns:a16="http://schemas.microsoft.com/office/drawing/2014/main" val="1120213889"/>
                    </a:ext>
                  </a:extLst>
                </a:gridCol>
                <a:gridCol w="4386387">
                  <a:extLst>
                    <a:ext uri="{9D8B030D-6E8A-4147-A177-3AD203B41FA5}">
                      <a16:colId xmlns:a16="http://schemas.microsoft.com/office/drawing/2014/main" val="61090403"/>
                    </a:ext>
                  </a:extLst>
                </a:gridCol>
                <a:gridCol w="3586159">
                  <a:extLst>
                    <a:ext uri="{9D8B030D-6E8A-4147-A177-3AD203B41FA5}">
                      <a16:colId xmlns:a16="http://schemas.microsoft.com/office/drawing/2014/main" val="470106301"/>
                    </a:ext>
                  </a:extLst>
                </a:gridCol>
              </a:tblGrid>
              <a:tr h="360296">
                <a:tc>
                  <a:txBody>
                    <a:bodyPr/>
                    <a:lstStyle/>
                    <a:p>
                      <a:pPr marL="0" marR="0">
                        <a:spcBef>
                          <a:spcPts val="0"/>
                        </a:spcBef>
                        <a:spcAft>
                          <a:spcPts val="0"/>
                        </a:spcAft>
                      </a:pPr>
                      <a:r>
                        <a:rPr lang="en-US" sz="1400" b="1" dirty="0">
                          <a:effectLst/>
                        </a:rPr>
                        <a:t>Feature</a:t>
                      </a:r>
                      <a:endParaRPr lang="en-US" sz="1800" dirty="0">
                        <a:effectLst/>
                        <a:latin typeface="Calibri" panose="020F0502020204030204" pitchFamily="34" charset="0"/>
                        <a:ea typeface="Calibri" panose="020F0502020204030204" pitchFamily="34" charset="0"/>
                      </a:endParaRPr>
                    </a:p>
                  </a:txBody>
                  <a:tcPr marL="68570" marR="68570" marT="0" marB="0" anchor="ctr"/>
                </a:tc>
                <a:tc>
                  <a:txBody>
                    <a:bodyPr/>
                    <a:lstStyle/>
                    <a:p>
                      <a:pPr marL="0" marR="0">
                        <a:spcBef>
                          <a:spcPts val="0"/>
                        </a:spcBef>
                        <a:spcAft>
                          <a:spcPts val="0"/>
                        </a:spcAft>
                      </a:pPr>
                      <a:r>
                        <a:rPr lang="en-US" sz="1400" b="1">
                          <a:effectLst/>
                        </a:rPr>
                        <a:t>Device-side protocols</a:t>
                      </a:r>
                      <a:endParaRPr lang="en-US" sz="1800">
                        <a:effectLst/>
                        <a:latin typeface="Calibri" panose="020F0502020204030204" pitchFamily="34" charset="0"/>
                        <a:ea typeface="Calibri" panose="020F0502020204030204" pitchFamily="34" charset="0"/>
                      </a:endParaRPr>
                    </a:p>
                  </a:txBody>
                  <a:tcPr marL="68570" marR="68570" marT="0" marB="0" anchor="ctr"/>
                </a:tc>
                <a:tc>
                  <a:txBody>
                    <a:bodyPr/>
                    <a:lstStyle/>
                    <a:p>
                      <a:pPr marL="0" marR="0">
                        <a:spcBef>
                          <a:spcPts val="0"/>
                        </a:spcBef>
                        <a:spcAft>
                          <a:spcPts val="0"/>
                        </a:spcAft>
                      </a:pPr>
                      <a:r>
                        <a:rPr lang="en-US" sz="1400" b="1">
                          <a:effectLst/>
                        </a:rPr>
                        <a:t>Service-side protocols</a:t>
                      </a:r>
                      <a:endParaRPr lang="en-US" sz="1800">
                        <a:effectLst/>
                        <a:latin typeface="Calibri" panose="020F0502020204030204" pitchFamily="34" charset="0"/>
                        <a:ea typeface="Calibri" panose="020F0502020204030204" pitchFamily="34" charset="0"/>
                      </a:endParaRPr>
                    </a:p>
                  </a:txBody>
                  <a:tcPr marL="68570" marR="68570" marT="0" marB="0" anchor="ctr"/>
                </a:tc>
                <a:extLst>
                  <a:ext uri="{0D108BD9-81ED-4DB2-BD59-A6C34878D82A}">
                    <a16:rowId xmlns:a16="http://schemas.microsoft.com/office/drawing/2014/main" val="4203767344"/>
                  </a:ext>
                </a:extLst>
              </a:tr>
              <a:tr h="412894">
                <a:tc>
                  <a:txBody>
                    <a:bodyPr/>
                    <a:lstStyle/>
                    <a:p>
                      <a:pPr marL="0" marR="0">
                        <a:spcBef>
                          <a:spcPts val="0"/>
                        </a:spcBef>
                        <a:spcAft>
                          <a:spcPts val="0"/>
                        </a:spcAft>
                      </a:pPr>
                      <a:r>
                        <a:rPr lang="en-US" sz="1800">
                          <a:effectLst/>
                        </a:rPr>
                        <a:t>D2C telemetry messaging</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MQTT/WS + AMQP/WS + HTTPS</a:t>
                      </a:r>
                      <a:endParaRPr lang="en-US" sz="2400" dirty="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AMQP/WS + HTTPS</a:t>
                      </a:r>
                      <a:endParaRPr lang="en-US" sz="2400" dirty="0">
                        <a:effectLst/>
                        <a:latin typeface="Calibri" panose="020F0502020204030204" pitchFamily="34" charset="0"/>
                        <a:ea typeface="Calibri" panose="020F0502020204030204" pitchFamily="34" charset="0"/>
                      </a:endParaRPr>
                    </a:p>
                  </a:txBody>
                  <a:tcPr marL="68570" marR="68570" marT="0" marB="0"/>
                </a:tc>
                <a:extLst>
                  <a:ext uri="{0D108BD9-81ED-4DB2-BD59-A6C34878D82A}">
                    <a16:rowId xmlns:a16="http://schemas.microsoft.com/office/drawing/2014/main" val="2452713465"/>
                  </a:ext>
                </a:extLst>
              </a:tr>
              <a:tr h="412894">
                <a:tc>
                  <a:txBody>
                    <a:bodyPr/>
                    <a:lstStyle/>
                    <a:p>
                      <a:pPr marL="0" marR="0">
                        <a:spcBef>
                          <a:spcPts val="0"/>
                        </a:spcBef>
                        <a:spcAft>
                          <a:spcPts val="0"/>
                        </a:spcAft>
                      </a:pPr>
                      <a:r>
                        <a:rPr lang="en-US" sz="1800" dirty="0">
                          <a:effectLst/>
                        </a:rPr>
                        <a:t>C2D messaging</a:t>
                      </a:r>
                      <a:endParaRPr lang="en-US" sz="2400" dirty="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MQTT/WS + AMQP/WS + HTTPS</a:t>
                      </a:r>
                      <a:endParaRPr lang="en-US" sz="2400" dirty="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a:effectLst/>
                        </a:rPr>
                        <a:t>AMQP/WS</a:t>
                      </a:r>
                      <a:endParaRPr lang="en-US" sz="2400">
                        <a:effectLst/>
                        <a:latin typeface="Calibri" panose="020F0502020204030204" pitchFamily="34" charset="0"/>
                        <a:ea typeface="Calibri" panose="020F0502020204030204" pitchFamily="34" charset="0"/>
                      </a:endParaRPr>
                    </a:p>
                  </a:txBody>
                  <a:tcPr marL="68570" marR="68570" marT="0" marB="0"/>
                </a:tc>
                <a:extLst>
                  <a:ext uri="{0D108BD9-81ED-4DB2-BD59-A6C34878D82A}">
                    <a16:rowId xmlns:a16="http://schemas.microsoft.com/office/drawing/2014/main" val="2123310239"/>
                  </a:ext>
                </a:extLst>
              </a:tr>
              <a:tr h="360296">
                <a:tc>
                  <a:txBody>
                    <a:bodyPr/>
                    <a:lstStyle/>
                    <a:p>
                      <a:pPr marL="0" marR="0">
                        <a:spcBef>
                          <a:spcPts val="0"/>
                        </a:spcBef>
                        <a:spcAft>
                          <a:spcPts val="0"/>
                        </a:spcAft>
                      </a:pPr>
                      <a:r>
                        <a:rPr lang="en-US" sz="1800">
                          <a:effectLst/>
                        </a:rPr>
                        <a:t>Direct methods</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a:effectLst/>
                        </a:rPr>
                        <a:t>MQTT/WS + AMQP/WS</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HTTPS</a:t>
                      </a:r>
                      <a:endParaRPr lang="en-US" sz="2400" dirty="0">
                        <a:effectLst/>
                        <a:latin typeface="Calibri" panose="020F0502020204030204" pitchFamily="34" charset="0"/>
                        <a:ea typeface="Calibri" panose="020F0502020204030204" pitchFamily="34" charset="0"/>
                      </a:endParaRPr>
                    </a:p>
                  </a:txBody>
                  <a:tcPr marL="68570" marR="68570" marT="0" marB="0"/>
                </a:tc>
                <a:extLst>
                  <a:ext uri="{0D108BD9-81ED-4DB2-BD59-A6C34878D82A}">
                    <a16:rowId xmlns:a16="http://schemas.microsoft.com/office/drawing/2014/main" val="834162026"/>
                  </a:ext>
                </a:extLst>
              </a:tr>
              <a:tr h="360296">
                <a:tc>
                  <a:txBody>
                    <a:bodyPr/>
                    <a:lstStyle/>
                    <a:p>
                      <a:pPr marL="0" marR="0">
                        <a:spcBef>
                          <a:spcPts val="0"/>
                        </a:spcBef>
                        <a:spcAft>
                          <a:spcPts val="0"/>
                        </a:spcAft>
                      </a:pPr>
                      <a:r>
                        <a:rPr lang="en-US" sz="1800">
                          <a:effectLst/>
                        </a:rPr>
                        <a:t>Twin operations</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a:effectLst/>
                        </a:rPr>
                        <a:t>MQTT/WS + AMQP/WS</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HTTPS</a:t>
                      </a:r>
                      <a:endParaRPr lang="en-US" sz="2400" dirty="0">
                        <a:effectLst/>
                        <a:latin typeface="Calibri" panose="020F0502020204030204" pitchFamily="34" charset="0"/>
                        <a:ea typeface="Calibri" panose="020F0502020204030204" pitchFamily="34" charset="0"/>
                      </a:endParaRPr>
                    </a:p>
                  </a:txBody>
                  <a:tcPr marL="68570" marR="68570" marT="0" marB="0"/>
                </a:tc>
                <a:extLst>
                  <a:ext uri="{0D108BD9-81ED-4DB2-BD59-A6C34878D82A}">
                    <a16:rowId xmlns:a16="http://schemas.microsoft.com/office/drawing/2014/main" val="3669243945"/>
                  </a:ext>
                </a:extLst>
              </a:tr>
              <a:tr h="510340">
                <a:tc>
                  <a:txBody>
                    <a:bodyPr/>
                    <a:lstStyle/>
                    <a:p>
                      <a:pPr marL="0" marR="0">
                        <a:spcBef>
                          <a:spcPts val="0"/>
                        </a:spcBef>
                        <a:spcAft>
                          <a:spcPts val="0"/>
                        </a:spcAft>
                      </a:pPr>
                      <a:r>
                        <a:rPr lang="en-US" sz="1800">
                          <a:effectLst/>
                        </a:rPr>
                        <a:t>Device streams</a:t>
                      </a:r>
                      <a:endParaRPr lang="en-US" sz="240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MQTT/WS + AMQP/WS (C/C# SDKs)</a:t>
                      </a:r>
                      <a:endParaRPr lang="en-US" sz="2400" dirty="0">
                        <a:effectLst/>
                        <a:latin typeface="Calibri" panose="020F0502020204030204" pitchFamily="34" charset="0"/>
                        <a:ea typeface="Calibri" panose="020F0502020204030204" pitchFamily="34" charset="0"/>
                      </a:endParaRPr>
                    </a:p>
                  </a:txBody>
                  <a:tcPr marL="68570" marR="68570" marT="0" marB="0"/>
                </a:tc>
                <a:tc>
                  <a:txBody>
                    <a:bodyPr/>
                    <a:lstStyle/>
                    <a:p>
                      <a:pPr marL="0" marR="0">
                        <a:spcBef>
                          <a:spcPts val="0"/>
                        </a:spcBef>
                        <a:spcAft>
                          <a:spcPts val="0"/>
                        </a:spcAft>
                      </a:pPr>
                      <a:r>
                        <a:rPr lang="en-US" sz="1800" dirty="0">
                          <a:effectLst/>
                        </a:rPr>
                        <a:t>AMQP/WS (NodeJS/C# SDK)</a:t>
                      </a:r>
                      <a:endParaRPr lang="en-US" sz="2400" dirty="0">
                        <a:effectLst/>
                        <a:latin typeface="Calibri" panose="020F0502020204030204" pitchFamily="34" charset="0"/>
                        <a:ea typeface="Calibri" panose="020F0502020204030204" pitchFamily="34" charset="0"/>
                      </a:endParaRPr>
                    </a:p>
                  </a:txBody>
                  <a:tcPr marL="68570" marR="68570" marT="0" marB="0"/>
                </a:tc>
                <a:extLst>
                  <a:ext uri="{0D108BD9-81ED-4DB2-BD59-A6C34878D82A}">
                    <a16:rowId xmlns:a16="http://schemas.microsoft.com/office/drawing/2014/main" val="35087928"/>
                  </a:ext>
                </a:extLst>
              </a:tr>
            </a:tbl>
          </a:graphicData>
        </a:graphic>
      </p:graphicFrame>
    </p:spTree>
    <p:extLst>
      <p:ext uri="{BB962C8B-B14F-4D97-AF65-F5344CB8AC3E}">
        <p14:creationId xmlns:p14="http://schemas.microsoft.com/office/powerpoint/2010/main" val="219503153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Title 1">
            <a:extLst>
              <a:ext uri="{FF2B5EF4-FFF2-40B4-BE49-F238E27FC236}">
                <a16:creationId xmlns:a16="http://schemas.microsoft.com/office/drawing/2014/main" id="{42414596-7480-4704-93E7-6F44B919D5CB}"/>
              </a:ext>
            </a:extLst>
          </p:cNvPr>
          <p:cNvSpPr txBox="1">
            <a:spLocks/>
          </p:cNvSpPr>
          <p:nvPr/>
        </p:nvSpPr>
        <p:spPr>
          <a:xfrm>
            <a:off x="444041" y="639898"/>
            <a:ext cx="11303917" cy="39754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en-US" dirty="0">
                <a:solidFill>
                  <a:schemeClr val="bg1"/>
                </a:solidFill>
              </a:rPr>
              <a:t>Azure IoT Hub SDKs</a:t>
            </a:r>
          </a:p>
        </p:txBody>
      </p:sp>
      <p:grpSp>
        <p:nvGrpSpPr>
          <p:cNvPr id="41" name="Group 40">
            <a:extLst>
              <a:ext uri="{FF2B5EF4-FFF2-40B4-BE49-F238E27FC236}">
                <a16:creationId xmlns:a16="http://schemas.microsoft.com/office/drawing/2014/main" id="{6FD4A2E6-A2B7-4B71-A9CF-DDA5F14D12D0}"/>
              </a:ext>
            </a:extLst>
          </p:cNvPr>
          <p:cNvGrpSpPr/>
          <p:nvPr/>
        </p:nvGrpSpPr>
        <p:grpSpPr>
          <a:xfrm>
            <a:off x="5306064" y="1875449"/>
            <a:ext cx="6301817" cy="3404140"/>
            <a:chOff x="2647086" y="2165148"/>
            <a:chExt cx="6301817" cy="3404140"/>
          </a:xfrm>
        </p:grpSpPr>
        <p:sp>
          <p:nvSpPr>
            <p:cNvPr id="42" name="Rectangle: Rounded Corners 41">
              <a:extLst>
                <a:ext uri="{FF2B5EF4-FFF2-40B4-BE49-F238E27FC236}">
                  <a16:creationId xmlns:a16="http://schemas.microsoft.com/office/drawing/2014/main" id="{23DBDE81-3DCF-4D14-8BCD-8FA2E9F9371F}"/>
                </a:ext>
              </a:extLst>
            </p:cNvPr>
            <p:cNvSpPr/>
            <p:nvPr/>
          </p:nvSpPr>
          <p:spPr>
            <a:xfrm>
              <a:off x="4671012" y="2165148"/>
              <a:ext cx="2253967" cy="12638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Device Provisioning Service</a:t>
              </a:r>
            </a:p>
          </p:txBody>
        </p:sp>
        <p:sp>
          <p:nvSpPr>
            <p:cNvPr id="43" name="Rectangle: Rounded Corners 42">
              <a:extLst>
                <a:ext uri="{FF2B5EF4-FFF2-40B4-BE49-F238E27FC236}">
                  <a16:creationId xmlns:a16="http://schemas.microsoft.com/office/drawing/2014/main" id="{69B1498B-0336-4E04-82A8-F6E8A3D5F454}"/>
                </a:ext>
              </a:extLst>
            </p:cNvPr>
            <p:cNvSpPr/>
            <p:nvPr/>
          </p:nvSpPr>
          <p:spPr>
            <a:xfrm>
              <a:off x="4671011" y="4163821"/>
              <a:ext cx="2253967" cy="12638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oT Hub</a:t>
              </a:r>
            </a:p>
          </p:txBody>
        </p:sp>
        <p:sp>
          <p:nvSpPr>
            <p:cNvPr id="44" name="Rectangle: Rounded Corners 43">
              <a:extLst>
                <a:ext uri="{FF2B5EF4-FFF2-40B4-BE49-F238E27FC236}">
                  <a16:creationId xmlns:a16="http://schemas.microsoft.com/office/drawing/2014/main" id="{DAAAD51B-68E3-4A3B-AD8A-4677DDAB81BA}"/>
                </a:ext>
              </a:extLst>
            </p:cNvPr>
            <p:cNvSpPr/>
            <p:nvPr/>
          </p:nvSpPr>
          <p:spPr>
            <a:xfrm>
              <a:off x="6858016" y="4604518"/>
              <a:ext cx="2090887" cy="964770"/>
            </a:xfrm>
            <a:prstGeom prst="roundRect">
              <a:avLst/>
            </a:prstGeom>
            <a:solidFill>
              <a:srgbClr val="31FF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IoT Hub</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Service Client</a:t>
              </a:r>
            </a:p>
          </p:txBody>
        </p:sp>
        <p:sp>
          <p:nvSpPr>
            <p:cNvPr id="45" name="Rectangle: Rounded Corners 44">
              <a:extLst>
                <a:ext uri="{FF2B5EF4-FFF2-40B4-BE49-F238E27FC236}">
                  <a16:creationId xmlns:a16="http://schemas.microsoft.com/office/drawing/2014/main" id="{CA4DD74A-773B-4887-9479-DA6714153843}"/>
                </a:ext>
              </a:extLst>
            </p:cNvPr>
            <p:cNvSpPr/>
            <p:nvPr/>
          </p:nvSpPr>
          <p:spPr>
            <a:xfrm>
              <a:off x="2725673" y="2665217"/>
              <a:ext cx="2085063" cy="964771"/>
            </a:xfrm>
            <a:prstGeom prst="roundRect">
              <a:avLst/>
            </a:prstGeom>
            <a:solidFill>
              <a:srgbClr val="31FF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Provisioning</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Device Client</a:t>
              </a:r>
            </a:p>
          </p:txBody>
        </p:sp>
        <p:sp>
          <p:nvSpPr>
            <p:cNvPr id="46" name="Rectangle: Rounded Corners 45">
              <a:extLst>
                <a:ext uri="{FF2B5EF4-FFF2-40B4-BE49-F238E27FC236}">
                  <a16:creationId xmlns:a16="http://schemas.microsoft.com/office/drawing/2014/main" id="{CA23FF12-F0DD-414F-BBB4-0306E4CF4036}"/>
                </a:ext>
              </a:extLst>
            </p:cNvPr>
            <p:cNvSpPr/>
            <p:nvPr/>
          </p:nvSpPr>
          <p:spPr>
            <a:xfrm>
              <a:off x="6830725" y="2665218"/>
              <a:ext cx="2090887" cy="964770"/>
            </a:xfrm>
            <a:prstGeom prst="roundRect">
              <a:avLst/>
            </a:prstGeom>
            <a:solidFill>
              <a:srgbClr val="31FF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Provisioning </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Service Client</a:t>
              </a:r>
            </a:p>
          </p:txBody>
        </p:sp>
        <p:sp>
          <p:nvSpPr>
            <p:cNvPr id="47" name="Rectangle: Rounded Corners 46">
              <a:extLst>
                <a:ext uri="{FF2B5EF4-FFF2-40B4-BE49-F238E27FC236}">
                  <a16:creationId xmlns:a16="http://schemas.microsoft.com/office/drawing/2014/main" id="{E0EA228A-BAE8-49C3-9327-9B18B350558B}"/>
                </a:ext>
              </a:extLst>
            </p:cNvPr>
            <p:cNvSpPr/>
            <p:nvPr/>
          </p:nvSpPr>
          <p:spPr>
            <a:xfrm>
              <a:off x="2647086" y="4604518"/>
              <a:ext cx="2090887" cy="964770"/>
            </a:xfrm>
            <a:prstGeom prst="roundRect">
              <a:avLst/>
            </a:prstGeom>
            <a:solidFill>
              <a:srgbClr val="31FF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IoT Hub</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Device Client</a:t>
              </a:r>
            </a:p>
          </p:txBody>
        </p:sp>
      </p:grpSp>
      <p:sp>
        <p:nvSpPr>
          <p:cNvPr id="48" name="Text Placeholder 3">
            <a:extLst>
              <a:ext uri="{FF2B5EF4-FFF2-40B4-BE49-F238E27FC236}">
                <a16:creationId xmlns:a16="http://schemas.microsoft.com/office/drawing/2014/main" id="{A45D2706-C166-44B3-A9BA-C065C9344119}"/>
              </a:ext>
            </a:extLst>
          </p:cNvPr>
          <p:cNvSpPr txBox="1">
            <a:spLocks/>
          </p:cNvSpPr>
          <p:nvPr/>
        </p:nvSpPr>
        <p:spPr>
          <a:xfrm>
            <a:off x="424963" y="1828074"/>
            <a:ext cx="4299666" cy="4618585"/>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Segoe UI"/>
                <a:ea typeface="+mn-ea"/>
                <a:cs typeface="+mn-cs"/>
              </a:rPr>
              <a:t>Device SDKs</a:t>
            </a:r>
            <a:r>
              <a:rPr kumimoji="0" lang="en-US" sz="1600" b="0" i="0" u="none" strike="noStrike" kern="1200" cap="none" spc="0" normalizeH="0" baseline="0" noProof="0" dirty="0">
                <a:ln>
                  <a:noFill/>
                </a:ln>
                <a:solidFill>
                  <a:schemeClr val="bg1"/>
                </a:solidFill>
                <a:effectLst/>
                <a:uLnTx/>
                <a:uFillTx/>
                <a:latin typeface="Segoe UI"/>
                <a:ea typeface="+mn-ea"/>
                <a:cs typeface="+mn-cs"/>
              </a:rPr>
              <a:t> enable you to build apps that run on your IoT devices. EX: These apps can send telemetry to your IoT hub, receive messages, methods, twin updates from your IoT Hub, or device registration with your DPS.</a:t>
            </a:r>
          </a:p>
          <a:p>
            <a:pPr marL="0" marR="0" lvl="0" indent="0" algn="l" defTabSz="914400" rtl="0" eaLnBrk="1" fontAlgn="auto" latinLnBrk="0" hangingPunct="1">
              <a:lnSpc>
                <a:spcPct val="120000"/>
              </a:lnSpc>
              <a:spcBef>
                <a:spcPts val="1000"/>
              </a:spcBef>
              <a:spcAft>
                <a:spcPts val="0"/>
              </a:spcAft>
              <a:buClrTx/>
              <a:buSzTx/>
              <a:buNone/>
              <a:tabLst/>
              <a:defRPr/>
            </a:pPr>
            <a:r>
              <a:rPr lang="en-US" sz="1600" dirty="0">
                <a:solidFill>
                  <a:srgbClr val="50E6FF"/>
                </a:solidFill>
                <a:latin typeface="Segoe UI"/>
              </a:rPr>
              <a:t>    </a:t>
            </a:r>
            <a:r>
              <a:rPr lang="en-US" sz="1600" b="0" i="0" dirty="0">
                <a:solidFill>
                  <a:srgbClr val="50E6FF"/>
                </a:solidFill>
                <a:effectLst/>
                <a:latin typeface="Segoe UI" panose="020B0502040204020203" pitchFamily="34" charset="0"/>
              </a:rPr>
              <a:t>C, .NET (C#), Node.js, Java, and Python</a:t>
            </a:r>
            <a:endParaRPr kumimoji="0" lang="en-US" sz="1600" b="0" i="0" u="none" strike="noStrike" kern="1200" cap="none" spc="0" normalizeH="0" baseline="0" noProof="0" dirty="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120000"/>
              </a:lnSpc>
              <a:spcBef>
                <a:spcPts val="1000"/>
              </a:spcBef>
              <a:spcAft>
                <a:spcPts val="0"/>
              </a:spcAft>
              <a:buClrTx/>
              <a:buSzTx/>
              <a:buNone/>
              <a:tabLst/>
              <a:defRPr/>
            </a:pPr>
            <a:endParaRPr kumimoji="0" lang="en-US" sz="1600" b="1" i="0" u="none" strike="noStrike" kern="1200" cap="none" spc="0" normalizeH="0" baseline="0" noProof="0" dirty="0">
              <a:ln>
                <a:noFill/>
              </a:ln>
              <a:solidFill>
                <a:srgbClr val="000000"/>
              </a:solidFill>
              <a:effectLst/>
              <a:uLnTx/>
              <a:uFillTx/>
              <a:latin typeface="Segoe UI"/>
              <a:ea typeface="+mn-ea"/>
              <a:cs typeface="+mn-cs"/>
            </a:endParaRPr>
          </a:p>
          <a:p>
            <a:pPr marL="228600" marR="0" lvl="0" indent="-2286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bg1"/>
                </a:solidFill>
                <a:effectLst/>
                <a:uLnTx/>
                <a:uFillTx/>
                <a:latin typeface="Segoe UI"/>
                <a:ea typeface="+mn-ea"/>
                <a:cs typeface="+mn-cs"/>
              </a:rPr>
              <a:t>Service SDKs</a:t>
            </a:r>
            <a:r>
              <a:rPr kumimoji="0" lang="en-US" sz="1600" b="0" i="0" u="none" strike="noStrike" kern="1200" cap="none" spc="0" normalizeH="0" baseline="0" noProof="0" dirty="0">
                <a:ln>
                  <a:noFill/>
                </a:ln>
                <a:solidFill>
                  <a:schemeClr val="bg1"/>
                </a:solidFill>
                <a:effectLst/>
                <a:uLnTx/>
                <a:uFillTx/>
                <a:latin typeface="Segoe UI"/>
                <a:ea typeface="+mn-ea"/>
                <a:cs typeface="+mn-cs"/>
              </a:rPr>
              <a:t> enable you to manage your IoT hub and DPS resources. EX: CRUD, send messages, schedule jobs, invoke direct methods, queries, send desired property updates to your IoT devices.</a:t>
            </a:r>
            <a:endParaRPr lang="en-US" sz="1600" dirty="0">
              <a:solidFill>
                <a:schemeClr val="bg1"/>
              </a:solidFill>
              <a:latin typeface="Segoe UI"/>
            </a:endParaRPr>
          </a:p>
          <a:p>
            <a:pPr marL="0" marR="0" lvl="0" indent="0" algn="l" defTabSz="914400" rtl="0" eaLnBrk="1" fontAlgn="auto" latinLnBrk="0" hangingPunct="1">
              <a:lnSpc>
                <a:spcPct val="120000"/>
              </a:lnSpc>
              <a:spcBef>
                <a:spcPts val="1000"/>
              </a:spcBef>
              <a:spcAft>
                <a:spcPts val="0"/>
              </a:spcAft>
              <a:buClrTx/>
              <a:buSzTx/>
              <a:buNone/>
              <a:tabLst/>
              <a:defRPr/>
            </a:pPr>
            <a:r>
              <a:rPr lang="en-US" sz="1600" b="0" i="0" dirty="0">
                <a:solidFill>
                  <a:srgbClr val="50E6FF"/>
                </a:solidFill>
                <a:effectLst/>
                <a:latin typeface="Segoe UI" panose="020B0502040204020203" pitchFamily="34" charset="0"/>
              </a:rPr>
              <a:t>    C, .NET (C#), Node.js, Java, iOS and Python</a:t>
            </a:r>
            <a:endParaRPr kumimoji="0" lang="en-US" sz="1600" b="0" i="0" u="none" strike="noStrike" kern="1200" cap="none" spc="0" normalizeH="0" baseline="0" noProof="0" dirty="0">
              <a:ln>
                <a:noFill/>
              </a:ln>
              <a:solidFill>
                <a:srgbClr val="50E6FF"/>
              </a:solidFill>
              <a:effectLst/>
              <a:uLnTx/>
              <a:uFillTx/>
              <a:latin typeface="Segoe UI"/>
              <a:ea typeface="+mn-ea"/>
              <a:cs typeface="+mn-cs"/>
            </a:endParaRPr>
          </a:p>
        </p:txBody>
      </p:sp>
      <p:sp>
        <p:nvSpPr>
          <p:cNvPr id="49" name="Rectangle: Rounded Corners 48">
            <a:extLst>
              <a:ext uri="{FF2B5EF4-FFF2-40B4-BE49-F238E27FC236}">
                <a16:creationId xmlns:a16="http://schemas.microsoft.com/office/drawing/2014/main" id="{04D6F7A1-67E5-4685-91BC-E8393ABE119B}"/>
              </a:ext>
            </a:extLst>
          </p:cNvPr>
          <p:cNvSpPr/>
          <p:nvPr/>
        </p:nvSpPr>
        <p:spPr>
          <a:xfrm>
            <a:off x="5097839" y="5237901"/>
            <a:ext cx="2090887" cy="96477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PnP/DT</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Device Client</a:t>
            </a:r>
          </a:p>
        </p:txBody>
      </p:sp>
      <p:sp>
        <p:nvSpPr>
          <p:cNvPr id="50" name="Rectangle: Rounded Corners 49">
            <a:extLst>
              <a:ext uri="{FF2B5EF4-FFF2-40B4-BE49-F238E27FC236}">
                <a16:creationId xmlns:a16="http://schemas.microsoft.com/office/drawing/2014/main" id="{464F8D3D-B3FB-44AD-9288-D54143A98C79}"/>
              </a:ext>
            </a:extLst>
          </p:cNvPr>
          <p:cNvSpPr/>
          <p:nvPr/>
        </p:nvSpPr>
        <p:spPr>
          <a:xfrm>
            <a:off x="9657071" y="5237901"/>
            <a:ext cx="2090887" cy="96477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PnP/DT</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Service Client</a:t>
            </a:r>
          </a:p>
        </p:txBody>
      </p:sp>
      <p:sp>
        <p:nvSpPr>
          <p:cNvPr id="51" name="TextBox 50">
            <a:extLst>
              <a:ext uri="{FF2B5EF4-FFF2-40B4-BE49-F238E27FC236}">
                <a16:creationId xmlns:a16="http://schemas.microsoft.com/office/drawing/2014/main" id="{57657336-764D-457E-A843-1D031EED3332}"/>
              </a:ext>
            </a:extLst>
          </p:cNvPr>
          <p:cNvSpPr txBox="1"/>
          <p:nvPr/>
        </p:nvSpPr>
        <p:spPr>
          <a:xfrm>
            <a:off x="325958" y="1104965"/>
            <a:ext cx="6715496" cy="369332"/>
          </a:xfrm>
          <a:prstGeom prst="rect">
            <a:avLst/>
          </a:prstGeom>
          <a:noFill/>
        </p:spPr>
        <p:txBody>
          <a:bodyPr wrap="square">
            <a:spAutoFit/>
          </a:bodyPr>
          <a:lstStyle/>
          <a:p>
            <a:pPr defTabSz="913574">
              <a:spcBef>
                <a:spcPts val="1800"/>
              </a:spcBef>
              <a:defRPr/>
            </a:pPr>
            <a:r>
              <a:rPr lang="en-US" sz="1800" b="1" kern="0" spc="-29" dirty="0">
                <a:solidFill>
                  <a:srgbClr val="50E6FF"/>
                </a:solidFill>
                <a:latin typeface="Segoe UI" panose="020B0502040204020203" pitchFamily="34" charset="0"/>
                <a:cs typeface="Segoe UI" panose="020B0502040204020203" pitchFamily="34" charset="0"/>
              </a:rPr>
              <a:t>Multi-language and open-source SDKs – Hosted on Github</a:t>
            </a:r>
          </a:p>
        </p:txBody>
      </p:sp>
    </p:spTree>
    <p:extLst>
      <p:ext uri="{BB962C8B-B14F-4D97-AF65-F5344CB8AC3E}">
        <p14:creationId xmlns:p14="http://schemas.microsoft.com/office/powerpoint/2010/main" val="3767563144"/>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86BB3-975B-4BEF-9284-AADE61421FCF}"/>
              </a:ext>
            </a:extLst>
          </p:cNvPr>
          <p:cNvSpPr>
            <a:spLocks noGrp="1"/>
          </p:cNvSpPr>
          <p:nvPr>
            <p:ph type="title"/>
          </p:nvPr>
        </p:nvSpPr>
        <p:spPr>
          <a:xfrm>
            <a:off x="159951" y="84782"/>
            <a:ext cx="5715127" cy="572347"/>
          </a:xfrm>
        </p:spPr>
        <p:txBody>
          <a:bodyPr>
            <a:normAutofit fontScale="90000"/>
          </a:bodyPr>
          <a:lstStyle/>
          <a:p>
            <a:r>
              <a:rPr lang="en-US" sz="3599" spc="-102">
                <a:latin typeface="Segoe UI Semibold" panose="020B0702040204020203" pitchFamily="34" charset="0"/>
                <a:cs typeface="Segoe UI Semibold" panose="020B0702040204020203" pitchFamily="34" charset="0"/>
              </a:rPr>
              <a:t>Our story for Embedded</a:t>
            </a:r>
            <a:endParaRPr lang="en-US" sz="3999">
              <a:latin typeface="Segoe UI Semilight" panose="020B0402040204020203" pitchFamily="34" charset="0"/>
              <a:cs typeface="Segoe UI Semilight" panose="020B0402040204020203" pitchFamily="34" charset="0"/>
            </a:endParaRPr>
          </a:p>
        </p:txBody>
      </p:sp>
      <p:sp>
        <p:nvSpPr>
          <p:cNvPr id="41" name="Rectangle 40">
            <a:extLst>
              <a:ext uri="{FF2B5EF4-FFF2-40B4-BE49-F238E27FC236}">
                <a16:creationId xmlns:a16="http://schemas.microsoft.com/office/drawing/2014/main" id="{8CCE1A3B-FDE8-4D5D-B307-FB63D666A798}"/>
              </a:ext>
            </a:extLst>
          </p:cNvPr>
          <p:cNvSpPr/>
          <p:nvPr/>
        </p:nvSpPr>
        <p:spPr bwMode="auto">
          <a:xfrm>
            <a:off x="975286" y="2316631"/>
            <a:ext cx="1843468" cy="345883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de-DE" sz="1200" b="0"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2C60E804-95CB-43E4-A3E1-7EB323C1499B}"/>
              </a:ext>
            </a:extLst>
          </p:cNvPr>
          <p:cNvSpPr/>
          <p:nvPr/>
        </p:nvSpPr>
        <p:spPr bwMode="auto">
          <a:xfrm>
            <a:off x="1106649" y="2458550"/>
            <a:ext cx="1599783" cy="53088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OTHUB Client</a:t>
            </a:r>
          </a:p>
        </p:txBody>
      </p:sp>
      <p:sp>
        <p:nvSpPr>
          <p:cNvPr id="39" name="Rectangle 38">
            <a:extLst>
              <a:ext uri="{FF2B5EF4-FFF2-40B4-BE49-F238E27FC236}">
                <a16:creationId xmlns:a16="http://schemas.microsoft.com/office/drawing/2014/main" id="{FA638B2C-082C-40A2-819C-F9E4ED87FA91}"/>
              </a:ext>
            </a:extLst>
          </p:cNvPr>
          <p:cNvSpPr/>
          <p:nvPr/>
        </p:nvSpPr>
        <p:spPr bwMode="auto">
          <a:xfrm>
            <a:off x="1106650" y="3105138"/>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ransport </a:t>
            </a:r>
          </a:p>
        </p:txBody>
      </p:sp>
      <p:cxnSp>
        <p:nvCxnSpPr>
          <p:cNvPr id="5" name="Straight Connector 4">
            <a:extLst>
              <a:ext uri="{FF2B5EF4-FFF2-40B4-BE49-F238E27FC236}">
                <a16:creationId xmlns:a16="http://schemas.microsoft.com/office/drawing/2014/main" id="{AB032AA0-4562-4E8B-A64B-98E02BD9BCC9}"/>
              </a:ext>
            </a:extLst>
          </p:cNvPr>
          <p:cNvCxnSpPr>
            <a:cxnSpLocks/>
            <a:stCxn id="38" idx="2"/>
            <a:endCxn id="39" idx="0"/>
          </p:cNvCxnSpPr>
          <p:nvPr/>
        </p:nvCxnSpPr>
        <p:spPr>
          <a:xfrm>
            <a:off x="1906541" y="2989429"/>
            <a:ext cx="1" cy="11570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432FA454-5DF3-4AA4-A2B3-F26D30BA6447}"/>
              </a:ext>
            </a:extLst>
          </p:cNvPr>
          <p:cNvSpPr/>
          <p:nvPr/>
        </p:nvSpPr>
        <p:spPr bwMode="auto">
          <a:xfrm>
            <a:off x="1103734" y="1457644"/>
            <a:ext cx="1599783" cy="530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pplication Code</a:t>
            </a:r>
          </a:p>
        </p:txBody>
      </p:sp>
      <p:cxnSp>
        <p:nvCxnSpPr>
          <p:cNvPr id="51" name="Straight Connector 50">
            <a:extLst>
              <a:ext uri="{FF2B5EF4-FFF2-40B4-BE49-F238E27FC236}">
                <a16:creationId xmlns:a16="http://schemas.microsoft.com/office/drawing/2014/main" id="{00392CEB-D4A5-4A23-9335-9E489D5A8B5B}"/>
              </a:ext>
            </a:extLst>
          </p:cNvPr>
          <p:cNvCxnSpPr>
            <a:cxnSpLocks/>
            <a:stCxn id="49" idx="2"/>
            <a:endCxn id="38" idx="0"/>
          </p:cNvCxnSpPr>
          <p:nvPr/>
        </p:nvCxnSpPr>
        <p:spPr>
          <a:xfrm>
            <a:off x="1903625" y="1988524"/>
            <a:ext cx="2915" cy="47002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26A2A5F3-E1BC-4880-869F-6C48004854A9}"/>
              </a:ext>
            </a:extLst>
          </p:cNvPr>
          <p:cNvSpPr/>
          <p:nvPr/>
        </p:nvSpPr>
        <p:spPr bwMode="auto">
          <a:xfrm>
            <a:off x="1106650" y="3769098"/>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ransport Client </a:t>
            </a:r>
          </a:p>
        </p:txBody>
      </p:sp>
      <p:sp>
        <p:nvSpPr>
          <p:cNvPr id="54" name="Rectangle 53">
            <a:extLst>
              <a:ext uri="{FF2B5EF4-FFF2-40B4-BE49-F238E27FC236}">
                <a16:creationId xmlns:a16="http://schemas.microsoft.com/office/drawing/2014/main" id="{FE0587D6-FAAE-4189-AED3-DF0903666FFB}"/>
              </a:ext>
            </a:extLst>
          </p:cNvPr>
          <p:cNvSpPr/>
          <p:nvPr/>
        </p:nvSpPr>
        <p:spPr bwMode="auto">
          <a:xfrm>
            <a:off x="1106650" y="4433058"/>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LS </a:t>
            </a:r>
          </a:p>
        </p:txBody>
      </p:sp>
      <p:sp>
        <p:nvSpPr>
          <p:cNvPr id="55" name="Rectangle 54">
            <a:extLst>
              <a:ext uri="{FF2B5EF4-FFF2-40B4-BE49-F238E27FC236}">
                <a16:creationId xmlns:a16="http://schemas.microsoft.com/office/drawing/2014/main" id="{2BAA1BE2-118A-4632-AA1A-E15AEB225995}"/>
              </a:ext>
            </a:extLst>
          </p:cNvPr>
          <p:cNvSpPr/>
          <p:nvPr/>
        </p:nvSpPr>
        <p:spPr bwMode="auto">
          <a:xfrm>
            <a:off x="1106650" y="5097018"/>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ocket </a:t>
            </a:r>
          </a:p>
        </p:txBody>
      </p:sp>
      <p:cxnSp>
        <p:nvCxnSpPr>
          <p:cNvPr id="18" name="Straight Connector 17">
            <a:extLst>
              <a:ext uri="{FF2B5EF4-FFF2-40B4-BE49-F238E27FC236}">
                <a16:creationId xmlns:a16="http://schemas.microsoft.com/office/drawing/2014/main" id="{7F589AB4-95DF-4692-B04F-1C4AE6B47F1D}"/>
              </a:ext>
            </a:extLst>
          </p:cNvPr>
          <p:cNvCxnSpPr>
            <a:cxnSpLocks/>
            <a:stCxn id="39" idx="2"/>
            <a:endCxn id="53" idx="0"/>
          </p:cNvCxnSpPr>
          <p:nvPr/>
        </p:nvCxnSpPr>
        <p:spPr>
          <a:xfrm>
            <a:off x="1906540" y="3649066"/>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3B5B461-6D20-485F-900A-39282BD4C212}"/>
              </a:ext>
            </a:extLst>
          </p:cNvPr>
          <p:cNvCxnSpPr>
            <a:cxnSpLocks/>
            <a:stCxn id="53" idx="2"/>
            <a:endCxn id="54" idx="0"/>
          </p:cNvCxnSpPr>
          <p:nvPr/>
        </p:nvCxnSpPr>
        <p:spPr>
          <a:xfrm>
            <a:off x="1906540" y="4313026"/>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4CF66D7-A014-42B7-A3E6-07EC7931C8F7}"/>
              </a:ext>
            </a:extLst>
          </p:cNvPr>
          <p:cNvCxnSpPr>
            <a:cxnSpLocks/>
            <a:stCxn id="54" idx="2"/>
            <a:endCxn id="55" idx="0"/>
          </p:cNvCxnSpPr>
          <p:nvPr/>
        </p:nvCxnSpPr>
        <p:spPr>
          <a:xfrm>
            <a:off x="1906540" y="4976986"/>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5A92566E-C4F2-4EB9-9156-9CDFD73B96AD}"/>
              </a:ext>
            </a:extLst>
          </p:cNvPr>
          <p:cNvPicPr>
            <a:picLocks noChangeAspect="1"/>
          </p:cNvPicPr>
          <p:nvPr/>
        </p:nvPicPr>
        <p:blipFill>
          <a:blip r:embed="rId3"/>
          <a:stretch>
            <a:fillRect/>
          </a:stretch>
        </p:blipFill>
        <p:spPr>
          <a:xfrm>
            <a:off x="1628794" y="5881293"/>
            <a:ext cx="563820" cy="881763"/>
          </a:xfrm>
          <a:prstGeom prst="rect">
            <a:avLst/>
          </a:prstGeom>
        </p:spPr>
      </p:pic>
      <p:cxnSp>
        <p:nvCxnSpPr>
          <p:cNvPr id="30" name="Straight Connector 29">
            <a:extLst>
              <a:ext uri="{FF2B5EF4-FFF2-40B4-BE49-F238E27FC236}">
                <a16:creationId xmlns:a16="http://schemas.microsoft.com/office/drawing/2014/main" id="{8966B7E4-D938-48D8-8D39-71B0733B1319}"/>
              </a:ext>
            </a:extLst>
          </p:cNvPr>
          <p:cNvCxnSpPr>
            <a:cxnSpLocks/>
            <a:stCxn id="55" idx="2"/>
            <a:endCxn id="28" idx="0"/>
          </p:cNvCxnSpPr>
          <p:nvPr/>
        </p:nvCxnSpPr>
        <p:spPr>
          <a:xfrm>
            <a:off x="1906541" y="5640947"/>
            <a:ext cx="4164" cy="2403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690532D2-13B9-47B0-8F33-9CE94AEDCAF2}"/>
              </a:ext>
            </a:extLst>
          </p:cNvPr>
          <p:cNvSpPr/>
          <p:nvPr/>
        </p:nvSpPr>
        <p:spPr>
          <a:xfrm>
            <a:off x="816820" y="2099754"/>
            <a:ext cx="779550" cy="258465"/>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 SDK</a:t>
            </a:r>
          </a:p>
        </p:txBody>
      </p:sp>
      <p:sp>
        <p:nvSpPr>
          <p:cNvPr id="94" name="Rectangle 93">
            <a:extLst>
              <a:ext uri="{FF2B5EF4-FFF2-40B4-BE49-F238E27FC236}">
                <a16:creationId xmlns:a16="http://schemas.microsoft.com/office/drawing/2014/main" id="{FD765E0D-0C1E-46E2-81F7-2050400126D1}"/>
              </a:ext>
            </a:extLst>
          </p:cNvPr>
          <p:cNvSpPr/>
          <p:nvPr/>
        </p:nvSpPr>
        <p:spPr bwMode="auto">
          <a:xfrm>
            <a:off x="4332044" y="2385891"/>
            <a:ext cx="1599783" cy="530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pplication Code</a:t>
            </a:r>
          </a:p>
        </p:txBody>
      </p:sp>
      <p:sp>
        <p:nvSpPr>
          <p:cNvPr id="99" name="Rectangle 98">
            <a:extLst>
              <a:ext uri="{FF2B5EF4-FFF2-40B4-BE49-F238E27FC236}">
                <a16:creationId xmlns:a16="http://schemas.microsoft.com/office/drawing/2014/main" id="{34DDFC3F-41CD-4A07-8F40-65F16A0BDBCE}"/>
              </a:ext>
            </a:extLst>
          </p:cNvPr>
          <p:cNvSpPr/>
          <p:nvPr/>
        </p:nvSpPr>
        <p:spPr bwMode="auto">
          <a:xfrm>
            <a:off x="4776855" y="3489311"/>
            <a:ext cx="1599783" cy="5439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MQTT </a:t>
            </a:r>
          </a:p>
        </p:txBody>
      </p:sp>
      <p:sp>
        <p:nvSpPr>
          <p:cNvPr id="105" name="Rectangle 104">
            <a:extLst>
              <a:ext uri="{FF2B5EF4-FFF2-40B4-BE49-F238E27FC236}">
                <a16:creationId xmlns:a16="http://schemas.microsoft.com/office/drawing/2014/main" id="{03AEFE49-F58F-43F4-B26F-47C36AF62C6C}"/>
              </a:ext>
            </a:extLst>
          </p:cNvPr>
          <p:cNvSpPr/>
          <p:nvPr/>
        </p:nvSpPr>
        <p:spPr bwMode="auto">
          <a:xfrm>
            <a:off x="4776855" y="4153271"/>
            <a:ext cx="1599783" cy="5439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LS </a:t>
            </a:r>
          </a:p>
        </p:txBody>
      </p:sp>
      <p:sp>
        <p:nvSpPr>
          <p:cNvPr id="106" name="Rectangle 105">
            <a:extLst>
              <a:ext uri="{FF2B5EF4-FFF2-40B4-BE49-F238E27FC236}">
                <a16:creationId xmlns:a16="http://schemas.microsoft.com/office/drawing/2014/main" id="{C57A924C-A33E-4018-A839-D75C6E7A266C}"/>
              </a:ext>
            </a:extLst>
          </p:cNvPr>
          <p:cNvSpPr/>
          <p:nvPr/>
        </p:nvSpPr>
        <p:spPr bwMode="auto">
          <a:xfrm>
            <a:off x="4776855" y="4817232"/>
            <a:ext cx="1599783" cy="5439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ocket </a:t>
            </a:r>
          </a:p>
        </p:txBody>
      </p:sp>
      <p:cxnSp>
        <p:nvCxnSpPr>
          <p:cNvPr id="108" name="Straight Connector 107">
            <a:extLst>
              <a:ext uri="{FF2B5EF4-FFF2-40B4-BE49-F238E27FC236}">
                <a16:creationId xmlns:a16="http://schemas.microsoft.com/office/drawing/2014/main" id="{2007CBBE-6713-4F82-A1E5-9046428C4F60}"/>
              </a:ext>
            </a:extLst>
          </p:cNvPr>
          <p:cNvCxnSpPr>
            <a:cxnSpLocks/>
            <a:stCxn id="99" idx="2"/>
            <a:endCxn id="105" idx="0"/>
          </p:cNvCxnSpPr>
          <p:nvPr/>
        </p:nvCxnSpPr>
        <p:spPr>
          <a:xfrm>
            <a:off x="5576745" y="4033240"/>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44A7D9B1-CB5D-4D7E-B549-3D965E9204A5}"/>
              </a:ext>
            </a:extLst>
          </p:cNvPr>
          <p:cNvCxnSpPr>
            <a:cxnSpLocks/>
            <a:stCxn id="105" idx="2"/>
            <a:endCxn id="106" idx="0"/>
          </p:cNvCxnSpPr>
          <p:nvPr/>
        </p:nvCxnSpPr>
        <p:spPr>
          <a:xfrm>
            <a:off x="5576745" y="4697200"/>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0" name="Picture 109">
            <a:extLst>
              <a:ext uri="{FF2B5EF4-FFF2-40B4-BE49-F238E27FC236}">
                <a16:creationId xmlns:a16="http://schemas.microsoft.com/office/drawing/2014/main" id="{31DFF3A0-76B4-4972-9681-6943B1E34D9E}"/>
              </a:ext>
            </a:extLst>
          </p:cNvPr>
          <p:cNvPicPr>
            <a:picLocks noChangeAspect="1"/>
          </p:cNvPicPr>
          <p:nvPr/>
        </p:nvPicPr>
        <p:blipFill>
          <a:blip r:embed="rId3"/>
          <a:stretch>
            <a:fillRect/>
          </a:stretch>
        </p:blipFill>
        <p:spPr>
          <a:xfrm>
            <a:off x="5294835" y="5615871"/>
            <a:ext cx="563820" cy="881763"/>
          </a:xfrm>
          <a:prstGeom prst="rect">
            <a:avLst/>
          </a:prstGeom>
        </p:spPr>
      </p:pic>
      <p:cxnSp>
        <p:nvCxnSpPr>
          <p:cNvPr id="111" name="Straight Connector 110">
            <a:extLst>
              <a:ext uri="{FF2B5EF4-FFF2-40B4-BE49-F238E27FC236}">
                <a16:creationId xmlns:a16="http://schemas.microsoft.com/office/drawing/2014/main" id="{B24BC883-5FCC-4626-AC3C-2ED7660C73DD}"/>
              </a:ext>
            </a:extLst>
          </p:cNvPr>
          <p:cNvCxnSpPr>
            <a:cxnSpLocks/>
            <a:stCxn id="106" idx="2"/>
            <a:endCxn id="110" idx="0"/>
          </p:cNvCxnSpPr>
          <p:nvPr/>
        </p:nvCxnSpPr>
        <p:spPr>
          <a:xfrm>
            <a:off x="5576745" y="5361160"/>
            <a:ext cx="0" cy="25471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B8AE925F-A222-4345-89E4-6B69F2007A3B}"/>
              </a:ext>
            </a:extLst>
          </p:cNvPr>
          <p:cNvSpPr/>
          <p:nvPr/>
        </p:nvSpPr>
        <p:spPr>
          <a:xfrm>
            <a:off x="3979657" y="3366650"/>
            <a:ext cx="801656" cy="784626"/>
          </a:xfrm>
          <a:prstGeom prst="rect">
            <a:avLst/>
          </a:prstGeom>
        </p:spPr>
        <p:txBody>
          <a:bodyPr wrap="square">
            <a:spAutoFit/>
          </a:bodyPr>
          <a:lstStyle/>
          <a:p>
            <a:pPr marL="0" marR="0" lvl="0" indent="0" algn="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aho</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squitto</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tc.</a:t>
            </a:r>
          </a:p>
          <a:p>
            <a:pPr marL="0" marR="0" lvl="0" indent="0" algn="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114" name="Rectangle 113">
            <a:extLst>
              <a:ext uri="{FF2B5EF4-FFF2-40B4-BE49-F238E27FC236}">
                <a16:creationId xmlns:a16="http://schemas.microsoft.com/office/drawing/2014/main" id="{E8FD5750-5F99-4EC8-B5CB-46885BE3A06D}"/>
              </a:ext>
            </a:extLst>
          </p:cNvPr>
          <p:cNvSpPr/>
          <p:nvPr/>
        </p:nvSpPr>
        <p:spPr>
          <a:xfrm>
            <a:off x="3868750" y="4201975"/>
            <a:ext cx="929768" cy="507699"/>
          </a:xfrm>
          <a:prstGeom prst="rect">
            <a:avLst/>
          </a:prstGeom>
        </p:spPr>
        <p:txBody>
          <a:bodyPr wrap="square">
            <a:spAutoFit/>
          </a:bodyPr>
          <a:lstStyle/>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pen SSL</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channel</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tc.</a:t>
            </a:r>
          </a:p>
        </p:txBody>
      </p:sp>
      <p:sp>
        <p:nvSpPr>
          <p:cNvPr id="116" name="Rectangle 115">
            <a:extLst>
              <a:ext uri="{FF2B5EF4-FFF2-40B4-BE49-F238E27FC236}">
                <a16:creationId xmlns:a16="http://schemas.microsoft.com/office/drawing/2014/main" id="{76FDD0C9-98AC-4806-976F-F36F549B0851}"/>
              </a:ext>
            </a:extLst>
          </p:cNvPr>
          <p:cNvSpPr/>
          <p:nvPr/>
        </p:nvSpPr>
        <p:spPr>
          <a:xfrm>
            <a:off x="3956594" y="4856602"/>
            <a:ext cx="831767" cy="507699"/>
          </a:xfrm>
          <a:prstGeom prst="rect">
            <a:avLst/>
          </a:prstGeom>
        </p:spPr>
        <p:txBody>
          <a:bodyPr wrap="square">
            <a:spAutoFit/>
          </a:bodyPr>
          <a:lstStyle/>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Win 32</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Berkeley</a:t>
            </a:r>
          </a:p>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tc.</a:t>
            </a:r>
          </a:p>
        </p:txBody>
      </p:sp>
      <p:sp>
        <p:nvSpPr>
          <p:cNvPr id="58" name="Rectangle 57">
            <a:extLst>
              <a:ext uri="{FF2B5EF4-FFF2-40B4-BE49-F238E27FC236}">
                <a16:creationId xmlns:a16="http://schemas.microsoft.com/office/drawing/2014/main" id="{E1D77DA5-657A-489B-99AE-45689086BB00}"/>
              </a:ext>
            </a:extLst>
          </p:cNvPr>
          <p:cNvSpPr/>
          <p:nvPr/>
        </p:nvSpPr>
        <p:spPr>
          <a:xfrm>
            <a:off x="921529" y="790249"/>
            <a:ext cx="1950983" cy="556931"/>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cenario 1 – C SDK</a:t>
            </a:r>
          </a:p>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inux – Windows)</a:t>
            </a:r>
          </a:p>
        </p:txBody>
      </p:sp>
      <p:sp>
        <p:nvSpPr>
          <p:cNvPr id="59" name="Rectangle 58">
            <a:extLst>
              <a:ext uri="{FF2B5EF4-FFF2-40B4-BE49-F238E27FC236}">
                <a16:creationId xmlns:a16="http://schemas.microsoft.com/office/drawing/2014/main" id="{9A9060BD-6B22-4802-8E02-4E37880ACFE9}"/>
              </a:ext>
            </a:extLst>
          </p:cNvPr>
          <p:cNvSpPr/>
          <p:nvPr/>
        </p:nvSpPr>
        <p:spPr>
          <a:xfrm>
            <a:off x="4035123" y="805236"/>
            <a:ext cx="3425981" cy="556931"/>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cenario 2 – new Embedded C SDK</a:t>
            </a:r>
          </a:p>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Bare Metal - Constrained devices)</a:t>
            </a:r>
          </a:p>
        </p:txBody>
      </p:sp>
      <p:sp>
        <p:nvSpPr>
          <p:cNvPr id="61" name="Rectangle 60">
            <a:extLst>
              <a:ext uri="{FF2B5EF4-FFF2-40B4-BE49-F238E27FC236}">
                <a16:creationId xmlns:a16="http://schemas.microsoft.com/office/drawing/2014/main" id="{A0CB57D2-9B2E-4187-81D4-E11E86A9C613}"/>
              </a:ext>
            </a:extLst>
          </p:cNvPr>
          <p:cNvSpPr/>
          <p:nvPr/>
        </p:nvSpPr>
        <p:spPr bwMode="auto">
          <a:xfrm>
            <a:off x="6307853" y="6334014"/>
            <a:ext cx="192544" cy="1980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48CC44A9-D835-40C2-B95A-42721658DF9E}"/>
              </a:ext>
            </a:extLst>
          </p:cNvPr>
          <p:cNvSpPr/>
          <p:nvPr/>
        </p:nvSpPr>
        <p:spPr>
          <a:xfrm>
            <a:off x="6402072" y="6314967"/>
            <a:ext cx="1972776" cy="244618"/>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IoT Developer’s responsibility</a:t>
            </a:r>
          </a:p>
        </p:txBody>
      </p:sp>
      <p:sp>
        <p:nvSpPr>
          <p:cNvPr id="63" name="Rectangle 62">
            <a:extLst>
              <a:ext uri="{FF2B5EF4-FFF2-40B4-BE49-F238E27FC236}">
                <a16:creationId xmlns:a16="http://schemas.microsoft.com/office/drawing/2014/main" id="{A3D3594E-B656-4E9E-9A45-3EB87DFE95B7}"/>
              </a:ext>
            </a:extLst>
          </p:cNvPr>
          <p:cNvSpPr/>
          <p:nvPr/>
        </p:nvSpPr>
        <p:spPr bwMode="auto">
          <a:xfrm>
            <a:off x="6307853" y="6597677"/>
            <a:ext cx="192544" cy="19806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 name="Rectangle 63">
            <a:extLst>
              <a:ext uri="{FF2B5EF4-FFF2-40B4-BE49-F238E27FC236}">
                <a16:creationId xmlns:a16="http://schemas.microsoft.com/office/drawing/2014/main" id="{AD77093F-3258-4503-AA57-1F869D41DDE8}"/>
              </a:ext>
            </a:extLst>
          </p:cNvPr>
          <p:cNvSpPr/>
          <p:nvPr/>
        </p:nvSpPr>
        <p:spPr>
          <a:xfrm>
            <a:off x="6402072" y="6578631"/>
            <a:ext cx="1718868" cy="244618"/>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icrosoft’s responsibility</a:t>
            </a:r>
          </a:p>
        </p:txBody>
      </p:sp>
      <p:sp>
        <p:nvSpPr>
          <p:cNvPr id="69" name="Rectangle 68">
            <a:extLst>
              <a:ext uri="{FF2B5EF4-FFF2-40B4-BE49-F238E27FC236}">
                <a16:creationId xmlns:a16="http://schemas.microsoft.com/office/drawing/2014/main" id="{A5F128A3-B635-483F-9665-F6FE09CE535A}"/>
              </a:ext>
            </a:extLst>
          </p:cNvPr>
          <p:cNvSpPr/>
          <p:nvPr/>
        </p:nvSpPr>
        <p:spPr>
          <a:xfrm>
            <a:off x="6085565" y="1541464"/>
            <a:ext cx="1550997" cy="590777"/>
          </a:xfrm>
          <a:prstGeom prst="rect">
            <a:avLst/>
          </a:prstGeom>
        </p:spPr>
        <p:txBody>
          <a:bodyPr wrap="square">
            <a:spAutoFit/>
          </a:bodyPr>
          <a:lstStyle/>
          <a:p>
            <a:pPr marL="0" marR="0" lvl="0" indent="0" algn="l" defTabSz="914126"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elemetry (D2C), C2D,</a:t>
            </a:r>
          </a:p>
          <a:p>
            <a:pPr marL="0" marR="0" lvl="0" indent="0" algn="l" defTabSz="914126"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ice Twin, IoT Plug and Play, Direct Methods</a:t>
            </a:r>
          </a:p>
          <a:p>
            <a:pPr marL="0" marR="0" lvl="0" indent="0" algn="l" defTabSz="914126"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ice Provisioning </a:t>
            </a:r>
          </a:p>
        </p:txBody>
      </p:sp>
      <p:sp>
        <p:nvSpPr>
          <p:cNvPr id="70" name="Left Brace 69">
            <a:extLst>
              <a:ext uri="{FF2B5EF4-FFF2-40B4-BE49-F238E27FC236}">
                <a16:creationId xmlns:a16="http://schemas.microsoft.com/office/drawing/2014/main" id="{E0956007-5929-4366-AC40-163FA1F6C2B3}"/>
              </a:ext>
            </a:extLst>
          </p:cNvPr>
          <p:cNvSpPr/>
          <p:nvPr/>
        </p:nvSpPr>
        <p:spPr>
          <a:xfrm rot="16200000">
            <a:off x="6664181" y="1588845"/>
            <a:ext cx="193508" cy="1262062"/>
          </a:xfrm>
          <a:prstGeom prst="leftBrace">
            <a:avLst>
              <a:gd name="adj1" fmla="val 31952"/>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 name="Rectangle 2">
            <a:extLst>
              <a:ext uri="{FF2B5EF4-FFF2-40B4-BE49-F238E27FC236}">
                <a16:creationId xmlns:a16="http://schemas.microsoft.com/office/drawing/2014/main" id="{96E39813-187E-4F12-8537-215713C1E1F4}"/>
              </a:ext>
            </a:extLst>
          </p:cNvPr>
          <p:cNvSpPr/>
          <p:nvPr/>
        </p:nvSpPr>
        <p:spPr bwMode="auto">
          <a:xfrm>
            <a:off x="6206357" y="2386447"/>
            <a:ext cx="1184879" cy="530881"/>
          </a:xfrm>
          <a:prstGeom prst="rect">
            <a:avLst/>
          </a:prstGeom>
          <a:solidFill>
            <a:srgbClr val="008272"/>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3236" tIns="46618" rIns="93236" bIns="46618" numCol="1" spcCol="0" rtlCol="0" fromWordArt="0" anchor="ctr" anchorCtr="0" forceAA="0" compatLnSpc="1">
            <a:prstTxWarp prst="textNoShape">
              <a:avLst/>
            </a:prstTxWarp>
            <a:noAutofit/>
          </a:bodyPr>
          <a:lstStyle/>
          <a:p>
            <a:pPr marL="0" marR="0" lvl="0" indent="0" algn="ctr" defTabSz="950743"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Embedded C SDK</a:t>
            </a:r>
          </a:p>
        </p:txBody>
      </p:sp>
      <p:cxnSp>
        <p:nvCxnSpPr>
          <p:cNvPr id="7" name="Connector: Elbow 6">
            <a:extLst>
              <a:ext uri="{FF2B5EF4-FFF2-40B4-BE49-F238E27FC236}">
                <a16:creationId xmlns:a16="http://schemas.microsoft.com/office/drawing/2014/main" id="{2BF31538-16BA-4C48-8C11-391991842A90}"/>
              </a:ext>
            </a:extLst>
          </p:cNvPr>
          <p:cNvCxnSpPr>
            <a:cxnSpLocks/>
            <a:stCxn id="94" idx="3"/>
            <a:endCxn id="3" idx="1"/>
          </p:cNvCxnSpPr>
          <p:nvPr/>
        </p:nvCxnSpPr>
        <p:spPr>
          <a:xfrm>
            <a:off x="5931826" y="2651330"/>
            <a:ext cx="274530" cy="556"/>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C2ADE780-8440-4258-BEE8-2F6F0B2F5BC0}"/>
              </a:ext>
            </a:extLst>
          </p:cNvPr>
          <p:cNvCxnSpPr>
            <a:cxnSpLocks/>
            <a:stCxn id="94" idx="2"/>
            <a:endCxn id="99" idx="0"/>
          </p:cNvCxnSpPr>
          <p:nvPr/>
        </p:nvCxnSpPr>
        <p:spPr>
          <a:xfrm rot="16200000" flipH="1">
            <a:off x="5068070" y="2980636"/>
            <a:ext cx="572541" cy="444811"/>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015A2FC-687F-447B-AD2B-0F3BE1D7D83D}"/>
              </a:ext>
            </a:extLst>
          </p:cNvPr>
          <p:cNvSpPr/>
          <p:nvPr/>
        </p:nvSpPr>
        <p:spPr bwMode="auto">
          <a:xfrm>
            <a:off x="9273812" y="2403447"/>
            <a:ext cx="1952076" cy="3184943"/>
          </a:xfrm>
          <a:prstGeom prst="rect">
            <a:avLst/>
          </a:prstGeom>
          <a:solidFill>
            <a:srgbClr val="B0B0B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de-DE" sz="1200" b="0"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4769F5B7-419C-4C56-90AC-5DE84BFE6449}"/>
              </a:ext>
            </a:extLst>
          </p:cNvPr>
          <p:cNvSpPr/>
          <p:nvPr/>
        </p:nvSpPr>
        <p:spPr bwMode="auto">
          <a:xfrm>
            <a:off x="9426585" y="2573484"/>
            <a:ext cx="1599783" cy="82788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endParaRPr kumimoji="0" lang="de-DE" sz="1200" b="0"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360F6211-0DFA-47E2-80BA-1D330D21DA0C}"/>
              </a:ext>
            </a:extLst>
          </p:cNvPr>
          <p:cNvSpPr/>
          <p:nvPr/>
        </p:nvSpPr>
        <p:spPr bwMode="auto">
          <a:xfrm>
            <a:off x="10338641" y="2756331"/>
            <a:ext cx="609754" cy="426153"/>
          </a:xfrm>
          <a:prstGeom prst="rect">
            <a:avLst/>
          </a:prstGeom>
          <a:solidFill>
            <a:srgbClr val="008272"/>
          </a:solidFill>
          <a:ln w="19050">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Emb. C SDK</a:t>
            </a:r>
          </a:p>
        </p:txBody>
      </p:sp>
      <p:sp>
        <p:nvSpPr>
          <p:cNvPr id="9" name="Rectangle 8">
            <a:extLst>
              <a:ext uri="{FF2B5EF4-FFF2-40B4-BE49-F238E27FC236}">
                <a16:creationId xmlns:a16="http://schemas.microsoft.com/office/drawing/2014/main" id="{3C7CDDD8-3B91-484B-B5C8-57AFC7A43112}"/>
              </a:ext>
            </a:extLst>
          </p:cNvPr>
          <p:cNvSpPr/>
          <p:nvPr/>
        </p:nvSpPr>
        <p:spPr bwMode="auto">
          <a:xfrm>
            <a:off x="9426088" y="1526363"/>
            <a:ext cx="1599783" cy="5308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pplication Code</a:t>
            </a:r>
          </a:p>
        </p:txBody>
      </p:sp>
      <p:cxnSp>
        <p:nvCxnSpPr>
          <p:cNvPr id="10" name="Straight Connector 9">
            <a:extLst>
              <a:ext uri="{FF2B5EF4-FFF2-40B4-BE49-F238E27FC236}">
                <a16:creationId xmlns:a16="http://schemas.microsoft.com/office/drawing/2014/main" id="{5AE73077-7F0A-4EB0-B884-C9D68AEF393E}"/>
              </a:ext>
            </a:extLst>
          </p:cNvPr>
          <p:cNvCxnSpPr>
            <a:cxnSpLocks/>
            <a:stCxn id="9" idx="2"/>
            <a:endCxn id="6" idx="0"/>
          </p:cNvCxnSpPr>
          <p:nvPr/>
        </p:nvCxnSpPr>
        <p:spPr>
          <a:xfrm>
            <a:off x="10225980" y="2057245"/>
            <a:ext cx="497" cy="5162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5F695E2-8489-4E4E-AAC2-B7CB3649283B}"/>
              </a:ext>
            </a:extLst>
          </p:cNvPr>
          <p:cNvSpPr/>
          <p:nvPr/>
        </p:nvSpPr>
        <p:spPr bwMode="auto">
          <a:xfrm>
            <a:off x="9430232" y="3584674"/>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MQTT</a:t>
            </a:r>
          </a:p>
        </p:txBody>
      </p:sp>
      <p:sp>
        <p:nvSpPr>
          <p:cNvPr id="13" name="Rectangle 12">
            <a:extLst>
              <a:ext uri="{FF2B5EF4-FFF2-40B4-BE49-F238E27FC236}">
                <a16:creationId xmlns:a16="http://schemas.microsoft.com/office/drawing/2014/main" id="{CA903095-936A-4A34-A7CB-BD3862F44991}"/>
              </a:ext>
            </a:extLst>
          </p:cNvPr>
          <p:cNvSpPr/>
          <p:nvPr/>
        </p:nvSpPr>
        <p:spPr bwMode="auto">
          <a:xfrm>
            <a:off x="9430232" y="4248634"/>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LS </a:t>
            </a:r>
          </a:p>
        </p:txBody>
      </p:sp>
      <p:sp>
        <p:nvSpPr>
          <p:cNvPr id="14" name="Rectangle 13">
            <a:extLst>
              <a:ext uri="{FF2B5EF4-FFF2-40B4-BE49-F238E27FC236}">
                <a16:creationId xmlns:a16="http://schemas.microsoft.com/office/drawing/2014/main" id="{078F823F-E30F-48E1-BEA5-B7E8645C3A53}"/>
              </a:ext>
            </a:extLst>
          </p:cNvPr>
          <p:cNvSpPr/>
          <p:nvPr/>
        </p:nvSpPr>
        <p:spPr bwMode="auto">
          <a:xfrm>
            <a:off x="9430232" y="4912594"/>
            <a:ext cx="1599783" cy="54392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l" defTabSz="93219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ocket </a:t>
            </a:r>
          </a:p>
        </p:txBody>
      </p:sp>
      <p:cxnSp>
        <p:nvCxnSpPr>
          <p:cNvPr id="15" name="Straight Connector 14">
            <a:extLst>
              <a:ext uri="{FF2B5EF4-FFF2-40B4-BE49-F238E27FC236}">
                <a16:creationId xmlns:a16="http://schemas.microsoft.com/office/drawing/2014/main" id="{498B3ECA-73C6-430B-8766-3101A6A34EC5}"/>
              </a:ext>
            </a:extLst>
          </p:cNvPr>
          <p:cNvCxnSpPr>
            <a:cxnSpLocks/>
            <a:stCxn id="6" idx="2"/>
            <a:endCxn id="11" idx="0"/>
          </p:cNvCxnSpPr>
          <p:nvPr/>
        </p:nvCxnSpPr>
        <p:spPr>
          <a:xfrm>
            <a:off x="10226476" y="3401363"/>
            <a:ext cx="3647" cy="18331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39B185-3F5F-4A1B-AEA5-9A26DEDF146F}"/>
              </a:ext>
            </a:extLst>
          </p:cNvPr>
          <p:cNvCxnSpPr>
            <a:cxnSpLocks/>
            <a:stCxn id="11" idx="2"/>
            <a:endCxn id="13" idx="0"/>
          </p:cNvCxnSpPr>
          <p:nvPr/>
        </p:nvCxnSpPr>
        <p:spPr>
          <a:xfrm>
            <a:off x="10230122" y="4128602"/>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70C0933-C3BC-471D-8650-9320C9A68322}"/>
              </a:ext>
            </a:extLst>
          </p:cNvPr>
          <p:cNvCxnSpPr>
            <a:cxnSpLocks/>
            <a:stCxn id="13" idx="2"/>
            <a:endCxn id="14" idx="0"/>
          </p:cNvCxnSpPr>
          <p:nvPr/>
        </p:nvCxnSpPr>
        <p:spPr>
          <a:xfrm>
            <a:off x="10230122" y="4792562"/>
            <a:ext cx="0" cy="1200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C4089928-7E34-4121-9CB6-3993175A961C}"/>
              </a:ext>
            </a:extLst>
          </p:cNvPr>
          <p:cNvPicPr>
            <a:picLocks noChangeAspect="1"/>
          </p:cNvPicPr>
          <p:nvPr/>
        </p:nvPicPr>
        <p:blipFill>
          <a:blip r:embed="rId3"/>
          <a:stretch>
            <a:fillRect/>
          </a:stretch>
        </p:blipFill>
        <p:spPr>
          <a:xfrm>
            <a:off x="9945653" y="5696869"/>
            <a:ext cx="563820" cy="881763"/>
          </a:xfrm>
          <a:prstGeom prst="rect">
            <a:avLst/>
          </a:prstGeom>
        </p:spPr>
      </p:pic>
      <p:cxnSp>
        <p:nvCxnSpPr>
          <p:cNvPr id="21" name="Straight Connector 20">
            <a:extLst>
              <a:ext uri="{FF2B5EF4-FFF2-40B4-BE49-F238E27FC236}">
                <a16:creationId xmlns:a16="http://schemas.microsoft.com/office/drawing/2014/main" id="{0E6A27DD-7E25-41CB-8EA0-FAD106D620FE}"/>
              </a:ext>
            </a:extLst>
          </p:cNvPr>
          <p:cNvCxnSpPr>
            <a:cxnSpLocks/>
            <a:stCxn id="14" idx="2"/>
            <a:endCxn id="19" idx="0"/>
          </p:cNvCxnSpPr>
          <p:nvPr/>
        </p:nvCxnSpPr>
        <p:spPr>
          <a:xfrm flipH="1">
            <a:off x="10227564" y="5456523"/>
            <a:ext cx="2559" cy="2403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90AD6E82-A0F5-4328-84B8-764031D7335F}"/>
              </a:ext>
            </a:extLst>
          </p:cNvPr>
          <p:cNvSpPr/>
          <p:nvPr/>
        </p:nvSpPr>
        <p:spPr>
          <a:xfrm>
            <a:off x="9369896" y="2776157"/>
            <a:ext cx="999764" cy="424621"/>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oT middleware</a:t>
            </a:r>
          </a:p>
        </p:txBody>
      </p:sp>
      <p:sp>
        <p:nvSpPr>
          <p:cNvPr id="24" name="Rectangle 23">
            <a:extLst>
              <a:ext uri="{FF2B5EF4-FFF2-40B4-BE49-F238E27FC236}">
                <a16:creationId xmlns:a16="http://schemas.microsoft.com/office/drawing/2014/main" id="{984B3036-4101-4F7F-A3C3-E0B8B483ED8A}"/>
              </a:ext>
            </a:extLst>
          </p:cNvPr>
          <p:cNvSpPr/>
          <p:nvPr/>
        </p:nvSpPr>
        <p:spPr>
          <a:xfrm>
            <a:off x="10228604" y="2099753"/>
            <a:ext cx="1265088" cy="313850"/>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RTOS</a:t>
            </a:r>
          </a:p>
        </p:txBody>
      </p:sp>
      <p:sp>
        <p:nvSpPr>
          <p:cNvPr id="25" name="Rectangle 24">
            <a:extLst>
              <a:ext uri="{FF2B5EF4-FFF2-40B4-BE49-F238E27FC236}">
                <a16:creationId xmlns:a16="http://schemas.microsoft.com/office/drawing/2014/main" id="{E9E398C0-B94B-41DA-90C2-243D279DB6A5}"/>
              </a:ext>
            </a:extLst>
          </p:cNvPr>
          <p:cNvSpPr/>
          <p:nvPr/>
        </p:nvSpPr>
        <p:spPr>
          <a:xfrm>
            <a:off x="9132486" y="706215"/>
            <a:ext cx="2524927" cy="778472"/>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cenario 3 – Azure RTOS + Azure IoT middleware</a:t>
            </a:r>
          </a:p>
          <a:p>
            <a:pPr marL="0" marR="0" lvl="0" indent="0" algn="ctr" defTabSz="914126"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TOS-based Constrained devices)</a:t>
            </a:r>
          </a:p>
        </p:txBody>
      </p:sp>
      <p:sp>
        <p:nvSpPr>
          <p:cNvPr id="124" name="Rectangle 123">
            <a:extLst>
              <a:ext uri="{FF2B5EF4-FFF2-40B4-BE49-F238E27FC236}">
                <a16:creationId xmlns:a16="http://schemas.microsoft.com/office/drawing/2014/main" id="{005EC59A-535B-4589-BEE3-285A4A2633A7}"/>
              </a:ext>
            </a:extLst>
          </p:cNvPr>
          <p:cNvSpPr/>
          <p:nvPr/>
        </p:nvSpPr>
        <p:spPr>
          <a:xfrm>
            <a:off x="1985257" y="3155510"/>
            <a:ext cx="929768" cy="507699"/>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HTTP</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MQTT</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AMQP</a:t>
            </a:r>
          </a:p>
        </p:txBody>
      </p:sp>
      <p:sp>
        <p:nvSpPr>
          <p:cNvPr id="125" name="Rectangle 124">
            <a:extLst>
              <a:ext uri="{FF2B5EF4-FFF2-40B4-BE49-F238E27FC236}">
                <a16:creationId xmlns:a16="http://schemas.microsoft.com/office/drawing/2014/main" id="{8D927062-C918-4290-9756-B0D4B7BC4A2F}"/>
              </a:ext>
            </a:extLst>
          </p:cNvPr>
          <p:cNvSpPr/>
          <p:nvPr/>
        </p:nvSpPr>
        <p:spPr>
          <a:xfrm>
            <a:off x="1910110" y="4467628"/>
            <a:ext cx="929768" cy="507699"/>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Open SSL</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Schannel</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Mbed TLS</a:t>
            </a:r>
          </a:p>
        </p:txBody>
      </p:sp>
      <p:sp>
        <p:nvSpPr>
          <p:cNvPr id="126" name="Rectangle 125">
            <a:extLst>
              <a:ext uri="{FF2B5EF4-FFF2-40B4-BE49-F238E27FC236}">
                <a16:creationId xmlns:a16="http://schemas.microsoft.com/office/drawing/2014/main" id="{3FF45997-3A98-4675-8B9D-11120601B345}"/>
              </a:ext>
            </a:extLst>
          </p:cNvPr>
          <p:cNvSpPr/>
          <p:nvPr/>
        </p:nvSpPr>
        <p:spPr>
          <a:xfrm>
            <a:off x="2014226" y="5125235"/>
            <a:ext cx="831767" cy="507699"/>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Win 32</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Berkeley</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light"/>
                <a:ea typeface="+mn-ea"/>
                <a:cs typeface="+mn-cs"/>
              </a:rPr>
              <a:t>Mbed</a:t>
            </a:r>
          </a:p>
        </p:txBody>
      </p:sp>
      <p:cxnSp>
        <p:nvCxnSpPr>
          <p:cNvPr id="44" name="Straight Connector 43">
            <a:extLst>
              <a:ext uri="{FF2B5EF4-FFF2-40B4-BE49-F238E27FC236}">
                <a16:creationId xmlns:a16="http://schemas.microsoft.com/office/drawing/2014/main" id="{55BF6DC1-C3A3-4CCE-95D7-273CA7C6E519}"/>
              </a:ext>
            </a:extLst>
          </p:cNvPr>
          <p:cNvCxnSpPr/>
          <p:nvPr/>
        </p:nvCxnSpPr>
        <p:spPr>
          <a:xfrm>
            <a:off x="3480089" y="805237"/>
            <a:ext cx="16128" cy="5484971"/>
          </a:xfrm>
          <a:prstGeom prst="line">
            <a:avLst/>
          </a:prstGeom>
          <a:ln w="57150">
            <a:headEnd type="none"/>
            <a:tailEnd type="none"/>
          </a:ln>
        </p:spPr>
        <p:style>
          <a:lnRef idx="1">
            <a:schemeClr val="accent5"/>
          </a:lnRef>
          <a:fillRef idx="0">
            <a:schemeClr val="accent5"/>
          </a:fillRef>
          <a:effectRef idx="0">
            <a:schemeClr val="accent5"/>
          </a:effectRef>
          <a:fontRef idx="minor">
            <a:schemeClr val="tx1"/>
          </a:fontRef>
        </p:style>
      </p:cxnSp>
      <p:cxnSp>
        <p:nvCxnSpPr>
          <p:cNvPr id="128" name="Straight Connector 127">
            <a:extLst>
              <a:ext uri="{FF2B5EF4-FFF2-40B4-BE49-F238E27FC236}">
                <a16:creationId xmlns:a16="http://schemas.microsoft.com/office/drawing/2014/main" id="{77E91F95-9F0C-4A16-944F-98DF90F8BAA5}"/>
              </a:ext>
            </a:extLst>
          </p:cNvPr>
          <p:cNvCxnSpPr/>
          <p:nvPr/>
        </p:nvCxnSpPr>
        <p:spPr>
          <a:xfrm>
            <a:off x="8346609" y="800500"/>
            <a:ext cx="16128" cy="5484971"/>
          </a:xfrm>
          <a:prstGeom prst="line">
            <a:avLst/>
          </a:prstGeom>
          <a:ln w="57150">
            <a:headEnd type="none"/>
            <a:tailEnd type="none"/>
          </a:ln>
        </p:spPr>
        <p:style>
          <a:lnRef idx="1">
            <a:schemeClr val="accent5"/>
          </a:lnRef>
          <a:fillRef idx="0">
            <a:schemeClr val="accent5"/>
          </a:fillRef>
          <a:effectRef idx="0">
            <a:schemeClr val="accent5"/>
          </a:effectRef>
          <a:fontRef idx="minor">
            <a:schemeClr val="tx1"/>
          </a:fontRef>
        </p:style>
      </p:cxnSp>
      <p:sp>
        <p:nvSpPr>
          <p:cNvPr id="129" name="Rectangle 128">
            <a:extLst>
              <a:ext uri="{FF2B5EF4-FFF2-40B4-BE49-F238E27FC236}">
                <a16:creationId xmlns:a16="http://schemas.microsoft.com/office/drawing/2014/main" id="{0B6CB177-5309-49D6-9B6D-34624363912A}"/>
              </a:ext>
            </a:extLst>
          </p:cNvPr>
          <p:cNvSpPr/>
          <p:nvPr/>
        </p:nvSpPr>
        <p:spPr>
          <a:xfrm>
            <a:off x="10377924" y="3738776"/>
            <a:ext cx="703787" cy="230772"/>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FFFFFF"/>
                </a:solidFill>
                <a:effectLst/>
                <a:uLnTx/>
                <a:uFillTx/>
                <a:latin typeface="Segoe UI Semilight"/>
                <a:ea typeface="+mn-ea"/>
                <a:cs typeface="+mn-cs"/>
              </a:rPr>
              <a:t>Netx</a:t>
            </a:r>
            <a:r>
              <a:rPr kumimoji="0" lang="en-US" sz="1000" b="0" i="0" u="none" strike="noStrike" kern="1200" cap="none" spc="0" normalizeH="0" baseline="0" noProof="0" dirty="0">
                <a:ln>
                  <a:noFill/>
                </a:ln>
                <a:solidFill>
                  <a:srgbClr val="FFFFFF"/>
                </a:solidFill>
                <a:effectLst/>
                <a:uLnTx/>
                <a:uFillTx/>
                <a:latin typeface="Segoe UI Semilight"/>
                <a:ea typeface="+mn-ea"/>
                <a:cs typeface="+mn-cs"/>
              </a:rPr>
              <a:t> Duo</a:t>
            </a:r>
          </a:p>
        </p:txBody>
      </p:sp>
      <p:sp>
        <p:nvSpPr>
          <p:cNvPr id="130" name="Rectangle 129">
            <a:extLst>
              <a:ext uri="{FF2B5EF4-FFF2-40B4-BE49-F238E27FC236}">
                <a16:creationId xmlns:a16="http://schemas.microsoft.com/office/drawing/2014/main" id="{C5AF99E1-DFFF-4DA7-8BE3-19FDFC73656F}"/>
              </a:ext>
            </a:extLst>
          </p:cNvPr>
          <p:cNvSpPr/>
          <p:nvPr/>
        </p:nvSpPr>
        <p:spPr>
          <a:xfrm>
            <a:off x="10377924" y="4416780"/>
            <a:ext cx="703787" cy="230772"/>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FFFFFF"/>
                </a:solidFill>
                <a:effectLst/>
                <a:uLnTx/>
                <a:uFillTx/>
                <a:latin typeface="Segoe UI Semilight"/>
                <a:ea typeface="+mn-ea"/>
                <a:cs typeface="+mn-cs"/>
              </a:rPr>
              <a:t>Netx</a:t>
            </a:r>
            <a:r>
              <a:rPr kumimoji="0" lang="en-US" sz="1000" b="0" i="0" u="none" strike="noStrike" kern="1200" cap="none" spc="0" normalizeH="0" baseline="0" noProof="0" dirty="0">
                <a:ln>
                  <a:noFill/>
                </a:ln>
                <a:solidFill>
                  <a:srgbClr val="FFFFFF"/>
                </a:solidFill>
                <a:effectLst/>
                <a:uLnTx/>
                <a:uFillTx/>
                <a:latin typeface="Segoe UI Semilight"/>
                <a:ea typeface="+mn-ea"/>
                <a:cs typeface="+mn-cs"/>
              </a:rPr>
              <a:t> Duo</a:t>
            </a:r>
          </a:p>
        </p:txBody>
      </p:sp>
      <p:sp>
        <p:nvSpPr>
          <p:cNvPr id="131" name="Rectangle 130">
            <a:extLst>
              <a:ext uri="{FF2B5EF4-FFF2-40B4-BE49-F238E27FC236}">
                <a16:creationId xmlns:a16="http://schemas.microsoft.com/office/drawing/2014/main" id="{71426B83-8C28-43AA-B95A-057F8D1F6212}"/>
              </a:ext>
            </a:extLst>
          </p:cNvPr>
          <p:cNvSpPr/>
          <p:nvPr/>
        </p:nvSpPr>
        <p:spPr>
          <a:xfrm>
            <a:off x="10377924" y="5079547"/>
            <a:ext cx="703787" cy="230772"/>
          </a:xfrm>
          <a:prstGeom prst="rect">
            <a:avLst/>
          </a:prstGeom>
        </p:spPr>
        <p:txBody>
          <a:bodyPr wrap="square">
            <a:sp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FFFFFF"/>
                </a:solidFill>
                <a:effectLst/>
                <a:uLnTx/>
                <a:uFillTx/>
                <a:latin typeface="Segoe UI Semilight"/>
                <a:ea typeface="+mn-ea"/>
                <a:cs typeface="+mn-cs"/>
              </a:rPr>
              <a:t>Netx</a:t>
            </a:r>
            <a:r>
              <a:rPr kumimoji="0" lang="en-US" sz="1000" b="0" i="0" u="none" strike="noStrike" kern="1200" cap="none" spc="0" normalizeH="0" baseline="0" noProof="0" dirty="0">
                <a:ln>
                  <a:noFill/>
                </a:ln>
                <a:solidFill>
                  <a:srgbClr val="FFFFFF"/>
                </a:solidFill>
                <a:effectLst/>
                <a:uLnTx/>
                <a:uFillTx/>
                <a:latin typeface="Segoe UI Semilight"/>
                <a:ea typeface="+mn-ea"/>
                <a:cs typeface="+mn-cs"/>
              </a:rPr>
              <a:t> Duo</a:t>
            </a:r>
          </a:p>
        </p:txBody>
      </p:sp>
    </p:spTree>
    <p:extLst>
      <p:ext uri="{BB962C8B-B14F-4D97-AF65-F5344CB8AC3E}">
        <p14:creationId xmlns:p14="http://schemas.microsoft.com/office/powerpoint/2010/main" val="1101972282"/>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1F2D33-5CA7-40E1-B877-5B0C3AB6A79F}"/>
              </a:ext>
            </a:extLst>
          </p:cNvPr>
          <p:cNvSpPr/>
          <p:nvPr/>
        </p:nvSpPr>
        <p:spPr>
          <a:xfrm>
            <a:off x="1718234" y="1236005"/>
            <a:ext cx="7869555" cy="5355294"/>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b" anchorCtr="0" compatLnSpc="1">
            <a:prstTxWarp prst="textNoShape">
              <a:avLst/>
            </a:prstTxWarp>
          </a:bodyPr>
          <a:lstStyle/>
          <a:p>
            <a:pPr algn="ctr" defTabSz="932192" fontAlgn="base">
              <a:spcBef>
                <a:spcPct val="0"/>
              </a:spcBef>
              <a:spcAft>
                <a:spcPct val="0"/>
              </a:spcAft>
            </a:pPr>
            <a:r>
              <a:rPr lang="en-AU">
                <a:solidFill>
                  <a:srgbClr val="243A5E">
                    <a:lumMod val="50000"/>
                  </a:srgbClr>
                </a:solidFill>
                <a:latin typeface="Segoe UI" panose="020B0502040204020203" pitchFamily="34" charset="0"/>
                <a:cs typeface="Segoe UI" panose="020B0502040204020203" pitchFamily="34" charset="0"/>
                <a:sym typeface="Helvetica Neue Medium"/>
              </a:rPr>
              <a:t>Insights</a:t>
            </a:r>
          </a:p>
        </p:txBody>
      </p:sp>
      <p:sp>
        <p:nvSpPr>
          <p:cNvPr id="16" name="Rectangle 15">
            <a:extLst>
              <a:ext uri="{FF2B5EF4-FFF2-40B4-BE49-F238E27FC236}">
                <a16:creationId xmlns:a16="http://schemas.microsoft.com/office/drawing/2014/main" id="{9EBBFE09-2A09-4DBF-A88E-0D43EEE91C08}"/>
              </a:ext>
            </a:extLst>
          </p:cNvPr>
          <p:cNvSpPr/>
          <p:nvPr/>
        </p:nvSpPr>
        <p:spPr>
          <a:xfrm>
            <a:off x="10115678" y="1232789"/>
            <a:ext cx="1929706" cy="5355288"/>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b" anchorCtr="0" compatLnSpc="1">
            <a:prstTxWarp prst="textNoShape">
              <a:avLst/>
            </a:prstTxWarp>
          </a:bodyPr>
          <a:lstStyle/>
          <a:p>
            <a:pPr algn="ctr" defTabSz="932192" fontAlgn="base">
              <a:spcBef>
                <a:spcPct val="0"/>
              </a:spcBef>
              <a:spcAft>
                <a:spcPct val="0"/>
              </a:spcAft>
            </a:pPr>
            <a:r>
              <a:rPr lang="en-AU" sz="1999">
                <a:solidFill>
                  <a:srgbClr val="243A5E">
                    <a:lumMod val="50000"/>
                  </a:srgbClr>
                </a:solidFill>
                <a:latin typeface="Segoe UI" panose="020B0502040204020203" pitchFamily="34" charset="0"/>
                <a:cs typeface="Segoe UI" panose="020B0502040204020203" pitchFamily="34" charset="0"/>
                <a:sym typeface="Helvetica Neue Medium"/>
              </a:rPr>
              <a:t>Actions</a:t>
            </a:r>
          </a:p>
        </p:txBody>
      </p:sp>
      <p:sp>
        <p:nvSpPr>
          <p:cNvPr id="14" name="Rectangle 13">
            <a:extLst>
              <a:ext uri="{FF2B5EF4-FFF2-40B4-BE49-F238E27FC236}">
                <a16:creationId xmlns:a16="http://schemas.microsoft.com/office/drawing/2014/main" id="{A407557D-045A-4CA3-9D5D-399E1B04E575}"/>
              </a:ext>
            </a:extLst>
          </p:cNvPr>
          <p:cNvSpPr/>
          <p:nvPr/>
        </p:nvSpPr>
        <p:spPr>
          <a:xfrm>
            <a:off x="102889" y="1232790"/>
            <a:ext cx="1170614" cy="5355281"/>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b" anchorCtr="0" compatLnSpc="1">
            <a:prstTxWarp prst="textNoShape">
              <a:avLst/>
            </a:prstTxWarp>
          </a:bodyPr>
          <a:lstStyle/>
          <a:p>
            <a:pPr algn="ctr" defTabSz="932192" fontAlgn="base">
              <a:spcBef>
                <a:spcPct val="0"/>
              </a:spcBef>
              <a:spcAft>
                <a:spcPct val="0"/>
              </a:spcAft>
            </a:pPr>
            <a:r>
              <a:rPr lang="en-AU" sz="1999">
                <a:solidFill>
                  <a:srgbClr val="243A5E">
                    <a:lumMod val="50000"/>
                  </a:srgbClr>
                </a:solidFill>
                <a:latin typeface="Segoe UI" panose="020B0502040204020203" pitchFamily="34" charset="0"/>
                <a:cs typeface="Segoe UI" panose="020B0502040204020203" pitchFamily="34" charset="0"/>
                <a:sym typeface="Helvetica Neue Medium"/>
              </a:rPr>
              <a:t>Things</a:t>
            </a:r>
          </a:p>
        </p:txBody>
      </p:sp>
      <p:sp>
        <p:nvSpPr>
          <p:cNvPr id="112" name="Rectangle 111">
            <a:extLst>
              <a:ext uri="{FF2B5EF4-FFF2-40B4-BE49-F238E27FC236}">
                <a16:creationId xmlns:a16="http://schemas.microsoft.com/office/drawing/2014/main" id="{0FDBB4ED-7A5B-4633-A92C-29B77AC1AAE0}"/>
              </a:ext>
            </a:extLst>
          </p:cNvPr>
          <p:cNvSpPr/>
          <p:nvPr/>
        </p:nvSpPr>
        <p:spPr>
          <a:xfrm>
            <a:off x="1788450" y="2247855"/>
            <a:ext cx="4150571" cy="3392854"/>
          </a:xfrm>
          <a:prstGeom prst="rect">
            <a:avLst/>
          </a:prstGeom>
          <a:solidFill>
            <a:srgbClr val="E7E6E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defTabSz="825500" hangingPunct="0"/>
            <a:r>
              <a:rPr lang="en-AU" sz="1600" kern="0">
                <a:solidFill>
                  <a:srgbClr val="006DD6"/>
                </a:solidFill>
                <a:latin typeface="Segoe UI" panose="020B0502040204020203" pitchFamily="34" charset="0"/>
                <a:cs typeface="Segoe UI" panose="020B0502040204020203" pitchFamily="34" charset="0"/>
                <a:sym typeface="Segoe UI Semibold"/>
              </a:rPr>
              <a:t>Azure IoT Hub</a:t>
            </a:r>
          </a:p>
        </p:txBody>
      </p:sp>
      <p:sp>
        <p:nvSpPr>
          <p:cNvPr id="113" name="Rectangle 112">
            <a:extLst>
              <a:ext uri="{FF2B5EF4-FFF2-40B4-BE49-F238E27FC236}">
                <a16:creationId xmlns:a16="http://schemas.microsoft.com/office/drawing/2014/main" id="{BC3B5C88-4B16-47C0-B713-1F9D4306903E}"/>
              </a:ext>
            </a:extLst>
          </p:cNvPr>
          <p:cNvSpPr/>
          <p:nvPr/>
        </p:nvSpPr>
        <p:spPr>
          <a:xfrm>
            <a:off x="3283350" y="2413276"/>
            <a:ext cx="1181469" cy="3111029"/>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algn="ctr" defTabSz="914126">
              <a:defRPr/>
            </a:pPr>
            <a:r>
              <a:rPr lang="en-AU" sz="1200">
                <a:solidFill>
                  <a:srgbClr val="243A5E">
                    <a:lumMod val="50000"/>
                  </a:srgbClr>
                </a:solidFill>
                <a:latin typeface="Segoe UI" panose="020B0502040204020203" pitchFamily="34" charset="0"/>
                <a:cs typeface="Segoe UI" panose="020B0502040204020203" pitchFamily="34" charset="0"/>
                <a:sym typeface="Segoe UI Semibold"/>
              </a:rPr>
              <a:t>Message enrichment</a:t>
            </a:r>
          </a:p>
        </p:txBody>
      </p:sp>
      <p:sp>
        <p:nvSpPr>
          <p:cNvPr id="114" name="Rectangle 113">
            <a:extLst>
              <a:ext uri="{FF2B5EF4-FFF2-40B4-BE49-F238E27FC236}">
                <a16:creationId xmlns:a16="http://schemas.microsoft.com/office/drawing/2014/main" id="{0BBC1200-87A4-452A-B40E-B315DBCB6F0C}"/>
              </a:ext>
            </a:extLst>
          </p:cNvPr>
          <p:cNvSpPr/>
          <p:nvPr/>
        </p:nvSpPr>
        <p:spPr>
          <a:xfrm>
            <a:off x="4602165" y="2413275"/>
            <a:ext cx="1181469" cy="3129178"/>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algn="ctr" defTabSz="914126">
              <a:defRPr/>
            </a:pPr>
            <a:r>
              <a:rPr lang="en-AU" sz="1200">
                <a:solidFill>
                  <a:srgbClr val="243A5E">
                    <a:lumMod val="50000"/>
                  </a:srgbClr>
                </a:solidFill>
                <a:latin typeface="Segoe UI" panose="020B0502040204020203" pitchFamily="34" charset="0"/>
                <a:cs typeface="Segoe UI" panose="020B0502040204020203" pitchFamily="34" charset="0"/>
                <a:sym typeface="Segoe UI Semibold"/>
              </a:rPr>
              <a:t>Message partitioning</a:t>
            </a:r>
          </a:p>
        </p:txBody>
      </p:sp>
      <p:pic>
        <p:nvPicPr>
          <p:cNvPr id="116" name="Picture 115">
            <a:extLst>
              <a:ext uri="{FF2B5EF4-FFF2-40B4-BE49-F238E27FC236}">
                <a16:creationId xmlns:a16="http://schemas.microsoft.com/office/drawing/2014/main" id="{9017395A-2240-492E-B2E3-92E35FB1E9E1}"/>
              </a:ext>
            </a:extLst>
          </p:cNvPr>
          <p:cNvPicPr>
            <a:picLocks noChangeAspect="1"/>
          </p:cNvPicPr>
          <p:nvPr/>
        </p:nvPicPr>
        <p:blipFill>
          <a:blip r:embed="rId3"/>
          <a:stretch>
            <a:fillRect/>
          </a:stretch>
        </p:blipFill>
        <p:spPr>
          <a:xfrm>
            <a:off x="225189" y="3095452"/>
            <a:ext cx="934953" cy="1430933"/>
          </a:xfrm>
          <a:prstGeom prst="rect">
            <a:avLst/>
          </a:prstGeom>
          <a:effectLst>
            <a:outerShdw blurRad="50800" dist="38100" dir="2700000" algn="tl" rotWithShape="0">
              <a:prstClr val="black">
                <a:alpha val="40000"/>
              </a:prstClr>
            </a:outerShdw>
          </a:effectLst>
        </p:spPr>
      </p:pic>
      <p:pic>
        <p:nvPicPr>
          <p:cNvPr id="118" name="Picture 2" descr="Reekoh | Plugins">
            <a:extLst>
              <a:ext uri="{FF2B5EF4-FFF2-40B4-BE49-F238E27FC236}">
                <a16:creationId xmlns:a16="http://schemas.microsoft.com/office/drawing/2014/main" id="{CDCCC241-5601-453D-A842-1C484B9CF4CE}"/>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13333" b="86000" l="13000" r="86667">
                        <a14:foregroundMark x1="17333" y1="82333" x2="17333" y2="82333"/>
                        <a14:foregroundMark x1="17000" y1="70333" x2="17000" y2="70333"/>
                        <a14:foregroundMark x1="17667" y1="71667" x2="26333" y2="83333"/>
                        <a14:foregroundMark x1="13333" y1="70333" x2="13333" y2="70333"/>
                        <a14:foregroundMark x1="26333" y1="86000" x2="26333" y2="86000"/>
                        <a14:foregroundMark x1="80333" y1="26333" x2="80333" y2="26333"/>
                        <a14:foregroundMark x1="86667" y1="24667" x2="86667" y2="24667"/>
                        <a14:foregroundMark x1="85000" y1="13333" x2="85000" y2="13333"/>
                      </a14:backgroundRemoval>
                    </a14:imgEffect>
                  </a14:imgLayer>
                </a14:imgProps>
              </a:ext>
              <a:ext uri="{28A0092B-C50C-407E-A947-70E740481C1C}">
                <a14:useLocalDpi xmlns:a14="http://schemas.microsoft.com/office/drawing/2010/main" val="0"/>
              </a:ext>
            </a:extLst>
          </a:blip>
          <a:srcRect l="8393" t="8395" r="10628" b="8418"/>
          <a:stretch/>
        </p:blipFill>
        <p:spPr bwMode="auto">
          <a:xfrm>
            <a:off x="2027500" y="3171063"/>
            <a:ext cx="952215" cy="97819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9" name="Picture 118">
            <a:extLst>
              <a:ext uri="{FF2B5EF4-FFF2-40B4-BE49-F238E27FC236}">
                <a16:creationId xmlns:a16="http://schemas.microsoft.com/office/drawing/2014/main" id="{7D6839E6-EE34-4A7B-B888-1AEBE0227FF9}"/>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522" b="93478" l="7500" r="92500">
                        <a14:foregroundMark x1="41250" y1="82609" x2="41250" y2="82609"/>
                        <a14:foregroundMark x1="42500" y1="89130" x2="41250" y2="92391"/>
                        <a14:foregroundMark x1="32000" y1="89130" x2="40000" y2="93478"/>
                        <a14:foregroundMark x1="30000" y1="88043" x2="32000" y2="89130"/>
                        <a14:foregroundMark x1="82500" y1="81522" x2="86250" y2="81522"/>
                        <a14:foregroundMark x1="78750" y1="52174" x2="80000" y2="48913"/>
                        <a14:foregroundMark x1="92500" y1="21739" x2="92500" y2="18478"/>
                        <a14:foregroundMark x1="57500" y1="7609" x2="8750" y2="42391"/>
                        <a14:foregroundMark x1="8750" y1="42391" x2="7500" y2="66304"/>
                        <a14:foregroundMark x1="7500" y1="7609" x2="56250" y2="6522"/>
                        <a14:foregroundMark x1="82082" y1="86957" x2="78750" y2="89130"/>
                        <a14:foregroundMark x1="83749" y1="85870" x2="82082" y2="86957"/>
                        <a14:foregroundMark x1="88750" y1="82609" x2="86142" y2="84310"/>
                        <a14:foregroundMark x1="88751" y1="89130" x2="92500" y2="86957"/>
                        <a14:foregroundMark x1="86876" y1="90217" x2="88751" y2="89130"/>
                        <a14:foregroundMark x1="81250" y1="93478" x2="86876" y2="90217"/>
                        <a14:foregroundMark x1="88750" y1="91304" x2="88750" y2="91304"/>
                        <a14:foregroundMark x1="90000" y1="90217" x2="88750" y2="92391"/>
                        <a14:backgroundMark x1="37500" y1="88043" x2="37500" y2="88043"/>
                        <a14:backgroundMark x1="36250" y1="89130" x2="36250" y2="89130"/>
                        <a14:backgroundMark x1="33750" y1="89130" x2="33750" y2="89130"/>
                        <a14:backgroundMark x1="85000" y1="86957" x2="85000" y2="86957"/>
                        <a14:backgroundMark x1="86250" y1="85870" x2="86250" y2="85870"/>
                        <a14:backgroundMark x1="85000" y1="85870" x2="86250" y2="86957"/>
                        <a14:backgroundMark x1="83750" y1="86957" x2="83750" y2="86957"/>
                        <a14:backgroundMark x1="83750" y1="85870" x2="85000" y2="85870"/>
                        <a14:backgroundMark x1="85000" y1="84783" x2="85000" y2="84783"/>
                        <a14:backgroundMark x1="82500" y1="86957" x2="82500" y2="86957"/>
                        <a14:backgroundMark x1="86250" y1="89130" x2="86250" y2="89130"/>
                        <a14:backgroundMark x1="85000" y1="90217" x2="85000" y2="90217"/>
                      </a14:backgroundRemoval>
                    </a14:imgEffect>
                  </a14:imgLayer>
                </a14:imgProps>
              </a:ext>
            </a:extLst>
          </a:blip>
          <a:stretch>
            <a:fillRect/>
          </a:stretch>
        </p:blipFill>
        <p:spPr>
          <a:xfrm>
            <a:off x="3407884" y="3509633"/>
            <a:ext cx="761908" cy="876194"/>
          </a:xfrm>
          <a:prstGeom prst="rect">
            <a:avLst/>
          </a:prstGeom>
          <a:effectLst>
            <a:outerShdw blurRad="50800" dist="38100" dir="2700000" algn="tl" rotWithShape="0">
              <a:prstClr val="black">
                <a:alpha val="40000"/>
              </a:prstClr>
            </a:outerShdw>
          </a:effectLst>
        </p:spPr>
      </p:pic>
      <p:cxnSp>
        <p:nvCxnSpPr>
          <p:cNvPr id="123" name="Straight Arrow Connector 122">
            <a:extLst>
              <a:ext uri="{FF2B5EF4-FFF2-40B4-BE49-F238E27FC236}">
                <a16:creationId xmlns:a16="http://schemas.microsoft.com/office/drawing/2014/main" id="{8D4A6498-B6FC-4178-97FB-13F38EC58E96}"/>
              </a:ext>
            </a:extLst>
          </p:cNvPr>
          <p:cNvCxnSpPr>
            <a:cxnSpLocks/>
          </p:cNvCxnSpPr>
          <p:nvPr/>
        </p:nvCxnSpPr>
        <p:spPr>
          <a:xfrm>
            <a:off x="1269575" y="3660615"/>
            <a:ext cx="435959" cy="0"/>
          </a:xfrm>
          <a:prstGeom prst="straightConnector1">
            <a:avLst/>
          </a:prstGeom>
          <a:noFill/>
          <a:ln w="38100" cap="flat" cmpd="sng" algn="ctr">
            <a:solidFill>
              <a:sysClr val="windowText" lastClr="000000"/>
            </a:solidFill>
            <a:prstDash val="solid"/>
            <a:miter lim="800000"/>
            <a:headEnd type="triangle"/>
            <a:tailEnd type="triangle"/>
          </a:ln>
          <a:effectLst/>
        </p:spPr>
      </p:cxnSp>
      <p:cxnSp>
        <p:nvCxnSpPr>
          <p:cNvPr id="125" name="Connector: Elbow 124">
            <a:extLst>
              <a:ext uri="{FF2B5EF4-FFF2-40B4-BE49-F238E27FC236}">
                <a16:creationId xmlns:a16="http://schemas.microsoft.com/office/drawing/2014/main" id="{9A5185E2-D175-4F13-BE9B-4EDEA95E01CF}"/>
              </a:ext>
            </a:extLst>
          </p:cNvPr>
          <p:cNvCxnSpPr>
            <a:cxnSpLocks/>
          </p:cNvCxnSpPr>
          <p:nvPr/>
        </p:nvCxnSpPr>
        <p:spPr>
          <a:xfrm rot="16200000" flipH="1">
            <a:off x="2878473" y="2797031"/>
            <a:ext cx="437283" cy="968902"/>
          </a:xfrm>
          <a:prstGeom prst="bentConnector3">
            <a:avLst>
              <a:gd name="adj1" fmla="val -33881"/>
            </a:avLst>
          </a:prstGeom>
          <a:noFill/>
          <a:ln w="38100" cap="flat" cmpd="sng" algn="ctr">
            <a:solidFill>
              <a:sysClr val="windowText" lastClr="000000"/>
            </a:solidFill>
            <a:prstDash val="solid"/>
            <a:miter lim="800000"/>
            <a:tailEnd type="triangle"/>
          </a:ln>
          <a:effectLst/>
        </p:spPr>
      </p:cxnSp>
      <p:pic>
        <p:nvPicPr>
          <p:cNvPr id="126" name="Picture 2" descr="Image for post">
            <a:extLst>
              <a:ext uri="{FF2B5EF4-FFF2-40B4-BE49-F238E27FC236}">
                <a16:creationId xmlns:a16="http://schemas.microsoft.com/office/drawing/2014/main" id="{43F63630-CEC6-435D-87E9-B069E4FA252E}"/>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4855415" y="3214915"/>
            <a:ext cx="652175" cy="6581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869D833A-2950-4173-87DC-F6C9D7F66BC3}"/>
              </a:ext>
            </a:extLst>
          </p:cNvPr>
          <p:cNvSpPr txBox="1"/>
          <p:nvPr/>
        </p:nvSpPr>
        <p:spPr>
          <a:xfrm>
            <a:off x="4602165" y="2964369"/>
            <a:ext cx="1181469"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HVAC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sp>
        <p:nvSpPr>
          <p:cNvPr id="129" name="TextBox 128">
            <a:extLst>
              <a:ext uri="{FF2B5EF4-FFF2-40B4-BE49-F238E27FC236}">
                <a16:creationId xmlns:a16="http://schemas.microsoft.com/office/drawing/2014/main" id="{49C4B70F-35B9-47FA-86EF-8A1DCB9EF2B9}"/>
              </a:ext>
            </a:extLst>
          </p:cNvPr>
          <p:cNvSpPr txBox="1"/>
          <p:nvPr/>
        </p:nvSpPr>
        <p:spPr>
          <a:xfrm>
            <a:off x="4614522" y="3986705"/>
            <a:ext cx="1169111"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Security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sp>
        <p:nvSpPr>
          <p:cNvPr id="131" name="TextBox 130">
            <a:extLst>
              <a:ext uri="{FF2B5EF4-FFF2-40B4-BE49-F238E27FC236}">
                <a16:creationId xmlns:a16="http://schemas.microsoft.com/office/drawing/2014/main" id="{0A12B378-19E1-405E-BE09-8F3B51624E03}"/>
              </a:ext>
            </a:extLst>
          </p:cNvPr>
          <p:cNvSpPr txBox="1"/>
          <p:nvPr/>
        </p:nvSpPr>
        <p:spPr>
          <a:xfrm>
            <a:off x="4614521" y="4721155"/>
            <a:ext cx="1161796"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Lighting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sp>
        <p:nvSpPr>
          <p:cNvPr id="150" name="TextBox 149">
            <a:extLst>
              <a:ext uri="{FF2B5EF4-FFF2-40B4-BE49-F238E27FC236}">
                <a16:creationId xmlns:a16="http://schemas.microsoft.com/office/drawing/2014/main" id="{2D59FA20-FA12-4A9D-B0B1-DCD333919D2E}"/>
              </a:ext>
            </a:extLst>
          </p:cNvPr>
          <p:cNvSpPr txBox="1"/>
          <p:nvPr/>
        </p:nvSpPr>
        <p:spPr>
          <a:xfrm>
            <a:off x="197983" y="2742173"/>
            <a:ext cx="952505" cy="276999"/>
          </a:xfrm>
          <a:prstGeom prst="rect">
            <a:avLst/>
          </a:prstGeom>
          <a:noFill/>
        </p:spPr>
        <p:txBody>
          <a:bodyPr wrap="non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IoT Devices</a:t>
            </a:r>
          </a:p>
        </p:txBody>
      </p:sp>
      <p:cxnSp>
        <p:nvCxnSpPr>
          <p:cNvPr id="159" name="Connector: Elbow 158">
            <a:extLst>
              <a:ext uri="{FF2B5EF4-FFF2-40B4-BE49-F238E27FC236}">
                <a16:creationId xmlns:a16="http://schemas.microsoft.com/office/drawing/2014/main" id="{B7176FC5-30EB-44C8-A71C-27E0BD701768}"/>
              </a:ext>
            </a:extLst>
          </p:cNvPr>
          <p:cNvCxnSpPr>
            <a:cxnSpLocks/>
            <a:stCxn id="110" idx="2"/>
          </p:cNvCxnSpPr>
          <p:nvPr/>
        </p:nvCxnSpPr>
        <p:spPr>
          <a:xfrm rot="5400000" flipH="1">
            <a:off x="6340791" y="625422"/>
            <a:ext cx="1593599" cy="9098473"/>
          </a:xfrm>
          <a:prstGeom prst="bentConnector4">
            <a:avLst>
              <a:gd name="adj1" fmla="val -11356"/>
              <a:gd name="adj2" fmla="val 99984"/>
            </a:avLst>
          </a:prstGeom>
          <a:noFill/>
          <a:ln w="38100" cap="flat" cmpd="sng" algn="ctr">
            <a:solidFill>
              <a:sysClr val="windowText" lastClr="000000"/>
            </a:solidFill>
            <a:prstDash val="solid"/>
            <a:miter lim="800000"/>
            <a:tailEnd type="triangle"/>
          </a:ln>
          <a:effectLst/>
        </p:spPr>
      </p:cxnSp>
      <p:cxnSp>
        <p:nvCxnSpPr>
          <p:cNvPr id="3" name="Straight Arrow Connector 2">
            <a:extLst>
              <a:ext uri="{FF2B5EF4-FFF2-40B4-BE49-F238E27FC236}">
                <a16:creationId xmlns:a16="http://schemas.microsoft.com/office/drawing/2014/main" id="{4B978CD8-85A5-4D37-B094-8A4BCC561E3A}"/>
              </a:ext>
            </a:extLst>
          </p:cNvPr>
          <p:cNvCxnSpPr>
            <a:cxnSpLocks/>
          </p:cNvCxnSpPr>
          <p:nvPr/>
        </p:nvCxnSpPr>
        <p:spPr>
          <a:xfrm>
            <a:off x="7599673" y="3691564"/>
            <a:ext cx="271947" cy="0"/>
          </a:xfrm>
          <a:prstGeom prst="straightConnector1">
            <a:avLst/>
          </a:prstGeom>
          <a:noFill/>
          <a:ln w="38100" cap="flat" cmpd="sng" algn="ctr">
            <a:solidFill>
              <a:sysClr val="windowText" lastClr="000000"/>
            </a:solidFill>
            <a:prstDash val="solid"/>
            <a:miter lim="800000"/>
            <a:tailEnd type="triangle"/>
          </a:ln>
          <a:effectLst/>
        </p:spPr>
      </p:cxnSp>
      <p:sp>
        <p:nvSpPr>
          <p:cNvPr id="6" name="TextBox 5">
            <a:extLst>
              <a:ext uri="{FF2B5EF4-FFF2-40B4-BE49-F238E27FC236}">
                <a16:creationId xmlns:a16="http://schemas.microsoft.com/office/drawing/2014/main" id="{2E9555B2-5BF0-424C-ADCE-34D52B7069E1}"/>
              </a:ext>
            </a:extLst>
          </p:cNvPr>
          <p:cNvSpPr txBox="1"/>
          <p:nvPr/>
        </p:nvSpPr>
        <p:spPr>
          <a:xfrm>
            <a:off x="3511620" y="4382079"/>
            <a:ext cx="633507" cy="461665"/>
          </a:xfrm>
          <a:prstGeom prst="rect">
            <a:avLst/>
          </a:prstGeom>
          <a:noFill/>
        </p:spPr>
        <p:txBody>
          <a:bodyPr wrap="non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Device</a:t>
            </a:r>
          </a:p>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twins</a:t>
            </a:r>
          </a:p>
        </p:txBody>
      </p:sp>
      <p:sp>
        <p:nvSpPr>
          <p:cNvPr id="7" name="Title 6">
            <a:extLst>
              <a:ext uri="{FF2B5EF4-FFF2-40B4-BE49-F238E27FC236}">
                <a16:creationId xmlns:a16="http://schemas.microsoft.com/office/drawing/2014/main" id="{B921ACCE-1FAD-4B9F-AE66-3DD5B4D35B82}"/>
              </a:ext>
            </a:extLst>
          </p:cNvPr>
          <p:cNvSpPr>
            <a:spLocks noGrp="1"/>
          </p:cNvSpPr>
          <p:nvPr>
            <p:ph type="title"/>
          </p:nvPr>
        </p:nvSpPr>
        <p:spPr>
          <a:xfrm>
            <a:off x="316516" y="509699"/>
            <a:ext cx="11020425" cy="492443"/>
          </a:xfrm>
        </p:spPr>
        <p:txBody>
          <a:bodyPr/>
          <a:lstStyle/>
          <a:p>
            <a:r>
              <a:rPr lang="en-AU" sz="3200" dirty="0">
                <a:solidFill>
                  <a:schemeClr val="accent1">
                    <a:lumMod val="50000"/>
                  </a:schemeClr>
                </a:solidFill>
              </a:rPr>
              <a:t>IoT Data: Azure IoT Smart Factory Architecture Scenario</a:t>
            </a:r>
          </a:p>
        </p:txBody>
      </p:sp>
      <p:pic>
        <p:nvPicPr>
          <p:cNvPr id="8" name="Picture 2" descr="Image for post">
            <a:extLst>
              <a:ext uri="{FF2B5EF4-FFF2-40B4-BE49-F238E27FC236}">
                <a16:creationId xmlns:a16="http://schemas.microsoft.com/office/drawing/2014/main" id="{75003F62-5A7D-4C64-88E8-8136217A74FB}"/>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4865442" y="4249736"/>
            <a:ext cx="467156" cy="47141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 name="Picture 2" descr="Image for post">
            <a:extLst>
              <a:ext uri="{FF2B5EF4-FFF2-40B4-BE49-F238E27FC236}">
                <a16:creationId xmlns:a16="http://schemas.microsoft.com/office/drawing/2014/main" id="{5DCBFE37-E65C-474F-AF50-3117C2A62F22}"/>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4865442" y="4981026"/>
            <a:ext cx="467156" cy="47141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9" name="Picture 2" descr="Azure Content Spotlight – Azure Cosmos DB Tips &amp; Tricks ...">
            <a:extLst>
              <a:ext uri="{FF2B5EF4-FFF2-40B4-BE49-F238E27FC236}">
                <a16:creationId xmlns:a16="http://schemas.microsoft.com/office/drawing/2014/main" id="{90D6409F-BEE5-4B9F-B5A6-13048EE59F76}"/>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9522" t="-3018" r="20104" b="-3003"/>
          <a:stretch/>
        </p:blipFill>
        <p:spPr bwMode="auto">
          <a:xfrm>
            <a:off x="8673341" y="2899690"/>
            <a:ext cx="589272" cy="54325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60" name="Straight Connector 59">
            <a:extLst>
              <a:ext uri="{FF2B5EF4-FFF2-40B4-BE49-F238E27FC236}">
                <a16:creationId xmlns:a16="http://schemas.microsoft.com/office/drawing/2014/main" id="{C3120000-C512-4EDF-A5AE-E4E0EC62EAD5}"/>
              </a:ext>
            </a:extLst>
          </p:cNvPr>
          <p:cNvCxnSpPr>
            <a:cxnSpLocks/>
          </p:cNvCxnSpPr>
          <p:nvPr/>
        </p:nvCxnSpPr>
        <p:spPr>
          <a:xfrm>
            <a:off x="7891371" y="2133447"/>
            <a:ext cx="0" cy="3650307"/>
          </a:xfrm>
          <a:prstGeom prst="line">
            <a:avLst/>
          </a:prstGeom>
          <a:noFill/>
          <a:ln w="38100" cap="flat" cmpd="sng" algn="ctr">
            <a:solidFill>
              <a:sysClr val="windowText" lastClr="000000"/>
            </a:solidFill>
            <a:prstDash val="solid"/>
            <a:miter lim="800000"/>
          </a:ln>
          <a:effectLst/>
        </p:spPr>
      </p:cxnSp>
      <p:cxnSp>
        <p:nvCxnSpPr>
          <p:cNvPr id="61" name="Straight Arrow Connector 60">
            <a:extLst>
              <a:ext uri="{FF2B5EF4-FFF2-40B4-BE49-F238E27FC236}">
                <a16:creationId xmlns:a16="http://schemas.microsoft.com/office/drawing/2014/main" id="{13ACC30C-D716-430D-8ED2-35C7E1D0F4E9}"/>
              </a:ext>
            </a:extLst>
          </p:cNvPr>
          <p:cNvCxnSpPr>
            <a:cxnSpLocks/>
          </p:cNvCxnSpPr>
          <p:nvPr/>
        </p:nvCxnSpPr>
        <p:spPr>
          <a:xfrm>
            <a:off x="7891365" y="5764847"/>
            <a:ext cx="722623" cy="0"/>
          </a:xfrm>
          <a:prstGeom prst="straightConnector1">
            <a:avLst/>
          </a:prstGeom>
          <a:noFill/>
          <a:ln w="38100" cap="flat" cmpd="sng" algn="ctr">
            <a:solidFill>
              <a:sysClr val="windowText" lastClr="000000"/>
            </a:solidFill>
            <a:prstDash val="solid"/>
            <a:miter lim="800000"/>
            <a:tailEnd type="triangle"/>
          </a:ln>
          <a:effectLst/>
        </p:spPr>
      </p:cxnSp>
      <p:pic>
        <p:nvPicPr>
          <p:cNvPr id="62" name="Picture 61">
            <a:extLst>
              <a:ext uri="{FF2B5EF4-FFF2-40B4-BE49-F238E27FC236}">
                <a16:creationId xmlns:a16="http://schemas.microsoft.com/office/drawing/2014/main" id="{D949BF1E-E595-445D-9124-081F6C7F44B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12397" y="1850999"/>
            <a:ext cx="589273" cy="589273"/>
          </a:xfrm>
          <a:prstGeom prst="rect">
            <a:avLst/>
          </a:prstGeom>
          <a:effectLst>
            <a:outerShdw blurRad="50800" dist="38100" dir="2700000" algn="tl" rotWithShape="0">
              <a:prstClr val="black">
                <a:alpha val="40000"/>
              </a:prstClr>
            </a:outerShdw>
          </a:effectLst>
        </p:spPr>
      </p:pic>
      <p:cxnSp>
        <p:nvCxnSpPr>
          <p:cNvPr id="63" name="Straight Arrow Connector 62">
            <a:extLst>
              <a:ext uri="{FF2B5EF4-FFF2-40B4-BE49-F238E27FC236}">
                <a16:creationId xmlns:a16="http://schemas.microsoft.com/office/drawing/2014/main" id="{F0BC7580-5E53-4F2A-A166-4C439CD9C153}"/>
              </a:ext>
            </a:extLst>
          </p:cNvPr>
          <p:cNvCxnSpPr>
            <a:cxnSpLocks/>
          </p:cNvCxnSpPr>
          <p:nvPr/>
        </p:nvCxnSpPr>
        <p:spPr>
          <a:xfrm>
            <a:off x="7891365" y="2153389"/>
            <a:ext cx="660471" cy="0"/>
          </a:xfrm>
          <a:prstGeom prst="straightConnector1">
            <a:avLst/>
          </a:prstGeom>
          <a:noFill/>
          <a:ln w="38100" cap="flat" cmpd="sng" algn="ctr">
            <a:solidFill>
              <a:sysClr val="windowText" lastClr="000000"/>
            </a:solidFill>
            <a:prstDash val="solid"/>
            <a:miter lim="800000"/>
            <a:tailEnd type="triangle"/>
          </a:ln>
          <a:effectLst/>
        </p:spPr>
      </p:cxnSp>
      <p:sp>
        <p:nvSpPr>
          <p:cNvPr id="64" name="TextBox 63">
            <a:extLst>
              <a:ext uri="{FF2B5EF4-FFF2-40B4-BE49-F238E27FC236}">
                <a16:creationId xmlns:a16="http://schemas.microsoft.com/office/drawing/2014/main" id="{1BC489FE-1794-4DBE-8E7D-4751AF14AD9D}"/>
              </a:ext>
            </a:extLst>
          </p:cNvPr>
          <p:cNvSpPr txBox="1"/>
          <p:nvPr/>
        </p:nvSpPr>
        <p:spPr>
          <a:xfrm>
            <a:off x="8521614" y="5182371"/>
            <a:ext cx="948401" cy="276999"/>
          </a:xfrm>
          <a:prstGeom prst="rect">
            <a:avLst/>
          </a:prstGeom>
          <a:noFill/>
        </p:spPr>
        <p:txBody>
          <a:bodyPr wrap="none" rtlCol="0">
            <a:spAutoFit/>
          </a:bodyPr>
          <a:lstStyle/>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Event Hubs</a:t>
            </a:r>
          </a:p>
        </p:txBody>
      </p:sp>
      <p:pic>
        <p:nvPicPr>
          <p:cNvPr id="65" name="Picture 2" descr="Azure Logic Apps (@logicappsio) | Twitter">
            <a:extLst>
              <a:ext uri="{FF2B5EF4-FFF2-40B4-BE49-F238E27FC236}">
                <a16:creationId xmlns:a16="http://schemas.microsoft.com/office/drawing/2014/main" id="{74FA02C2-080A-4F5F-9167-AAD3C5479DCE}"/>
              </a:ext>
            </a:extLst>
          </p:cNvPr>
          <p:cNvPicPr>
            <a:picLocks noChangeAspect="1" noChangeArrowheads="1"/>
          </p:cNvPicPr>
          <p:nvPr/>
        </p:nvPicPr>
        <p:blipFill>
          <a:blip r:embed="rId12" cstate="print">
            <a:extLst>
              <a:ext uri="{BEBA8EAE-BF5A-486C-A8C5-ECC9F3942E4B}">
                <a14:imgProps xmlns:a14="http://schemas.microsoft.com/office/drawing/2010/main">
                  <a14:imgLayer r:embed="rId13">
                    <a14:imgEffect>
                      <a14:backgroundRemoval t="9896" b="89063" l="4688" r="95313">
                        <a14:foregroundMark x1="6250" y1="27083" x2="6250" y2="27083"/>
                        <a14:foregroundMark x1="54167" y1="30208" x2="54167" y2="30208"/>
                        <a14:foregroundMark x1="56771" y1="27083" x2="56771" y2="27083"/>
                        <a14:foregroundMark x1="54167" y1="21354" x2="54167" y2="21354"/>
                        <a14:foregroundMark x1="46354" y1="18750" x2="50000" y2="18750"/>
                        <a14:foregroundMark x1="57292" y1="25000" x2="55208" y2="21354"/>
                        <a14:foregroundMark x1="5729" y1="55208" x2="5729" y2="55208"/>
                        <a14:foregroundMark x1="92188" y1="35417" x2="92188" y2="35417"/>
                        <a14:foregroundMark x1="92188" y1="35417" x2="94271" y2="42188"/>
                        <a14:foregroundMark x1="94792" y1="54688" x2="95313" y2="53125"/>
                      </a14:backgroundRemoval>
                    </a14:imgEffect>
                  </a14:imgLayer>
                </a14:imgProps>
              </a:ext>
              <a:ext uri="{28A0092B-C50C-407E-A947-70E740481C1C}">
                <a14:useLocalDpi xmlns:a14="http://schemas.microsoft.com/office/drawing/2010/main" val="0"/>
              </a:ext>
            </a:extLst>
          </a:blip>
          <a:srcRect/>
          <a:stretch>
            <a:fillRect/>
          </a:stretch>
        </p:blipFill>
        <p:spPr bwMode="auto">
          <a:xfrm>
            <a:off x="10225349" y="5451892"/>
            <a:ext cx="584273" cy="58427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90A5B13C-B039-4C39-9E81-4471C8B44BEC}"/>
              </a:ext>
            </a:extLst>
          </p:cNvPr>
          <p:cNvSpPr txBox="1"/>
          <p:nvPr/>
        </p:nvSpPr>
        <p:spPr>
          <a:xfrm>
            <a:off x="10151142" y="5152126"/>
            <a:ext cx="1099660" cy="2749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825500">
              <a:defRPr sz="2400" spc="-224">
                <a:solidFill>
                  <a:srgbClr val="006DD6"/>
                </a:solidFill>
                <a:latin typeface="Segoe UI" panose="020B0502040204020203" pitchFamily="34" charset="0"/>
                <a:cs typeface="Segoe UI" panose="020B0502040204020203" pitchFamily="34" charset="0"/>
              </a:defRPr>
            </a:lvl1pPr>
          </a:lstStyle>
          <a:p>
            <a:pPr hangingPunct="0">
              <a:lnSpc>
                <a:spcPct val="70000"/>
              </a:lnSpc>
            </a:pPr>
            <a:r>
              <a:rPr lang="en-AU" sz="1600" kern="0" spc="0">
                <a:sym typeface="Segoe UI Semibold"/>
              </a:rPr>
              <a:t>Logic Apps</a:t>
            </a:r>
          </a:p>
        </p:txBody>
      </p:sp>
      <p:sp>
        <p:nvSpPr>
          <p:cNvPr id="67" name="TextBox 66">
            <a:extLst>
              <a:ext uri="{FF2B5EF4-FFF2-40B4-BE49-F238E27FC236}">
                <a16:creationId xmlns:a16="http://schemas.microsoft.com/office/drawing/2014/main" id="{75AF3660-7254-421C-9E28-FCE292330EAC}"/>
              </a:ext>
            </a:extLst>
          </p:cNvPr>
          <p:cNvSpPr txBox="1"/>
          <p:nvPr/>
        </p:nvSpPr>
        <p:spPr>
          <a:xfrm>
            <a:off x="8460341" y="1469074"/>
            <a:ext cx="937628" cy="461665"/>
          </a:xfrm>
          <a:prstGeom prst="rect">
            <a:avLst/>
          </a:prstGeom>
          <a:noFill/>
        </p:spPr>
        <p:txBody>
          <a:bodyPr wrap="none" rtlCol="0">
            <a:spAutoFit/>
          </a:bodyPr>
          <a:lstStyle/>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Storage</a:t>
            </a:r>
          </a:p>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Cold path)</a:t>
            </a:r>
          </a:p>
        </p:txBody>
      </p:sp>
      <p:sp>
        <p:nvSpPr>
          <p:cNvPr id="96" name="TextBox 95">
            <a:extLst>
              <a:ext uri="{FF2B5EF4-FFF2-40B4-BE49-F238E27FC236}">
                <a16:creationId xmlns:a16="http://schemas.microsoft.com/office/drawing/2014/main" id="{89BA2074-1E66-47F2-9D5C-BA4CAF748056}"/>
              </a:ext>
            </a:extLst>
          </p:cNvPr>
          <p:cNvSpPr txBox="1"/>
          <p:nvPr/>
        </p:nvSpPr>
        <p:spPr>
          <a:xfrm>
            <a:off x="8461758" y="2480451"/>
            <a:ext cx="1027781" cy="461665"/>
          </a:xfrm>
          <a:prstGeom prst="rect">
            <a:avLst/>
          </a:prstGeom>
          <a:noFill/>
        </p:spPr>
        <p:txBody>
          <a:bodyPr wrap="none" rtlCol="0">
            <a:spAutoFit/>
          </a:bodyPr>
          <a:lstStyle/>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Cosmos DB </a:t>
            </a:r>
          </a:p>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Warm path)</a:t>
            </a:r>
          </a:p>
        </p:txBody>
      </p:sp>
      <p:pic>
        <p:nvPicPr>
          <p:cNvPr id="97" name="Picture 96">
            <a:extLst>
              <a:ext uri="{FF2B5EF4-FFF2-40B4-BE49-F238E27FC236}">
                <a16:creationId xmlns:a16="http://schemas.microsoft.com/office/drawing/2014/main" id="{6561A7E7-E3AF-4AEB-BDF9-BF27EC6BBC8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205184" y="2863025"/>
            <a:ext cx="584273" cy="584273"/>
          </a:xfrm>
          <a:prstGeom prst="rect">
            <a:avLst/>
          </a:prstGeom>
          <a:effectLst>
            <a:outerShdw blurRad="50800" dist="38100" dir="2700000" algn="tl" rotWithShape="0">
              <a:prstClr val="black">
                <a:alpha val="40000"/>
              </a:prstClr>
            </a:outerShdw>
          </a:effectLst>
        </p:spPr>
      </p:pic>
      <p:sp>
        <p:nvSpPr>
          <p:cNvPr id="98" name="TextBox 97">
            <a:extLst>
              <a:ext uri="{FF2B5EF4-FFF2-40B4-BE49-F238E27FC236}">
                <a16:creationId xmlns:a16="http://schemas.microsoft.com/office/drawing/2014/main" id="{1BDE5E09-FCC5-48B8-A527-277BCAEF5B9D}"/>
              </a:ext>
            </a:extLst>
          </p:cNvPr>
          <p:cNvSpPr txBox="1"/>
          <p:nvPr/>
        </p:nvSpPr>
        <p:spPr>
          <a:xfrm>
            <a:off x="10234274" y="2523875"/>
            <a:ext cx="950580" cy="2749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825500">
              <a:defRPr sz="2400" spc="-224">
                <a:solidFill>
                  <a:srgbClr val="006DD6"/>
                </a:solidFill>
                <a:latin typeface="Segoe UI" panose="020B0502040204020203" pitchFamily="34" charset="0"/>
                <a:cs typeface="Segoe UI" panose="020B0502040204020203" pitchFamily="34" charset="0"/>
              </a:defRPr>
            </a:lvl1pPr>
          </a:lstStyle>
          <a:p>
            <a:pPr algn="ctr" hangingPunct="0">
              <a:lnSpc>
                <a:spcPct val="70000"/>
              </a:lnSpc>
            </a:pPr>
            <a:r>
              <a:rPr lang="en-AU" sz="1600" kern="0" spc="0">
                <a:sym typeface="Segoe UI Semibold"/>
              </a:rPr>
              <a:t>Power BI </a:t>
            </a:r>
          </a:p>
        </p:txBody>
      </p:sp>
      <p:pic>
        <p:nvPicPr>
          <p:cNvPr id="99" name="Picture 2" descr="Native Integrations and Pre-built Connectors | StreamSets">
            <a:extLst>
              <a:ext uri="{FF2B5EF4-FFF2-40B4-BE49-F238E27FC236}">
                <a16:creationId xmlns:a16="http://schemas.microsoft.com/office/drawing/2014/main" id="{4AFCA83F-7C27-406B-8AD2-E850A0109DFC}"/>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10000" b="90000" l="9155" r="92254">
                        <a14:foregroundMark x1="73944" y1="78750" x2="73944" y2="78750"/>
                        <a14:foregroundMark x1="86620" y1="73750" x2="71127" y2="77500"/>
                        <a14:foregroundMark x1="90141" y1="58125" x2="88732" y2="35625"/>
                        <a14:foregroundMark x1="78873" y1="26875" x2="89437" y2="33125"/>
                        <a14:foregroundMark x1="92254" y1="33125" x2="90845" y2="71250"/>
                        <a14:foregroundMark x1="19929" y1="71494" x2="10563" y2="70000"/>
                        <a14:foregroundMark x1="30153" y1="73125" x2="28310" y2="72831"/>
                        <a14:foregroundMark x1="43133" y1="75196" x2="30153" y2="73125"/>
                        <a14:foregroundMark x1="69322" y1="79375" x2="66947" y2="78996"/>
                        <a14:foregroundMark x1="73239" y1="80000" x2="69322" y2="79375"/>
                        <a14:foregroundMark x1="31690" y1="74375" x2="31690" y2="74375"/>
                        <a14:foregroundMark x1="31690" y1="73750" x2="31690" y2="73750"/>
                        <a14:foregroundMark x1="79577" y1="28125" x2="88028" y2="30625"/>
                        <a14:backgroundMark x1="45775" y1="79375" x2="45775" y2="79375"/>
                        <a14:backgroundMark x1="49296" y1="76250" x2="49296" y2="76250"/>
                        <a14:backgroundMark x1="55634" y1="80625" x2="55634" y2="80625"/>
                        <a14:backgroundMark x1="60563" y1="79375" x2="60563" y2="79375"/>
                        <a14:backgroundMark x1="62676" y1="77500" x2="62676" y2="77500"/>
                        <a14:backgroundMark x1="59859" y1="76875" x2="52817" y2="78750"/>
                        <a14:backgroundMark x1="45775" y1="77500" x2="47887" y2="76875"/>
                        <a14:backgroundMark x1="47887" y1="76250" x2="45775" y2="77500"/>
                        <a14:backgroundMark x1="53521" y1="77500" x2="49296" y2="77500"/>
                        <a14:backgroundMark x1="64789" y1="76875" x2="59155" y2="79375"/>
                        <a14:backgroundMark x1="21127" y1="70000" x2="29577" y2="71250"/>
                        <a14:backgroundMark x1="29577" y1="72500" x2="29577" y2="72500"/>
                        <a14:backgroundMark x1="21127" y1="70000" x2="21127" y2="70000"/>
                        <a14:backgroundMark x1="27465" y1="73125" x2="27465" y2="73125"/>
                        <a14:backgroundMark x1="30282" y1="72500" x2="30282" y2="72500"/>
                      </a14:backgroundRemoval>
                    </a14:imgEffect>
                  </a14:imgLayer>
                </a14:imgProps>
              </a:ext>
              <a:ext uri="{28A0092B-C50C-407E-A947-70E740481C1C}">
                <a14:useLocalDpi xmlns:a14="http://schemas.microsoft.com/office/drawing/2010/main" val="0"/>
              </a:ext>
            </a:extLst>
          </a:blip>
          <a:srcRect/>
          <a:stretch>
            <a:fillRect/>
          </a:stretch>
        </p:blipFill>
        <p:spPr bwMode="auto">
          <a:xfrm>
            <a:off x="8673341" y="3719095"/>
            <a:ext cx="589273" cy="66587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0" name="TextBox 99">
            <a:extLst>
              <a:ext uri="{FF2B5EF4-FFF2-40B4-BE49-F238E27FC236}">
                <a16:creationId xmlns:a16="http://schemas.microsoft.com/office/drawing/2014/main" id="{B215B34C-5EE3-4999-894B-7F060AEEABD6}"/>
              </a:ext>
            </a:extLst>
          </p:cNvPr>
          <p:cNvSpPr txBox="1"/>
          <p:nvPr/>
        </p:nvSpPr>
        <p:spPr>
          <a:xfrm>
            <a:off x="8395273" y="3457915"/>
            <a:ext cx="1160750" cy="276999"/>
          </a:xfrm>
          <a:prstGeom prst="rect">
            <a:avLst/>
          </a:prstGeom>
          <a:noFill/>
        </p:spPr>
        <p:txBody>
          <a:bodyPr wrap="square" rtlCol="0">
            <a:spAutoFit/>
          </a:bodyPr>
          <a:lstStyle/>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Azure Synapse</a:t>
            </a:r>
          </a:p>
        </p:txBody>
      </p:sp>
      <p:cxnSp>
        <p:nvCxnSpPr>
          <p:cNvPr id="101" name="Straight Arrow Connector 100">
            <a:extLst>
              <a:ext uri="{FF2B5EF4-FFF2-40B4-BE49-F238E27FC236}">
                <a16:creationId xmlns:a16="http://schemas.microsoft.com/office/drawing/2014/main" id="{984BE72E-B5A1-4952-985A-4F623ACE1FC9}"/>
              </a:ext>
            </a:extLst>
          </p:cNvPr>
          <p:cNvCxnSpPr>
            <a:cxnSpLocks/>
          </p:cNvCxnSpPr>
          <p:nvPr/>
        </p:nvCxnSpPr>
        <p:spPr>
          <a:xfrm>
            <a:off x="7891365" y="4071646"/>
            <a:ext cx="722623" cy="0"/>
          </a:xfrm>
          <a:prstGeom prst="straightConnector1">
            <a:avLst/>
          </a:prstGeom>
          <a:noFill/>
          <a:ln w="38100" cap="flat" cmpd="sng" algn="ctr">
            <a:solidFill>
              <a:sysClr val="windowText" lastClr="000000"/>
            </a:solidFill>
            <a:prstDash val="solid"/>
            <a:miter lim="800000"/>
            <a:tailEnd type="triangle"/>
          </a:ln>
          <a:effectLst/>
        </p:spPr>
      </p:cxnSp>
      <p:cxnSp>
        <p:nvCxnSpPr>
          <p:cNvPr id="102" name="Straight Arrow Connector 101">
            <a:extLst>
              <a:ext uri="{FF2B5EF4-FFF2-40B4-BE49-F238E27FC236}">
                <a16:creationId xmlns:a16="http://schemas.microsoft.com/office/drawing/2014/main" id="{68652BCE-B9C4-42E1-B19F-17EFA726322B}"/>
              </a:ext>
            </a:extLst>
          </p:cNvPr>
          <p:cNvCxnSpPr>
            <a:cxnSpLocks/>
          </p:cNvCxnSpPr>
          <p:nvPr/>
        </p:nvCxnSpPr>
        <p:spPr>
          <a:xfrm>
            <a:off x="7891365" y="3143616"/>
            <a:ext cx="722623" cy="0"/>
          </a:xfrm>
          <a:prstGeom prst="straightConnector1">
            <a:avLst/>
          </a:prstGeom>
          <a:noFill/>
          <a:ln w="38100" cap="flat" cmpd="sng" algn="ctr">
            <a:solidFill>
              <a:sysClr val="windowText" lastClr="000000"/>
            </a:solidFill>
            <a:prstDash val="solid"/>
            <a:miter lim="800000"/>
            <a:tailEnd type="triangle"/>
          </a:ln>
          <a:effectLst/>
        </p:spPr>
      </p:cxnSp>
      <p:pic>
        <p:nvPicPr>
          <p:cNvPr id="105" name="Picture 2" descr="Azure Databricks — Taygan">
            <a:extLst>
              <a:ext uri="{FF2B5EF4-FFF2-40B4-BE49-F238E27FC236}">
                <a16:creationId xmlns:a16="http://schemas.microsoft.com/office/drawing/2014/main" id="{E44E16F8-D21F-4A40-BB59-40ACB9FD74F8}"/>
              </a:ext>
            </a:extLst>
          </p:cNvPr>
          <p:cNvPicPr>
            <a:picLocks noChangeAspect="1" noChangeArrowheads="1"/>
          </p:cNvPicPr>
          <p:nvPr/>
        </p:nvPicPr>
        <p:blipFill rotWithShape="1">
          <a:blip r:embed="rId17" cstate="print">
            <a:extLst>
              <a:ext uri="{BEBA8EAE-BF5A-486C-A8C5-ECC9F3942E4B}">
                <a14:imgProps xmlns:a14="http://schemas.microsoft.com/office/drawing/2010/main">
                  <a14:imgLayer r:embed="rId18">
                    <a14:imgEffect>
                      <a14:backgroundRemoval t="18000" b="81667" l="18333" r="81000">
                        <a14:foregroundMark x1="21333" y1="39000" x2="76333" y2="38000"/>
                        <a14:foregroundMark x1="76333" y1="38000" x2="21667" y2="36333"/>
                        <a14:foregroundMark x1="18667" y1="35333" x2="19667" y2="41333"/>
                        <a14:foregroundMark x1="79667" y1="35000" x2="79667" y2="42333"/>
                        <a14:foregroundMark x1="49333" y1="21000" x2="50667" y2="20667"/>
                        <a14:foregroundMark x1="49667" y1="18333" x2="49667" y2="18333"/>
                        <a14:foregroundMark x1="81000" y1="62000" x2="81000" y2="62000"/>
                        <a14:foregroundMark x1="81333" y1="37667" x2="81333" y2="37667"/>
                        <a14:foregroundMark x1="51667" y1="79000" x2="51667" y2="79000"/>
                        <a14:foregroundMark x1="50000" y1="82000" x2="50000" y2="82000"/>
                        <a14:foregroundMark x1="18333" y1="58333" x2="18333" y2="58333"/>
                      </a14:backgroundRemoval>
                    </a14:imgEffect>
                  </a14:imgLayer>
                </a14:imgProps>
              </a:ext>
              <a:ext uri="{28A0092B-C50C-407E-A947-70E740481C1C}">
                <a14:useLocalDpi xmlns:a14="http://schemas.microsoft.com/office/drawing/2010/main" val="0"/>
              </a:ext>
            </a:extLst>
          </a:blip>
          <a:srcRect l="16704" t="16421" r="16157" b="15904"/>
          <a:stretch/>
        </p:blipFill>
        <p:spPr bwMode="auto">
          <a:xfrm>
            <a:off x="8673341" y="4549845"/>
            <a:ext cx="589273" cy="59397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7" name="Picture 2" descr="Image for post">
            <a:extLst>
              <a:ext uri="{FF2B5EF4-FFF2-40B4-BE49-F238E27FC236}">
                <a16:creationId xmlns:a16="http://schemas.microsoft.com/office/drawing/2014/main" id="{2550D226-D1D5-4EFF-8B70-A88A2644CE1C}"/>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8713849" y="5472965"/>
            <a:ext cx="549408" cy="55442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08" name="Straight Arrow Connector 107">
            <a:extLst>
              <a:ext uri="{FF2B5EF4-FFF2-40B4-BE49-F238E27FC236}">
                <a16:creationId xmlns:a16="http://schemas.microsoft.com/office/drawing/2014/main" id="{94BDDDA5-796A-4233-A8E5-3499DDAE0B37}"/>
              </a:ext>
            </a:extLst>
          </p:cNvPr>
          <p:cNvCxnSpPr>
            <a:cxnSpLocks/>
          </p:cNvCxnSpPr>
          <p:nvPr/>
        </p:nvCxnSpPr>
        <p:spPr>
          <a:xfrm>
            <a:off x="9631043" y="3128350"/>
            <a:ext cx="457523" cy="0"/>
          </a:xfrm>
          <a:prstGeom prst="straightConnector1">
            <a:avLst/>
          </a:prstGeom>
          <a:noFill/>
          <a:ln w="38100" cap="flat" cmpd="sng" algn="ctr">
            <a:solidFill>
              <a:sysClr val="windowText" lastClr="000000"/>
            </a:solidFill>
            <a:prstDash val="solid"/>
            <a:miter lim="800000"/>
            <a:tailEnd type="triangle"/>
          </a:ln>
          <a:effectLst/>
        </p:spPr>
      </p:cxnSp>
      <p:pic>
        <p:nvPicPr>
          <p:cNvPr id="109" name="Picture 108">
            <a:extLst>
              <a:ext uri="{FF2B5EF4-FFF2-40B4-BE49-F238E27FC236}">
                <a16:creationId xmlns:a16="http://schemas.microsoft.com/office/drawing/2014/main" id="{99843535-1F6C-4494-8D1D-360F506EAF5F}"/>
              </a:ext>
            </a:extLst>
          </p:cNvPr>
          <p:cNvPicPr>
            <a:picLocks noChangeAspect="1"/>
          </p:cNvPicPr>
          <p:nvPr/>
        </p:nvPicPr>
        <p:blipFill rotWithShape="1">
          <a:blip r:embed="rId19"/>
          <a:srcRect r="11440" b="16190"/>
          <a:stretch/>
        </p:blipFill>
        <p:spPr>
          <a:xfrm>
            <a:off x="10863838" y="2818518"/>
            <a:ext cx="1097458" cy="697244"/>
          </a:xfrm>
          <a:prstGeom prst="rect">
            <a:avLst/>
          </a:prstGeom>
          <a:effectLst>
            <a:outerShdw blurRad="50800" dist="38100" dir="2700000" algn="tl" rotWithShape="0">
              <a:prstClr val="black">
                <a:alpha val="40000"/>
              </a:prstClr>
            </a:outerShdw>
          </a:effectLst>
        </p:spPr>
      </p:pic>
      <p:pic>
        <p:nvPicPr>
          <p:cNvPr id="110" name="Picture 109">
            <a:extLst>
              <a:ext uri="{FF2B5EF4-FFF2-40B4-BE49-F238E27FC236}">
                <a16:creationId xmlns:a16="http://schemas.microsoft.com/office/drawing/2014/main" id="{072C7DE0-5DDC-41F0-A77F-8116F22E56E7}"/>
              </a:ext>
            </a:extLst>
          </p:cNvPr>
          <p:cNvPicPr>
            <a:picLocks noChangeAspect="1"/>
          </p:cNvPicPr>
          <p:nvPr/>
        </p:nvPicPr>
        <p:blipFill>
          <a:blip r:embed="rId20"/>
          <a:stretch>
            <a:fillRect/>
          </a:stretch>
        </p:blipFill>
        <p:spPr>
          <a:xfrm>
            <a:off x="11392191" y="5500040"/>
            <a:ext cx="589271" cy="471416"/>
          </a:xfrm>
          <a:prstGeom prst="rect">
            <a:avLst/>
          </a:prstGeom>
          <a:effectLst>
            <a:outerShdw blurRad="50800" dist="38100" dir="2700000" algn="tl" rotWithShape="0">
              <a:prstClr val="black">
                <a:alpha val="40000"/>
              </a:prstClr>
            </a:outerShdw>
          </a:effectLst>
        </p:spPr>
      </p:pic>
      <p:cxnSp>
        <p:nvCxnSpPr>
          <p:cNvPr id="115" name="Straight Arrow Connector 114">
            <a:extLst>
              <a:ext uri="{FF2B5EF4-FFF2-40B4-BE49-F238E27FC236}">
                <a16:creationId xmlns:a16="http://schemas.microsoft.com/office/drawing/2014/main" id="{C3A1C944-1C3F-4BC0-9BBC-C59992907496}"/>
              </a:ext>
            </a:extLst>
          </p:cNvPr>
          <p:cNvCxnSpPr>
            <a:cxnSpLocks/>
          </p:cNvCxnSpPr>
          <p:nvPr/>
        </p:nvCxnSpPr>
        <p:spPr>
          <a:xfrm>
            <a:off x="10957663" y="5703105"/>
            <a:ext cx="379278" cy="0"/>
          </a:xfrm>
          <a:prstGeom prst="straightConnector1">
            <a:avLst/>
          </a:prstGeom>
          <a:noFill/>
          <a:ln w="38100" cap="flat" cmpd="sng" algn="ctr">
            <a:solidFill>
              <a:sysClr val="windowText" lastClr="000000"/>
            </a:solidFill>
            <a:prstDash val="solid"/>
            <a:miter lim="800000"/>
            <a:tailEnd type="triangle"/>
          </a:ln>
          <a:effectLst/>
        </p:spPr>
      </p:cxnSp>
      <p:sp>
        <p:nvSpPr>
          <p:cNvPr id="19" name="TextBox 18">
            <a:extLst>
              <a:ext uri="{FF2B5EF4-FFF2-40B4-BE49-F238E27FC236}">
                <a16:creationId xmlns:a16="http://schemas.microsoft.com/office/drawing/2014/main" id="{E569FA18-51C1-468D-A87C-F085A084832E}"/>
              </a:ext>
            </a:extLst>
          </p:cNvPr>
          <p:cNvSpPr txBox="1"/>
          <p:nvPr/>
        </p:nvSpPr>
        <p:spPr>
          <a:xfrm>
            <a:off x="8395273" y="4314133"/>
            <a:ext cx="1160750" cy="276999"/>
          </a:xfrm>
          <a:prstGeom prst="rect">
            <a:avLst/>
          </a:prstGeom>
          <a:noFill/>
        </p:spPr>
        <p:txBody>
          <a:bodyPr wrap="square" rtlCol="0">
            <a:spAutoFit/>
          </a:bodyPr>
          <a:lstStyle/>
          <a:p>
            <a:pPr algn="ctr" defTabSz="914126"/>
            <a:r>
              <a:rPr lang="en-AU" sz="1200">
                <a:solidFill>
                  <a:srgbClr val="006DD6"/>
                </a:solidFill>
                <a:latin typeface="Segoe UI" panose="020B0502040204020203" pitchFamily="34" charset="0"/>
                <a:cs typeface="Segoe UI" panose="020B0502040204020203" pitchFamily="34" charset="0"/>
                <a:sym typeface="Segoe UI Semibold"/>
              </a:rPr>
              <a:t>Databricks</a:t>
            </a:r>
          </a:p>
        </p:txBody>
      </p:sp>
      <p:sp>
        <p:nvSpPr>
          <p:cNvPr id="20" name="TextBox 19">
            <a:extLst>
              <a:ext uri="{FF2B5EF4-FFF2-40B4-BE49-F238E27FC236}">
                <a16:creationId xmlns:a16="http://schemas.microsoft.com/office/drawing/2014/main" id="{EA3060A7-F977-45CE-A8AE-4351F879A140}"/>
              </a:ext>
            </a:extLst>
          </p:cNvPr>
          <p:cNvSpPr txBox="1"/>
          <p:nvPr/>
        </p:nvSpPr>
        <p:spPr>
          <a:xfrm>
            <a:off x="1816307" y="2546980"/>
            <a:ext cx="102657" cy="2964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defTabSz="825500" hangingPunct="0">
              <a:lnSpc>
                <a:spcPct val="70000"/>
              </a:lnSpc>
            </a:pPr>
            <a:endParaRPr lang="en-AU" kern="0">
              <a:solidFill>
                <a:srgbClr val="006DD6"/>
              </a:solidFill>
              <a:latin typeface="Segoe UI" panose="020B0502040204020203" pitchFamily="34" charset="0"/>
              <a:cs typeface="Segoe UI" panose="020B0502040204020203" pitchFamily="34" charset="0"/>
              <a:sym typeface="Segoe UI Semibold"/>
            </a:endParaRPr>
          </a:p>
        </p:txBody>
      </p:sp>
      <p:cxnSp>
        <p:nvCxnSpPr>
          <p:cNvPr id="137" name="Straight Arrow Connector 136">
            <a:extLst>
              <a:ext uri="{FF2B5EF4-FFF2-40B4-BE49-F238E27FC236}">
                <a16:creationId xmlns:a16="http://schemas.microsoft.com/office/drawing/2014/main" id="{DF5AB870-1429-4E17-965C-08F869A07243}"/>
              </a:ext>
            </a:extLst>
          </p:cNvPr>
          <p:cNvCxnSpPr>
            <a:cxnSpLocks/>
          </p:cNvCxnSpPr>
          <p:nvPr/>
        </p:nvCxnSpPr>
        <p:spPr>
          <a:xfrm>
            <a:off x="7891365" y="4824834"/>
            <a:ext cx="722623" cy="0"/>
          </a:xfrm>
          <a:prstGeom prst="straightConnector1">
            <a:avLst/>
          </a:prstGeom>
          <a:noFill/>
          <a:ln w="38100" cap="flat" cmpd="sng" algn="ctr">
            <a:solidFill>
              <a:sysClr val="windowText" lastClr="000000"/>
            </a:solidFill>
            <a:prstDash val="solid"/>
            <a:miter lim="800000"/>
            <a:tailEnd type="triangle"/>
          </a:ln>
          <a:effectLst/>
        </p:spPr>
      </p:cxnSp>
      <p:cxnSp>
        <p:nvCxnSpPr>
          <p:cNvPr id="138" name="Straight Arrow Connector 137">
            <a:extLst>
              <a:ext uri="{FF2B5EF4-FFF2-40B4-BE49-F238E27FC236}">
                <a16:creationId xmlns:a16="http://schemas.microsoft.com/office/drawing/2014/main" id="{F7C48EC3-05C0-4A3B-A580-35C0D0B5C3A8}"/>
              </a:ext>
            </a:extLst>
          </p:cNvPr>
          <p:cNvCxnSpPr>
            <a:cxnSpLocks/>
          </p:cNvCxnSpPr>
          <p:nvPr/>
        </p:nvCxnSpPr>
        <p:spPr>
          <a:xfrm>
            <a:off x="9631043" y="5722155"/>
            <a:ext cx="457523" cy="0"/>
          </a:xfrm>
          <a:prstGeom prst="straightConnector1">
            <a:avLst/>
          </a:prstGeom>
          <a:noFill/>
          <a:ln w="38100" cap="flat" cmpd="sng" algn="ctr">
            <a:solidFill>
              <a:sysClr val="windowText" lastClr="000000"/>
            </a:solidFill>
            <a:prstDash val="solid"/>
            <a:miter lim="800000"/>
            <a:tailEnd type="triangle"/>
          </a:ln>
          <a:effectLst/>
        </p:spPr>
      </p:cxnSp>
      <p:sp>
        <p:nvSpPr>
          <p:cNvPr id="24" name="Rectangle 23">
            <a:extLst>
              <a:ext uri="{FF2B5EF4-FFF2-40B4-BE49-F238E27FC236}">
                <a16:creationId xmlns:a16="http://schemas.microsoft.com/office/drawing/2014/main" id="{FBD26EEC-FA30-4920-9DEA-18CEDD110D4C}"/>
              </a:ext>
            </a:extLst>
          </p:cNvPr>
          <p:cNvSpPr/>
          <p:nvPr/>
        </p:nvSpPr>
        <p:spPr>
          <a:xfrm>
            <a:off x="1816307" y="1933473"/>
            <a:ext cx="1996749"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914126">
              <a:defRPr/>
            </a:pPr>
            <a:r>
              <a:rPr lang="en-AU" kern="0">
                <a:solidFill>
                  <a:srgbClr val="243A5E">
                    <a:lumMod val="50000"/>
                  </a:srgbClr>
                </a:solidFill>
                <a:latin typeface="Segoe UI" panose="020B0502040204020203" pitchFamily="34" charset="0"/>
                <a:cs typeface="Segoe UI" panose="020B0502040204020203" pitchFamily="34" charset="0"/>
                <a:sym typeface="Segoe UI Semibold"/>
              </a:rPr>
              <a:t>Cloud gateway</a:t>
            </a:r>
          </a:p>
        </p:txBody>
      </p:sp>
      <p:grpSp>
        <p:nvGrpSpPr>
          <p:cNvPr id="30" name="Group 29">
            <a:extLst>
              <a:ext uri="{FF2B5EF4-FFF2-40B4-BE49-F238E27FC236}">
                <a16:creationId xmlns:a16="http://schemas.microsoft.com/office/drawing/2014/main" id="{39BD896F-28ED-4A3E-94AD-1467E18DC163}"/>
              </a:ext>
            </a:extLst>
          </p:cNvPr>
          <p:cNvGrpSpPr/>
          <p:nvPr/>
        </p:nvGrpSpPr>
        <p:grpSpPr>
          <a:xfrm>
            <a:off x="5955885" y="1720081"/>
            <a:ext cx="1629499" cy="3920629"/>
            <a:chOff x="5954296" y="1720080"/>
            <a:chExt cx="1629499" cy="3920629"/>
          </a:xfrm>
        </p:grpSpPr>
        <p:cxnSp>
          <p:nvCxnSpPr>
            <p:cNvPr id="124" name="Straight Arrow Connector 123">
              <a:extLst>
                <a:ext uri="{FF2B5EF4-FFF2-40B4-BE49-F238E27FC236}">
                  <a16:creationId xmlns:a16="http://schemas.microsoft.com/office/drawing/2014/main" id="{F5FF9946-EF73-4EE5-9255-26BA438D32FF}"/>
                </a:ext>
              </a:extLst>
            </p:cNvPr>
            <p:cNvCxnSpPr>
              <a:cxnSpLocks/>
            </p:cNvCxnSpPr>
            <p:nvPr/>
          </p:nvCxnSpPr>
          <p:spPr>
            <a:xfrm>
              <a:off x="5954296" y="3714363"/>
              <a:ext cx="286630" cy="0"/>
            </a:xfrm>
            <a:prstGeom prst="straightConnector1">
              <a:avLst/>
            </a:prstGeom>
            <a:noFill/>
            <a:ln w="38100" cap="flat" cmpd="sng" algn="ctr">
              <a:solidFill>
                <a:sysClr val="windowText" lastClr="000000"/>
              </a:solidFill>
              <a:prstDash val="solid"/>
              <a:miter lim="800000"/>
              <a:tailEnd type="triangle"/>
            </a:ln>
            <a:effectLst/>
          </p:spPr>
        </p:cxnSp>
        <p:grpSp>
          <p:nvGrpSpPr>
            <p:cNvPr id="29" name="Group 28">
              <a:extLst>
                <a:ext uri="{FF2B5EF4-FFF2-40B4-BE49-F238E27FC236}">
                  <a16:creationId xmlns:a16="http://schemas.microsoft.com/office/drawing/2014/main" id="{2A783765-45D7-43C4-8D18-65E355255C17}"/>
                </a:ext>
              </a:extLst>
            </p:cNvPr>
            <p:cNvGrpSpPr/>
            <p:nvPr/>
          </p:nvGrpSpPr>
          <p:grpSpPr>
            <a:xfrm>
              <a:off x="6240926" y="1720080"/>
              <a:ext cx="1342869" cy="3920629"/>
              <a:chOff x="6240926" y="1720080"/>
              <a:chExt cx="1342869" cy="3920629"/>
            </a:xfrm>
          </p:grpSpPr>
          <p:grpSp>
            <p:nvGrpSpPr>
              <p:cNvPr id="26" name="Group 25">
                <a:extLst>
                  <a:ext uri="{FF2B5EF4-FFF2-40B4-BE49-F238E27FC236}">
                    <a16:creationId xmlns:a16="http://schemas.microsoft.com/office/drawing/2014/main" id="{814AD02E-408C-4918-8A8A-F7DFAF35C040}"/>
                  </a:ext>
                </a:extLst>
              </p:cNvPr>
              <p:cNvGrpSpPr/>
              <p:nvPr/>
            </p:nvGrpSpPr>
            <p:grpSpPr>
              <a:xfrm>
                <a:off x="6240926" y="1720080"/>
                <a:ext cx="1342869" cy="3920629"/>
                <a:chOff x="6207590" y="1720080"/>
                <a:chExt cx="1342869" cy="3920629"/>
              </a:xfrm>
            </p:grpSpPr>
            <p:sp>
              <p:nvSpPr>
                <p:cNvPr id="111" name="Rectangle 110">
                  <a:extLst>
                    <a:ext uri="{FF2B5EF4-FFF2-40B4-BE49-F238E27FC236}">
                      <a16:creationId xmlns:a16="http://schemas.microsoft.com/office/drawing/2014/main" id="{44317ACE-0954-46D6-A56B-5FE619BB7521}"/>
                    </a:ext>
                  </a:extLst>
                </p:cNvPr>
                <p:cNvSpPr/>
                <p:nvPr/>
              </p:nvSpPr>
              <p:spPr>
                <a:xfrm>
                  <a:off x="6219275" y="2247855"/>
                  <a:ext cx="1331184" cy="3392854"/>
                </a:xfrm>
                <a:prstGeom prst="rect">
                  <a:avLst/>
                </a:prstGeom>
                <a:solidFill>
                  <a:srgbClr val="E7E6E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defTabSz="914126">
                    <a:defRPr/>
                  </a:pPr>
                  <a:endParaRPr lang="en-AU" sz="1600" kern="0">
                    <a:solidFill>
                      <a:srgbClr val="243A5E">
                        <a:lumMod val="50000"/>
                      </a:srgbClr>
                    </a:solidFill>
                    <a:latin typeface="Segoe UI" panose="020B0502040204020203" pitchFamily="34" charset="0"/>
                    <a:cs typeface="Segoe UI" panose="020B0502040204020203" pitchFamily="34" charset="0"/>
                    <a:sym typeface="Segoe UI Semibold"/>
                  </a:endParaRPr>
                </a:p>
              </p:txBody>
            </p:sp>
            <p:pic>
              <p:nvPicPr>
                <p:cNvPr id="121" name="Picture 120">
                  <a:extLst>
                    <a:ext uri="{FF2B5EF4-FFF2-40B4-BE49-F238E27FC236}">
                      <a16:creationId xmlns:a16="http://schemas.microsoft.com/office/drawing/2014/main" id="{A7B8999D-19C8-47E4-B83D-6BF8A5DC024A}"/>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8594" b="84961" l="5078" r="96680">
                              <a14:foregroundMark x1="47266" y1="33984" x2="47266" y2="33984"/>
                              <a14:foregroundMark x1="53320" y1="45703" x2="53320" y2="45703"/>
                              <a14:foregroundMark x1="51758" y1="54492" x2="51758" y2="54492"/>
                              <a14:foregroundMark x1="82422" y1="45703" x2="82422" y2="45703"/>
                              <a14:foregroundMark x1="92188" y1="51367" x2="92188" y2="51367"/>
                              <a14:foregroundMark x1="96680" y1="48828" x2="96680" y2="48828"/>
                              <a14:foregroundMark x1="61328" y1="84961" x2="61328" y2="84961"/>
                              <a14:foregroundMark x1="5078" y1="57422" x2="5078" y2="57422"/>
                            </a14:backgroundRemoval>
                          </a14:imgEffect>
                        </a14:imgLayer>
                      </a14:imgProps>
                    </a:ext>
                  </a:extLst>
                </a:blip>
                <a:srcRect r="11494" b="11494"/>
                <a:stretch/>
              </p:blipFill>
              <p:spPr>
                <a:xfrm>
                  <a:off x="6525340" y="2796881"/>
                  <a:ext cx="567955" cy="567955"/>
                </a:xfrm>
                <a:prstGeom prst="rect">
                  <a:avLst/>
                </a:prstGeom>
                <a:effectLst>
                  <a:outerShdw blurRad="50800" dist="38100" dir="2700000" algn="tl" rotWithShape="0">
                    <a:prstClr val="black">
                      <a:alpha val="40000"/>
                    </a:prstClr>
                  </a:outerShdw>
                </a:effectLst>
              </p:spPr>
            </p:pic>
            <p:sp>
              <p:nvSpPr>
                <p:cNvPr id="58" name="TextBox 57">
                  <a:extLst>
                    <a:ext uri="{FF2B5EF4-FFF2-40B4-BE49-F238E27FC236}">
                      <a16:creationId xmlns:a16="http://schemas.microsoft.com/office/drawing/2014/main" id="{1DD4FD17-D260-4F21-A20A-24FFF2C02427}"/>
                    </a:ext>
                  </a:extLst>
                </p:cNvPr>
                <p:cNvSpPr txBox="1"/>
                <p:nvPr/>
              </p:nvSpPr>
              <p:spPr>
                <a:xfrm>
                  <a:off x="6219275" y="2296517"/>
                  <a:ext cx="132396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825500">
                    <a:defRPr sz="2800" spc="-224">
                      <a:solidFill>
                        <a:srgbClr val="006DD6"/>
                      </a:solidFill>
                      <a:latin typeface="Segoe UI" panose="020B0502040204020203" pitchFamily="34" charset="0"/>
                      <a:cs typeface="Segoe UI" panose="020B0502040204020203" pitchFamily="34" charset="0"/>
                    </a:defRPr>
                  </a:lvl1pPr>
                </a:lstStyle>
                <a:p>
                  <a:pPr algn="ctr" hangingPunct="0"/>
                  <a:r>
                    <a:rPr lang="en-AU" sz="1400" kern="0" spc="0">
                      <a:sym typeface="Segoe UI Semibold"/>
                    </a:rPr>
                    <a:t>Stream Analytics</a:t>
                  </a:r>
                </a:p>
              </p:txBody>
            </p:sp>
            <p:sp>
              <p:nvSpPr>
                <p:cNvPr id="68" name="TextBox 67">
                  <a:extLst>
                    <a:ext uri="{FF2B5EF4-FFF2-40B4-BE49-F238E27FC236}">
                      <a16:creationId xmlns:a16="http://schemas.microsoft.com/office/drawing/2014/main" id="{7EED6483-D0BA-4083-9C8C-FAE3108BDB09}"/>
                    </a:ext>
                  </a:extLst>
                </p:cNvPr>
                <p:cNvSpPr txBox="1"/>
                <p:nvPr/>
              </p:nvSpPr>
              <p:spPr>
                <a:xfrm>
                  <a:off x="6207590" y="3532846"/>
                  <a:ext cx="1323961" cy="3180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825500">
                    <a:defRPr sz="2800" spc="-224">
                      <a:solidFill>
                        <a:srgbClr val="006DD6"/>
                      </a:solidFill>
                      <a:latin typeface="Segoe UI" panose="020B0502040204020203" pitchFamily="34" charset="0"/>
                      <a:cs typeface="Segoe UI" panose="020B0502040204020203" pitchFamily="34" charset="0"/>
                    </a:defRPr>
                  </a:lvl1pPr>
                </a:lstStyle>
                <a:p>
                  <a:pPr algn="ctr" hangingPunct="0"/>
                  <a:r>
                    <a:rPr lang="en-AU" sz="1400" kern="0" spc="0">
                      <a:sym typeface="Segoe UI Semibold"/>
                    </a:rPr>
                    <a:t>Databricks</a:t>
                  </a:r>
                </a:p>
              </p:txBody>
            </p:sp>
            <p:sp>
              <p:nvSpPr>
                <p:cNvPr id="69" name="TextBox 68">
                  <a:extLst>
                    <a:ext uri="{FF2B5EF4-FFF2-40B4-BE49-F238E27FC236}">
                      <a16:creationId xmlns:a16="http://schemas.microsoft.com/office/drawing/2014/main" id="{299182A3-CB2D-4EA6-B07E-467076C73566}"/>
                    </a:ext>
                  </a:extLst>
                </p:cNvPr>
                <p:cNvSpPr txBox="1"/>
                <p:nvPr/>
              </p:nvSpPr>
              <p:spPr>
                <a:xfrm>
                  <a:off x="6215499" y="4558678"/>
                  <a:ext cx="132396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45710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825500">
                    <a:defRPr sz="2800" spc="-224">
                      <a:solidFill>
                        <a:srgbClr val="006DD6"/>
                      </a:solidFill>
                      <a:latin typeface="Segoe UI" panose="020B0502040204020203" pitchFamily="34" charset="0"/>
                      <a:cs typeface="Segoe UI" panose="020B0502040204020203" pitchFamily="34" charset="0"/>
                    </a:defRPr>
                  </a:lvl1pPr>
                </a:lstStyle>
                <a:p>
                  <a:pPr algn="ctr" hangingPunct="0"/>
                  <a:r>
                    <a:rPr lang="en-AU" sz="1400" kern="0" spc="0">
                      <a:sym typeface="Segoe UI Semibold"/>
                    </a:rPr>
                    <a:t>Azure Functions</a:t>
                  </a:r>
                </a:p>
              </p:txBody>
            </p:sp>
            <p:pic>
              <p:nvPicPr>
                <p:cNvPr id="70" name="Picture 2" descr="Azure Databricks — Taygan">
                  <a:extLst>
                    <a:ext uri="{FF2B5EF4-FFF2-40B4-BE49-F238E27FC236}">
                      <a16:creationId xmlns:a16="http://schemas.microsoft.com/office/drawing/2014/main" id="{716E52C9-2112-4FAB-9FED-E19F0613A5A3}"/>
                    </a:ext>
                  </a:extLst>
                </p:cNvPr>
                <p:cNvPicPr>
                  <a:picLocks noChangeAspect="1" noChangeArrowheads="1"/>
                </p:cNvPicPr>
                <p:nvPr/>
              </p:nvPicPr>
              <p:blipFill rotWithShape="1">
                <a:blip r:embed="rId17" cstate="print">
                  <a:extLst>
                    <a:ext uri="{BEBA8EAE-BF5A-486C-A8C5-ECC9F3942E4B}">
                      <a14:imgProps xmlns:a14="http://schemas.microsoft.com/office/drawing/2010/main">
                        <a14:imgLayer r:embed="rId18">
                          <a14:imgEffect>
                            <a14:backgroundRemoval t="18000" b="81667" l="18333" r="81000">
                              <a14:foregroundMark x1="21333" y1="39000" x2="76333" y2="38000"/>
                              <a14:foregroundMark x1="76333" y1="38000" x2="21667" y2="36333"/>
                              <a14:foregroundMark x1="18667" y1="35333" x2="19667" y2="41333"/>
                              <a14:foregroundMark x1="79667" y1="35000" x2="79667" y2="42333"/>
                              <a14:foregroundMark x1="49333" y1="21000" x2="50667" y2="20667"/>
                              <a14:foregroundMark x1="49667" y1="18333" x2="49667" y2="18333"/>
                              <a14:foregroundMark x1="81000" y1="62000" x2="81000" y2="62000"/>
                              <a14:foregroundMark x1="81333" y1="37667" x2="81333" y2="37667"/>
                              <a14:foregroundMark x1="51667" y1="79000" x2="51667" y2="79000"/>
                              <a14:foregroundMark x1="50000" y1="82000" x2="50000" y2="82000"/>
                              <a14:foregroundMark x1="18333" y1="58333" x2="18333" y2="58333"/>
                            </a14:backgroundRemoval>
                          </a14:imgEffect>
                        </a14:imgLayer>
                      </a14:imgProps>
                    </a:ext>
                    <a:ext uri="{28A0092B-C50C-407E-A947-70E740481C1C}">
                      <a14:useLocalDpi xmlns:a14="http://schemas.microsoft.com/office/drawing/2010/main" val="0"/>
                    </a:ext>
                  </a:extLst>
                </a:blip>
                <a:srcRect l="16704" t="16421" r="16157" b="15904"/>
                <a:stretch/>
              </p:blipFill>
              <p:spPr bwMode="auto">
                <a:xfrm>
                  <a:off x="6582124" y="3853354"/>
                  <a:ext cx="589273" cy="59397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D42A0440-9504-4DAD-82B2-F7471867F423}"/>
                    </a:ext>
                  </a:extLst>
                </p:cNvPr>
                <p:cNvSpPr txBox="1"/>
                <p:nvPr/>
              </p:nvSpPr>
              <p:spPr>
                <a:xfrm>
                  <a:off x="6252967" y="1720080"/>
                  <a:ext cx="1199046" cy="4903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70000"/>
                    </a:lnSpc>
                  </a:pPr>
                  <a:r>
                    <a:rPr lang="en-AU" kern="0">
                      <a:solidFill>
                        <a:srgbClr val="243A5E">
                          <a:lumMod val="50000"/>
                        </a:srgbClr>
                      </a:solidFill>
                      <a:latin typeface="Segoe UI" panose="020B0502040204020203" pitchFamily="34" charset="0"/>
                      <a:cs typeface="Segoe UI" panose="020B0502040204020203" pitchFamily="34" charset="0"/>
                      <a:sym typeface="Segoe UI Semibold"/>
                    </a:rPr>
                    <a:t>Stream</a:t>
                  </a:r>
                </a:p>
                <a:p>
                  <a:pPr algn="ctr" defTabSz="825500" hangingPunct="0">
                    <a:lnSpc>
                      <a:spcPct val="70000"/>
                    </a:lnSpc>
                  </a:pPr>
                  <a:r>
                    <a:rPr lang="en-AU" kern="0">
                      <a:solidFill>
                        <a:srgbClr val="243A5E">
                          <a:lumMod val="50000"/>
                        </a:srgbClr>
                      </a:solidFill>
                      <a:latin typeface="Segoe UI" panose="020B0502040204020203" pitchFamily="34" charset="0"/>
                      <a:cs typeface="Segoe UI" panose="020B0502040204020203" pitchFamily="34" charset="0"/>
                      <a:sym typeface="Segoe UI Semibold"/>
                    </a:rPr>
                    <a:t>processing</a:t>
                  </a:r>
                </a:p>
              </p:txBody>
            </p:sp>
          </p:grpSp>
          <p:pic>
            <p:nvPicPr>
              <p:cNvPr id="2" name="Picture 2" descr="Things I Learnt in My First Azure Functions Project | by Zhongming Chen |  The ASOS Tech Blog | Medium">
                <a:extLst>
                  <a:ext uri="{FF2B5EF4-FFF2-40B4-BE49-F238E27FC236}">
                    <a16:creationId xmlns:a16="http://schemas.microsoft.com/office/drawing/2014/main" id="{FE395811-5854-4DDE-A7DA-9EC2010FECE0}"/>
                  </a:ext>
                </a:extLst>
              </p:cNvPr>
              <p:cNvPicPr>
                <a:picLocks noChangeAspect="1" noChangeArrowheads="1"/>
              </p:cNvPicPr>
              <p:nvPr/>
            </p:nvPicPr>
            <p:blipFill rotWithShape="1">
              <a:blip r:embed="rId23" cstate="print">
                <a:extLst>
                  <a:ext uri="{BEBA8EAE-BF5A-486C-A8C5-ECC9F3942E4B}">
                    <a14:imgProps xmlns:a14="http://schemas.microsoft.com/office/drawing/2010/main">
                      <a14:imgLayer r:embed="rId24">
                        <a14:imgEffect>
                          <a14:backgroundRemoval t="2534" b="89866" l="18500" r="85800">
                            <a14:foregroundMark x1="30000" y1="31297" x2="30000" y2="31297"/>
                            <a14:foregroundMark x1="18500" y1="49180" x2="18500" y2="49180"/>
                            <a14:foregroundMark x1="80500" y1="41282" x2="80500" y2="41282"/>
                            <a14:foregroundMark x1="80500" y1="41282" x2="80500" y2="41282"/>
                            <a14:foregroundMark x1="85800" y1="51267" x2="85800" y2="51267"/>
                            <a14:foregroundMark x1="62300" y1="7601" x2="62300" y2="7601"/>
                            <a14:foregroundMark x1="63700" y1="2534" x2="63700" y2="2534"/>
                          </a14:backgroundRemoval>
                        </a14:imgEffect>
                      </a14:imgLayer>
                    </a14:imgProps>
                  </a:ext>
                  <a:ext uri="{28A0092B-C50C-407E-A947-70E740481C1C}">
                    <a14:useLocalDpi xmlns:a14="http://schemas.microsoft.com/office/drawing/2010/main" val="0"/>
                  </a:ext>
                </a:extLst>
              </a:blip>
              <a:srcRect l="15143" r="10017"/>
              <a:stretch/>
            </p:blipFill>
            <p:spPr bwMode="auto">
              <a:xfrm>
                <a:off x="6582124" y="5100493"/>
                <a:ext cx="585044" cy="52454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79180156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grpId="0" nodeType="withEffect" nodePh="1">
                                  <p:stCondLst>
                                    <p:cond delay="0"/>
                                  </p:stCondLst>
                                  <p:endCondLst>
                                    <p:cond evt="begin" delay="0">
                                      <p:tn val="43"/>
                                    </p:cond>
                                  </p:endCondLst>
                                  <p:childTnLst>
                                    <p:set>
                                      <p:cBhvr>
                                        <p:cTn id="44" dur="1" fill="hold">
                                          <p:stCondLst>
                                            <p:cond delay="0"/>
                                          </p:stCondLst>
                                        </p:cTn>
                                        <p:tgtEl>
                                          <p:spTgt spid="2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0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6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37"/>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0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3"/>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2"/>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7"/>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96"/>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59"/>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9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9"/>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5"/>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64"/>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16"/>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65"/>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66"/>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97"/>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98"/>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08"/>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109"/>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10"/>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115"/>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38"/>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1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4" grpId="0" animBg="1"/>
      <p:bldP spid="112" grpId="0" animBg="1"/>
      <p:bldP spid="113" grpId="0" animBg="1"/>
      <p:bldP spid="114" grpId="0" animBg="1"/>
      <p:bldP spid="127" grpId="0"/>
      <p:bldP spid="129" grpId="0"/>
      <p:bldP spid="131" grpId="0"/>
      <p:bldP spid="150" grpId="0"/>
      <p:bldP spid="6" grpId="0"/>
      <p:bldP spid="64" grpId="0"/>
      <p:bldP spid="66" grpId="0"/>
      <p:bldP spid="67" grpId="0"/>
      <p:bldP spid="96" grpId="0"/>
      <p:bldP spid="98" grpId="0"/>
      <p:bldP spid="100" grpId="0"/>
      <p:bldP spid="19" grpId="0"/>
      <p:bldP spid="20" grpId="0"/>
      <p:bldP spid="24" grpId="0"/>
    </p:bldLst>
  </p:timing>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45D4AA-5F5D-466F-902B-154944817361}"/>
              </a:ext>
            </a:extLst>
          </p:cNvPr>
          <p:cNvSpPr>
            <a:spLocks noGrp="1"/>
          </p:cNvSpPr>
          <p:nvPr>
            <p:ph type="title"/>
          </p:nvPr>
        </p:nvSpPr>
        <p:spPr>
          <a:xfrm>
            <a:off x="455995" y="620428"/>
            <a:ext cx="11306469" cy="397545"/>
          </a:xfrm>
        </p:spPr>
        <p:txBody>
          <a:bodyPr/>
          <a:lstStyle/>
          <a:p>
            <a:r>
              <a:rPr lang="de-DE" sz="2800" dirty="0">
                <a:solidFill>
                  <a:schemeClr val="bg2"/>
                </a:solidFill>
              </a:rPr>
              <a:t>Azure IoT Hub Message</a:t>
            </a:r>
          </a:p>
        </p:txBody>
      </p:sp>
      <p:sp>
        <p:nvSpPr>
          <p:cNvPr id="4" name="Rectangle 3">
            <a:extLst>
              <a:ext uri="{FF2B5EF4-FFF2-40B4-BE49-F238E27FC236}">
                <a16:creationId xmlns:a16="http://schemas.microsoft.com/office/drawing/2014/main" id="{E3DA88D3-0EA4-4550-87F0-46B3C0D3BCD9}"/>
              </a:ext>
            </a:extLst>
          </p:cNvPr>
          <p:cNvSpPr/>
          <p:nvPr/>
        </p:nvSpPr>
        <p:spPr>
          <a:xfrm>
            <a:off x="4689693" y="1961516"/>
            <a:ext cx="3216891" cy="3392854"/>
          </a:xfrm>
          <a:prstGeom prst="rect">
            <a:avLst/>
          </a:prstGeom>
          <a:solidFill>
            <a:srgbClr val="E7E6E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defTabSz="825500" hangingPunct="0"/>
            <a:r>
              <a:rPr lang="en-AU" sz="1600" kern="0">
                <a:solidFill>
                  <a:srgbClr val="006DD6"/>
                </a:solidFill>
                <a:latin typeface="Segoe UI" panose="020B0502040204020203" pitchFamily="34" charset="0"/>
                <a:cs typeface="Segoe UI" panose="020B0502040204020203" pitchFamily="34" charset="0"/>
                <a:sym typeface="Segoe UI Semibold"/>
              </a:rPr>
              <a:t>Azure IoT Hub</a:t>
            </a:r>
          </a:p>
        </p:txBody>
      </p:sp>
      <p:sp>
        <p:nvSpPr>
          <p:cNvPr id="5" name="Rectangle 4">
            <a:extLst>
              <a:ext uri="{FF2B5EF4-FFF2-40B4-BE49-F238E27FC236}">
                <a16:creationId xmlns:a16="http://schemas.microsoft.com/office/drawing/2014/main" id="{F4C31277-753D-4EBC-AD8A-534BA38EE964}"/>
              </a:ext>
            </a:extLst>
          </p:cNvPr>
          <p:cNvSpPr/>
          <p:nvPr/>
        </p:nvSpPr>
        <p:spPr>
          <a:xfrm>
            <a:off x="6321493" y="2126937"/>
            <a:ext cx="1487929" cy="1607316"/>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b"/>
          <a:lstStyle/>
          <a:p>
            <a:pPr algn="ctr" defTabSz="914126">
              <a:defRPr/>
            </a:pPr>
            <a:r>
              <a:rPr lang="en-AU" sz="1200">
                <a:solidFill>
                  <a:srgbClr val="243A5E">
                    <a:lumMod val="50000"/>
                  </a:srgbClr>
                </a:solidFill>
                <a:latin typeface="Segoe UI" panose="020B0502040204020203" pitchFamily="34" charset="0"/>
                <a:cs typeface="Segoe UI" panose="020B0502040204020203" pitchFamily="34" charset="0"/>
                <a:sym typeface="Segoe UI Semibold"/>
              </a:rPr>
              <a:t>Device twin</a:t>
            </a:r>
          </a:p>
        </p:txBody>
      </p:sp>
      <p:pic>
        <p:nvPicPr>
          <p:cNvPr id="6" name="Picture 5">
            <a:extLst>
              <a:ext uri="{FF2B5EF4-FFF2-40B4-BE49-F238E27FC236}">
                <a16:creationId xmlns:a16="http://schemas.microsoft.com/office/drawing/2014/main" id="{129D72F2-428B-44FD-A8A6-919E3A1694F9}"/>
              </a:ext>
            </a:extLst>
          </p:cNvPr>
          <p:cNvPicPr>
            <a:picLocks noChangeAspect="1"/>
          </p:cNvPicPr>
          <p:nvPr/>
        </p:nvPicPr>
        <p:blipFill>
          <a:blip r:embed="rId3"/>
          <a:stretch>
            <a:fillRect/>
          </a:stretch>
        </p:blipFill>
        <p:spPr>
          <a:xfrm>
            <a:off x="135924" y="2909053"/>
            <a:ext cx="1010655" cy="1546794"/>
          </a:xfrm>
          <a:prstGeom prst="rect">
            <a:avLst/>
          </a:prstGeom>
          <a:effectLst>
            <a:outerShdw blurRad="50800" dist="38100" dir="2700000" algn="tl" rotWithShape="0">
              <a:prstClr val="black">
                <a:alpha val="40000"/>
              </a:prstClr>
            </a:outerShdw>
          </a:effectLst>
        </p:spPr>
      </p:pic>
      <p:cxnSp>
        <p:nvCxnSpPr>
          <p:cNvPr id="7" name="Connector: Elbow 6">
            <a:extLst>
              <a:ext uri="{FF2B5EF4-FFF2-40B4-BE49-F238E27FC236}">
                <a16:creationId xmlns:a16="http://schemas.microsoft.com/office/drawing/2014/main" id="{DD22399D-7B9D-4FC3-B27E-B6DE7444A89B}"/>
              </a:ext>
            </a:extLst>
          </p:cNvPr>
          <p:cNvCxnSpPr>
            <a:cxnSpLocks/>
            <a:stCxn id="12" idx="0"/>
          </p:cNvCxnSpPr>
          <p:nvPr/>
        </p:nvCxnSpPr>
        <p:spPr>
          <a:xfrm rot="16200000" flipH="1">
            <a:off x="6209822" y="2025919"/>
            <a:ext cx="60168" cy="1046982"/>
          </a:xfrm>
          <a:prstGeom prst="bentConnector4">
            <a:avLst>
              <a:gd name="adj1" fmla="val -300783"/>
              <a:gd name="adj2" fmla="val 100030"/>
            </a:avLst>
          </a:prstGeom>
          <a:noFill/>
          <a:ln w="38100" cap="flat" cmpd="sng" algn="ctr">
            <a:solidFill>
              <a:sysClr val="windowText" lastClr="000000"/>
            </a:solidFill>
            <a:prstDash val="solid"/>
            <a:miter lim="800000"/>
            <a:tailEnd type="triangle"/>
          </a:ln>
          <a:effectLst/>
        </p:spPr>
      </p:cxnSp>
      <p:sp>
        <p:nvSpPr>
          <p:cNvPr id="8" name="TextBox 7">
            <a:extLst>
              <a:ext uri="{FF2B5EF4-FFF2-40B4-BE49-F238E27FC236}">
                <a16:creationId xmlns:a16="http://schemas.microsoft.com/office/drawing/2014/main" id="{47E7E174-8D81-4192-80A8-9AD8D6183252}"/>
              </a:ext>
            </a:extLst>
          </p:cNvPr>
          <p:cNvSpPr txBox="1"/>
          <p:nvPr/>
        </p:nvSpPr>
        <p:spPr>
          <a:xfrm>
            <a:off x="135923" y="2468805"/>
            <a:ext cx="1148071" cy="307777"/>
          </a:xfrm>
          <a:prstGeom prst="rect">
            <a:avLst/>
          </a:prstGeom>
          <a:noFill/>
        </p:spPr>
        <p:txBody>
          <a:bodyPr wrap="none" rtlCol="0">
            <a:spAutoFit/>
          </a:bodyPr>
          <a:lstStyle/>
          <a:p>
            <a:pPr defTabSz="914126"/>
            <a:r>
              <a:rPr lang="en-AU" sz="1400" b="1" dirty="0">
                <a:solidFill>
                  <a:schemeClr val="bg1"/>
                </a:solidFill>
                <a:latin typeface="Segoe UI" panose="020B0502040204020203" pitchFamily="34" charset="0"/>
                <a:cs typeface="Segoe UI" panose="020B0502040204020203" pitchFamily="34" charset="0"/>
                <a:sym typeface="Segoe UI Semibold"/>
              </a:rPr>
              <a:t>IoT Devices</a:t>
            </a:r>
          </a:p>
        </p:txBody>
      </p:sp>
      <p:sp>
        <p:nvSpPr>
          <p:cNvPr id="9" name="TextBox 8">
            <a:extLst>
              <a:ext uri="{FF2B5EF4-FFF2-40B4-BE49-F238E27FC236}">
                <a16:creationId xmlns:a16="http://schemas.microsoft.com/office/drawing/2014/main" id="{8AE7349D-0CD2-4988-A87C-DAE5117F2C6B}"/>
              </a:ext>
            </a:extLst>
          </p:cNvPr>
          <p:cNvSpPr txBox="1"/>
          <p:nvPr/>
        </p:nvSpPr>
        <p:spPr>
          <a:xfrm>
            <a:off x="1376053" y="2002795"/>
            <a:ext cx="2804651" cy="3293209"/>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body"</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Temperature"</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30.25"</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Humidity"</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54.0"</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Pressure"</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1021.8"</a:t>
            </a:r>
            <a:endParaRPr lang="en-AU" sz="1600" kern="0" spc="-112" dirty="0">
              <a:solidFill>
                <a:srgbClr val="000000"/>
              </a:solidFill>
              <a:latin typeface="Consolas" panose="020B0609020204030204" pitchFamily="49" charset="0"/>
              <a:cs typeface="Segoe UI" panose="020B0502040204020203" pitchFamily="34" charset="0"/>
              <a:sym typeface="Segoe UI Semibold"/>
            </a:endParaRP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properties"</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a:t>
            </a:r>
            <a:r>
              <a:rPr lang="en-AU" sz="1600" kern="0" spc="-112" dirty="0" err="1">
                <a:solidFill>
                  <a:srgbClr val="0451A5"/>
                </a:solidFill>
                <a:latin typeface="Consolas" panose="020B0609020204030204" pitchFamily="49" charset="0"/>
                <a:cs typeface="Segoe UI" panose="020B0502040204020203" pitchFamily="34" charset="0"/>
                <a:sym typeface="Segoe UI Semibold"/>
              </a:rPr>
              <a:t>appid</a:t>
            </a:r>
            <a:r>
              <a:rPr lang="en-AU" sz="1600" kern="0" spc="-112" dirty="0">
                <a:solidFill>
                  <a:srgbClr val="0451A5"/>
                </a:solidFill>
                <a:latin typeface="Consolas" panose="020B0609020204030204" pitchFamily="49" charset="0"/>
                <a:cs typeface="Segoe UI" panose="020B0502040204020203" pitchFamily="34" charset="0"/>
                <a:sym typeface="Segoe UI Semibold"/>
              </a:rPr>
              <a:t>"</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a:t>
            </a:r>
            <a:r>
              <a:rPr lang="en-AU" sz="1600" kern="0" spc="-112" dirty="0" err="1">
                <a:solidFill>
                  <a:srgbClr val="A31515"/>
                </a:solidFill>
                <a:latin typeface="Consolas" panose="020B0609020204030204" pitchFamily="49" charset="0"/>
                <a:cs typeface="Segoe UI" panose="020B0502040204020203" pitchFamily="34" charset="0"/>
                <a:sym typeface="Segoe UI Semibold"/>
              </a:rPr>
              <a:t>hvac</a:t>
            </a:r>
            <a:r>
              <a:rPr lang="en-AU" sz="1600" kern="0" spc="-112" dirty="0">
                <a:solidFill>
                  <a:srgbClr val="A31515"/>
                </a:solidFill>
                <a:latin typeface="Consolas" panose="020B0609020204030204" pitchFamily="49" charset="0"/>
                <a:cs typeface="Segoe UI" panose="020B0502040204020203" pitchFamily="34" charset="0"/>
                <a:sym typeface="Segoe UI Semibold"/>
              </a:rPr>
              <a:t>"</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type"</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telemetry"</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format"</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json"</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0451A5"/>
                </a:solidFill>
                <a:latin typeface="Consolas" panose="020B0609020204030204" pitchFamily="49" charset="0"/>
                <a:cs typeface="Segoe UI" panose="020B0502040204020203" pitchFamily="34" charset="0"/>
                <a:sym typeface="Segoe UI Semibold"/>
              </a:rPr>
              <a:t>"version"</a:t>
            </a:r>
            <a:r>
              <a:rPr lang="en-AU" sz="1600" kern="0" spc="-112" dirty="0">
                <a:solidFill>
                  <a:srgbClr val="000000"/>
                </a:solidFill>
                <a:latin typeface="Consolas" panose="020B0609020204030204" pitchFamily="49" charset="0"/>
                <a:cs typeface="Segoe UI" panose="020B0502040204020203" pitchFamily="34" charset="0"/>
                <a:sym typeface="Segoe UI Semibold"/>
              </a:rPr>
              <a:t>: </a:t>
            </a:r>
            <a:r>
              <a:rPr lang="en-AU" sz="1600" kern="0" spc="-112" dirty="0">
                <a:solidFill>
                  <a:srgbClr val="A31515"/>
                </a:solidFill>
                <a:latin typeface="Consolas" panose="020B0609020204030204" pitchFamily="49" charset="0"/>
                <a:cs typeface="Segoe UI" panose="020B0502040204020203" pitchFamily="34" charset="0"/>
                <a:sym typeface="Segoe UI Semibold"/>
              </a:rPr>
              <a:t>"1"</a:t>
            </a:r>
            <a:r>
              <a:rPr lang="en-AU" sz="1600" kern="0" spc="-112" dirty="0">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dirty="0">
                <a:solidFill>
                  <a:srgbClr val="000000"/>
                </a:solidFill>
                <a:latin typeface="Consolas" panose="020B0609020204030204" pitchFamily="49" charset="0"/>
                <a:cs typeface="Segoe UI" panose="020B0502040204020203" pitchFamily="34" charset="0"/>
                <a:sym typeface="Segoe UI Semibold"/>
              </a:rPr>
              <a:t>}</a:t>
            </a:r>
          </a:p>
        </p:txBody>
      </p:sp>
      <p:sp>
        <p:nvSpPr>
          <p:cNvPr id="10" name="TextBox 9">
            <a:extLst>
              <a:ext uri="{FF2B5EF4-FFF2-40B4-BE49-F238E27FC236}">
                <a16:creationId xmlns:a16="http://schemas.microsoft.com/office/drawing/2014/main" id="{E600E431-6AEB-4E1F-97FC-F9675735FFB0}"/>
              </a:ext>
            </a:extLst>
          </p:cNvPr>
          <p:cNvSpPr txBox="1"/>
          <p:nvPr/>
        </p:nvSpPr>
        <p:spPr>
          <a:xfrm>
            <a:off x="8368653" y="1582247"/>
            <a:ext cx="3687426" cy="4031873"/>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rtlCol="0">
            <a:spAutoFit/>
          </a:bodyPr>
          <a:lstStyle/>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body"</a:t>
            </a:r>
            <a:r>
              <a:rPr lang="en-AU" sz="16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Temperature"</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30.25"</a:t>
            </a:r>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Humidity"</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54.0"</a:t>
            </a:r>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Pressure"</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1021.8"</a:t>
            </a:r>
            <a:endParaRPr lang="en-AU" sz="1600" kern="0" spc="-112">
              <a:solidFill>
                <a:srgbClr val="000000"/>
              </a:solidFill>
              <a:latin typeface="Consolas" panose="020B0609020204030204" pitchFamily="49" charset="0"/>
              <a:cs typeface="Segoe UI" panose="020B0502040204020203" pitchFamily="34" charset="0"/>
              <a:sym typeface="Segoe UI Semibold"/>
            </a:endParaRP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properties"</a:t>
            </a:r>
            <a:r>
              <a:rPr lang="en-AU" sz="16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a:t>
            </a:r>
            <a:r>
              <a:rPr lang="en-AU" sz="1600" kern="0" spc="-112" err="1">
                <a:solidFill>
                  <a:srgbClr val="0451A5"/>
                </a:solidFill>
                <a:latin typeface="Consolas" panose="020B0609020204030204" pitchFamily="49" charset="0"/>
                <a:cs typeface="Segoe UI" panose="020B0502040204020203" pitchFamily="34" charset="0"/>
                <a:sym typeface="Segoe UI Semibold"/>
              </a:rPr>
              <a:t>appid</a:t>
            </a:r>
            <a:r>
              <a:rPr lang="en-AU" sz="1600" kern="0" spc="-112">
                <a:solidFill>
                  <a:srgbClr val="0451A5"/>
                </a:solidFill>
                <a:latin typeface="Consolas" panose="020B0609020204030204" pitchFamily="49" charset="0"/>
                <a:cs typeface="Segoe UI" panose="020B0502040204020203" pitchFamily="34" charset="0"/>
                <a:sym typeface="Segoe UI Semibold"/>
              </a:rPr>
              <a:t>"</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a:t>
            </a:r>
            <a:r>
              <a:rPr lang="en-AU" sz="1600" kern="0" spc="-112" err="1">
                <a:solidFill>
                  <a:srgbClr val="A31515"/>
                </a:solidFill>
                <a:latin typeface="Consolas" panose="020B0609020204030204" pitchFamily="49" charset="0"/>
                <a:cs typeface="Segoe UI" panose="020B0502040204020203" pitchFamily="34" charset="0"/>
                <a:sym typeface="Segoe UI Semibold"/>
              </a:rPr>
              <a:t>hvac</a:t>
            </a:r>
            <a:r>
              <a:rPr lang="en-AU" sz="1600" kern="0" spc="-112">
                <a:solidFill>
                  <a:srgbClr val="A31515"/>
                </a:solidFill>
                <a:latin typeface="Consolas" panose="020B0609020204030204" pitchFamily="49" charset="0"/>
                <a:cs typeface="Segoe UI" panose="020B0502040204020203" pitchFamily="34" charset="0"/>
                <a:sym typeface="Segoe UI Semibold"/>
              </a:rPr>
              <a:t>"</a:t>
            </a:r>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type"</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telemetry"</a:t>
            </a:r>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format"</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json"</a:t>
            </a:r>
            <a:r>
              <a:rPr lang="en-AU" sz="16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0451A5"/>
                </a:solidFill>
                <a:latin typeface="Consolas" panose="020B0609020204030204" pitchFamily="49" charset="0"/>
                <a:cs typeface="Segoe UI" panose="020B0502040204020203" pitchFamily="34" charset="0"/>
                <a:sym typeface="Segoe UI Semibold"/>
              </a:rPr>
              <a:t>"version"</a:t>
            </a:r>
            <a:r>
              <a:rPr lang="en-AU" sz="1600" kern="0" spc="-112">
                <a:solidFill>
                  <a:srgbClr val="000000"/>
                </a:solidFill>
                <a:latin typeface="Consolas" panose="020B0609020204030204" pitchFamily="49" charset="0"/>
                <a:cs typeface="Segoe UI" panose="020B0502040204020203" pitchFamily="34" charset="0"/>
                <a:sym typeface="Segoe UI Semibold"/>
              </a:rPr>
              <a:t>: </a:t>
            </a:r>
            <a:r>
              <a:rPr lang="en-AU" sz="1600" kern="0" spc="-112">
                <a:solidFill>
                  <a:srgbClr val="A31515"/>
                </a:solidFill>
                <a:latin typeface="Consolas" panose="020B0609020204030204" pitchFamily="49" charset="0"/>
                <a:cs typeface="Segoe UI" panose="020B0502040204020203" pitchFamily="34" charset="0"/>
                <a:sym typeface="Segoe UI Semibold"/>
              </a:rPr>
              <a:t>"1"</a:t>
            </a:r>
            <a:r>
              <a:rPr lang="en-AU" sz="16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600" b="1" kern="0" spc="-112">
                <a:solidFill>
                  <a:srgbClr val="0451A5"/>
                </a:solidFill>
                <a:latin typeface="Consolas" panose="020B0609020204030204" pitchFamily="49" charset="0"/>
                <a:cs typeface="Segoe UI" panose="020B0502040204020203" pitchFamily="34" charset="0"/>
                <a:sym typeface="Segoe UI Semibold"/>
              </a:rPr>
              <a:t>"latitude"</a:t>
            </a:r>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600" b="1" kern="0" spc="-112">
                <a:solidFill>
                  <a:srgbClr val="A31515"/>
                </a:solidFill>
                <a:latin typeface="Consolas" panose="020B0609020204030204" pitchFamily="49" charset="0"/>
                <a:cs typeface="Segoe UI" panose="020B0502040204020203" pitchFamily="34" charset="0"/>
                <a:sym typeface="Segoe UI Semibold"/>
              </a:rPr>
              <a:t>"-33.8767984"</a:t>
            </a:r>
            <a:r>
              <a:rPr lang="en-AU" sz="1600" b="1"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b="1" kern="0" spc="-112">
                <a:solidFill>
                  <a:srgbClr val="0451A5"/>
                </a:solidFill>
                <a:latin typeface="Consolas" panose="020B0609020204030204" pitchFamily="49" charset="0"/>
                <a:cs typeface="Segoe UI" panose="020B0502040204020203" pitchFamily="34" charset="0"/>
                <a:sym typeface="Segoe UI Semibold"/>
              </a:rPr>
              <a:t>    "longitude"</a:t>
            </a:r>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600" b="1" kern="0" spc="-112">
                <a:solidFill>
                  <a:srgbClr val="A31515"/>
                </a:solidFill>
                <a:latin typeface="Consolas" panose="020B0609020204030204" pitchFamily="49" charset="0"/>
                <a:cs typeface="Segoe UI" panose="020B0502040204020203" pitchFamily="34" charset="0"/>
                <a:sym typeface="Segoe UI Semibold"/>
              </a:rPr>
              <a:t>"151.2083053"</a:t>
            </a:r>
            <a:r>
              <a:rPr lang="en-AU" sz="1600" b="1"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600" b="1" kern="0" spc="-112">
                <a:solidFill>
                  <a:srgbClr val="0451A5"/>
                </a:solidFill>
                <a:latin typeface="Consolas" panose="020B0609020204030204" pitchFamily="49" charset="0"/>
                <a:cs typeface="Segoe UI" panose="020B0502040204020203" pitchFamily="34" charset="0"/>
                <a:sym typeface="Segoe UI Semibold"/>
              </a:rPr>
              <a:t>"name"</a:t>
            </a:r>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600" b="1" kern="0" spc="-112">
                <a:solidFill>
                  <a:srgbClr val="A31515"/>
                </a:solidFill>
                <a:latin typeface="Consolas" panose="020B0609020204030204" pitchFamily="49" charset="0"/>
                <a:cs typeface="Segoe UI" panose="020B0502040204020203" pitchFamily="34" charset="0"/>
                <a:sym typeface="Segoe UI Semibold"/>
              </a:rPr>
              <a:t>"Sydney Factory"</a:t>
            </a:r>
            <a:r>
              <a:rPr lang="en-AU" sz="1600" b="1" kern="0" spc="-112">
                <a:solidFill>
                  <a:srgbClr val="000000"/>
                </a:solidFill>
                <a:latin typeface="Consolas" panose="020B0609020204030204" pitchFamily="49" charset="0"/>
                <a:cs typeface="Segoe UI" panose="020B0502040204020203" pitchFamily="34" charset="0"/>
                <a:sym typeface="Segoe UI Semibold"/>
              </a:rPr>
              <a:t> </a:t>
            </a:r>
            <a:r>
              <a:rPr lang="en-AU" sz="1400" b="1"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600" kern="0" spc="-112">
                <a:solidFill>
                  <a:srgbClr val="000000"/>
                </a:solidFill>
                <a:latin typeface="Consolas" panose="020B0609020204030204" pitchFamily="49" charset="0"/>
                <a:cs typeface="Segoe UI" panose="020B0502040204020203" pitchFamily="34" charset="0"/>
                <a:sym typeface="Segoe UI Semibold"/>
              </a:rPr>
              <a:t>}</a:t>
            </a:r>
          </a:p>
        </p:txBody>
      </p:sp>
      <p:pic>
        <p:nvPicPr>
          <p:cNvPr id="12" name="Picture 2" descr="Reekoh | Plugins">
            <a:extLst>
              <a:ext uri="{FF2B5EF4-FFF2-40B4-BE49-F238E27FC236}">
                <a16:creationId xmlns:a16="http://schemas.microsoft.com/office/drawing/2014/main" id="{90ED0387-0D7D-4520-983B-DAB48D6B8C86}"/>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13333" b="86000" l="13000" r="86667">
                        <a14:foregroundMark x1="17333" y1="82333" x2="17333" y2="82333"/>
                        <a14:foregroundMark x1="17000" y1="70333" x2="17000" y2="70333"/>
                        <a14:foregroundMark x1="17667" y1="71667" x2="26333" y2="83333"/>
                        <a14:foregroundMark x1="13333" y1="70333" x2="13333" y2="70333"/>
                        <a14:foregroundMark x1="26333" y1="86000" x2="26333" y2="86000"/>
                        <a14:foregroundMark x1="80333" y1="26333" x2="80333" y2="26333"/>
                        <a14:foregroundMark x1="86667" y1="24667" x2="86667" y2="24667"/>
                        <a14:foregroundMark x1="85000" y1="13333" x2="85000" y2="13333"/>
                      </a14:backgroundRemoval>
                    </a14:imgEffect>
                  </a14:imgLayer>
                </a14:imgProps>
              </a:ext>
              <a:ext uri="{28A0092B-C50C-407E-A947-70E740481C1C}">
                <a14:useLocalDpi xmlns:a14="http://schemas.microsoft.com/office/drawing/2010/main" val="0"/>
              </a:ext>
            </a:extLst>
          </a:blip>
          <a:srcRect l="8393" t="8395" r="10628" b="8418"/>
          <a:stretch/>
        </p:blipFill>
        <p:spPr bwMode="auto">
          <a:xfrm>
            <a:off x="5240308" y="2519327"/>
            <a:ext cx="952215" cy="97819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E5E556F2-A5DF-443E-AF16-56605DAC184C}"/>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522" b="93478" l="7500" r="92500">
                        <a14:foregroundMark x1="41250" y1="82609" x2="41250" y2="82609"/>
                        <a14:foregroundMark x1="42500" y1="89130" x2="41250" y2="92391"/>
                        <a14:foregroundMark x1="32000" y1="89130" x2="40000" y2="93478"/>
                        <a14:foregroundMark x1="30000" y1="88043" x2="32000" y2="89130"/>
                        <a14:foregroundMark x1="82500" y1="81522" x2="86250" y2="81522"/>
                        <a14:foregroundMark x1="78750" y1="52174" x2="80000" y2="48913"/>
                        <a14:foregroundMark x1="92500" y1="21739" x2="92500" y2="18478"/>
                        <a14:foregroundMark x1="57500" y1="7609" x2="8750" y2="42391"/>
                        <a14:foregroundMark x1="8750" y1="42391" x2="7500" y2="66304"/>
                        <a14:foregroundMark x1="7500" y1="7609" x2="56250" y2="6522"/>
                        <a14:foregroundMark x1="82082" y1="86957" x2="78750" y2="89130"/>
                        <a14:foregroundMark x1="83749" y1="85870" x2="82082" y2="86957"/>
                        <a14:foregroundMark x1="88750" y1="82609" x2="86142" y2="84310"/>
                        <a14:foregroundMark x1="88751" y1="89130" x2="92500" y2="86957"/>
                        <a14:foregroundMark x1="86876" y1="90217" x2="88751" y2="89130"/>
                        <a14:foregroundMark x1="81250" y1="93478" x2="86876" y2="90217"/>
                        <a14:foregroundMark x1="88750" y1="91304" x2="88750" y2="91304"/>
                        <a14:foregroundMark x1="90000" y1="90217" x2="88750" y2="92391"/>
                        <a14:backgroundMark x1="37500" y1="88043" x2="37500" y2="88043"/>
                        <a14:backgroundMark x1="36250" y1="89130" x2="36250" y2="89130"/>
                        <a14:backgroundMark x1="33750" y1="89130" x2="33750" y2="89130"/>
                        <a14:backgroundMark x1="85000" y1="86957" x2="85000" y2="86957"/>
                        <a14:backgroundMark x1="86250" y1="85870" x2="86250" y2="85870"/>
                        <a14:backgroundMark x1="85000" y1="85870" x2="86250" y2="86957"/>
                        <a14:backgroundMark x1="83750" y1="86957" x2="83750" y2="86957"/>
                        <a14:backgroundMark x1="83750" y1="85870" x2="85000" y2="85870"/>
                        <a14:backgroundMark x1="85000" y1="84783" x2="85000" y2="84783"/>
                        <a14:backgroundMark x1="82500" y1="86957" x2="82500" y2="86957"/>
                        <a14:backgroundMark x1="86250" y1="89130" x2="86250" y2="89130"/>
                        <a14:backgroundMark x1="85000" y1="90217" x2="85000" y2="90217"/>
                      </a14:backgroundRemoval>
                    </a14:imgEffect>
                  </a14:imgLayer>
                </a14:imgProps>
              </a:ext>
            </a:extLst>
          </a:blip>
          <a:stretch>
            <a:fillRect/>
          </a:stretch>
        </p:blipFill>
        <p:spPr>
          <a:xfrm>
            <a:off x="6496898" y="2553096"/>
            <a:ext cx="761908" cy="876194"/>
          </a:xfrm>
          <a:prstGeom prst="rect">
            <a:avLst/>
          </a:prstGeom>
          <a:effectLst>
            <a:outerShdw blurRad="50800" dist="38100" dir="2700000" algn="tl" rotWithShape="0">
              <a:prstClr val="black">
                <a:alpha val="40000"/>
              </a:prstClr>
            </a:outerShdw>
          </a:effectLst>
        </p:spPr>
      </p:pic>
      <p:cxnSp>
        <p:nvCxnSpPr>
          <p:cNvPr id="14" name="Straight Arrow Connector 13">
            <a:extLst>
              <a:ext uri="{FF2B5EF4-FFF2-40B4-BE49-F238E27FC236}">
                <a16:creationId xmlns:a16="http://schemas.microsoft.com/office/drawing/2014/main" id="{D82CBE4D-912D-4942-A18D-643D02F29171}"/>
              </a:ext>
            </a:extLst>
          </p:cNvPr>
          <p:cNvCxnSpPr>
            <a:cxnSpLocks/>
          </p:cNvCxnSpPr>
          <p:nvPr/>
        </p:nvCxnSpPr>
        <p:spPr>
          <a:xfrm>
            <a:off x="4225924" y="3592993"/>
            <a:ext cx="444716" cy="0"/>
          </a:xfrm>
          <a:prstGeom prst="straightConnector1">
            <a:avLst/>
          </a:prstGeom>
          <a:noFill/>
          <a:ln w="38100" cap="flat" cmpd="sng" algn="ctr">
            <a:solidFill>
              <a:schemeClr val="bg1"/>
            </a:solidFill>
            <a:prstDash val="solid"/>
            <a:miter lim="800000"/>
            <a:tailEnd type="triangle"/>
          </a:ln>
          <a:effectLst/>
        </p:spPr>
      </p:cxnSp>
      <p:cxnSp>
        <p:nvCxnSpPr>
          <p:cNvPr id="15" name="Straight Arrow Connector 14">
            <a:extLst>
              <a:ext uri="{FF2B5EF4-FFF2-40B4-BE49-F238E27FC236}">
                <a16:creationId xmlns:a16="http://schemas.microsoft.com/office/drawing/2014/main" id="{0D58AC12-BAFA-40AB-9A05-2F3DFDFE12E7}"/>
              </a:ext>
            </a:extLst>
          </p:cNvPr>
          <p:cNvCxnSpPr>
            <a:cxnSpLocks/>
          </p:cNvCxnSpPr>
          <p:nvPr/>
        </p:nvCxnSpPr>
        <p:spPr>
          <a:xfrm>
            <a:off x="7929748" y="3592993"/>
            <a:ext cx="415741" cy="0"/>
          </a:xfrm>
          <a:prstGeom prst="straightConnector1">
            <a:avLst/>
          </a:prstGeom>
          <a:noFill/>
          <a:ln w="38100" cap="flat" cmpd="sng" algn="ctr">
            <a:solidFill>
              <a:schemeClr val="bg1"/>
            </a:solidFill>
            <a:prstDash val="solid"/>
            <a:miter lim="800000"/>
            <a:tailEnd type="triangle"/>
          </a:ln>
          <a:effectLst/>
        </p:spPr>
      </p:cxnSp>
      <p:grpSp>
        <p:nvGrpSpPr>
          <p:cNvPr id="16" name="Group 15">
            <a:extLst>
              <a:ext uri="{FF2B5EF4-FFF2-40B4-BE49-F238E27FC236}">
                <a16:creationId xmlns:a16="http://schemas.microsoft.com/office/drawing/2014/main" id="{C3500589-C606-4D7A-935E-831782ECC806}"/>
              </a:ext>
            </a:extLst>
          </p:cNvPr>
          <p:cNvGrpSpPr/>
          <p:nvPr/>
        </p:nvGrpSpPr>
        <p:grpSpPr>
          <a:xfrm>
            <a:off x="4751977" y="3855450"/>
            <a:ext cx="3057444" cy="1440554"/>
            <a:chOff x="4750389" y="3750675"/>
            <a:chExt cx="3057444" cy="1440554"/>
          </a:xfrm>
        </p:grpSpPr>
        <p:sp>
          <p:nvSpPr>
            <p:cNvPr id="18" name="Rectangle 17">
              <a:extLst>
                <a:ext uri="{FF2B5EF4-FFF2-40B4-BE49-F238E27FC236}">
                  <a16:creationId xmlns:a16="http://schemas.microsoft.com/office/drawing/2014/main" id="{D7601291-2F5E-4E20-9D58-1EB317E528E9}"/>
                </a:ext>
              </a:extLst>
            </p:cNvPr>
            <p:cNvSpPr/>
            <p:nvPr/>
          </p:nvSpPr>
          <p:spPr>
            <a:xfrm>
              <a:off x="4750389" y="3750675"/>
              <a:ext cx="3057444" cy="1440554"/>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defTabSz="412667" hangingPunct="0"/>
              <a:r>
                <a:rPr lang="en-AU" sz="1200" kern="0">
                  <a:solidFill>
                    <a:srgbClr val="243A5E">
                      <a:lumMod val="50000"/>
                    </a:srgbClr>
                  </a:solidFill>
                  <a:latin typeface="Segoe UI" panose="020B0502040204020203" pitchFamily="34" charset="0"/>
                  <a:cs typeface="Segoe UI" panose="020B0502040204020203" pitchFamily="34" charset="0"/>
                  <a:sym typeface="Segoe UI Semibold"/>
                </a:rPr>
                <a:t>Device twin document</a:t>
              </a:r>
            </a:p>
          </p:txBody>
        </p:sp>
        <p:sp>
          <p:nvSpPr>
            <p:cNvPr id="19" name="TextBox 18">
              <a:extLst>
                <a:ext uri="{FF2B5EF4-FFF2-40B4-BE49-F238E27FC236}">
                  <a16:creationId xmlns:a16="http://schemas.microsoft.com/office/drawing/2014/main" id="{D3B371B0-4AD8-4CBD-B391-FB552ADB60C0}"/>
                </a:ext>
              </a:extLst>
            </p:cNvPr>
            <p:cNvSpPr txBox="1"/>
            <p:nvPr/>
          </p:nvSpPr>
          <p:spPr>
            <a:xfrm>
              <a:off x="5069343" y="3966602"/>
              <a:ext cx="2149884" cy="12105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defTabSz="412667" hangingPunct="0"/>
              <a:r>
                <a:rPr lang="en-AU" sz="1200" kern="0" spc="-112" dirty="0">
                  <a:solidFill>
                    <a:srgbClr val="A31515"/>
                  </a:solidFill>
                  <a:latin typeface="Consolas" panose="020B0609020204030204" pitchFamily="49" charset="0"/>
                  <a:cs typeface="Segoe UI Semibold"/>
                  <a:sym typeface="Segoe UI Semibold"/>
                </a:rPr>
                <a:t>"tags"</a:t>
              </a:r>
              <a:r>
                <a:rPr lang="en-AU" sz="1200" kern="0" spc="-112" dirty="0">
                  <a:solidFill>
                    <a:srgbClr val="000000"/>
                  </a:solidFill>
                  <a:latin typeface="Consolas" panose="020B0609020204030204" pitchFamily="49" charset="0"/>
                  <a:cs typeface="Segoe UI Semibold"/>
                  <a:sym typeface="Segoe UI Semibold"/>
                </a:rPr>
                <a:t>: {</a:t>
              </a:r>
            </a:p>
            <a:p>
              <a:pPr defTabSz="412667" hangingPunct="0"/>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A31515"/>
                  </a:solidFill>
                  <a:latin typeface="Consolas" panose="020B0609020204030204" pitchFamily="49" charset="0"/>
                  <a:cs typeface="Segoe UI Semibold"/>
                  <a:sym typeface="Segoe UI Semibold"/>
                </a:rPr>
                <a:t>"</a:t>
              </a:r>
              <a:r>
                <a:rPr lang="en-AU" sz="1200" kern="0" spc="-112" dirty="0" err="1">
                  <a:solidFill>
                    <a:srgbClr val="A31515"/>
                  </a:solidFill>
                  <a:latin typeface="Consolas" panose="020B0609020204030204" pitchFamily="49" charset="0"/>
                  <a:cs typeface="Segoe UI Semibold"/>
                  <a:sym typeface="Segoe UI Semibold"/>
                </a:rPr>
                <a:t>deploymentLocation</a:t>
              </a:r>
              <a:r>
                <a:rPr lang="en-AU" sz="1200" kern="0" spc="-112" dirty="0">
                  <a:solidFill>
                    <a:srgbClr val="A31515"/>
                  </a:solidFill>
                  <a:latin typeface="Consolas" panose="020B0609020204030204" pitchFamily="49" charset="0"/>
                  <a:cs typeface="Segoe UI Semibold"/>
                  <a:sym typeface="Segoe UI Semibold"/>
                </a:rPr>
                <a:t>"</a:t>
              </a:r>
              <a:r>
                <a:rPr lang="en-AU" sz="1200" kern="0" spc="-112" dirty="0">
                  <a:solidFill>
                    <a:srgbClr val="000000"/>
                  </a:solidFill>
                  <a:latin typeface="Consolas" panose="020B0609020204030204" pitchFamily="49" charset="0"/>
                  <a:cs typeface="Segoe UI Semibold"/>
                  <a:sym typeface="Segoe UI Semibold"/>
                </a:rPr>
                <a:t>: {</a:t>
              </a:r>
            </a:p>
            <a:p>
              <a:pPr defTabSz="412667" hangingPunct="0"/>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A31515"/>
                  </a:solidFill>
                  <a:latin typeface="Consolas" panose="020B0609020204030204" pitchFamily="49" charset="0"/>
                  <a:cs typeface="Segoe UI Semibold"/>
                  <a:sym typeface="Segoe UI Semibold"/>
                </a:rPr>
                <a:t>"name"</a:t>
              </a:r>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0451A5"/>
                  </a:solidFill>
                  <a:latin typeface="Consolas" panose="020B0609020204030204" pitchFamily="49" charset="0"/>
                  <a:cs typeface="Segoe UI Semibold"/>
                  <a:sym typeface="Segoe UI Semibold"/>
                </a:rPr>
                <a:t>"Sydney Factory"</a:t>
              </a:r>
              <a:r>
                <a:rPr lang="en-AU" sz="1200" kern="0" spc="-112" dirty="0">
                  <a:solidFill>
                    <a:srgbClr val="000000"/>
                  </a:solidFill>
                  <a:latin typeface="Consolas" panose="020B0609020204030204" pitchFamily="49" charset="0"/>
                  <a:cs typeface="Segoe UI Semibold"/>
                  <a:sym typeface="Segoe UI Semibold"/>
                </a:rPr>
                <a:t>,</a:t>
              </a:r>
            </a:p>
            <a:p>
              <a:pPr defTabSz="412667" hangingPunct="0"/>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A31515"/>
                  </a:solidFill>
                  <a:latin typeface="Consolas" panose="020B0609020204030204" pitchFamily="49" charset="0"/>
                  <a:cs typeface="Segoe UI Semibold"/>
                  <a:sym typeface="Segoe UI Semibold"/>
                </a:rPr>
                <a:t>"longitude"</a:t>
              </a:r>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09885A"/>
                  </a:solidFill>
                  <a:latin typeface="Consolas" panose="020B0609020204030204" pitchFamily="49" charset="0"/>
                  <a:cs typeface="Segoe UI Semibold"/>
                  <a:sym typeface="Segoe UI Semibold"/>
                </a:rPr>
                <a:t>151.2152</a:t>
              </a:r>
              <a:r>
                <a:rPr lang="en-AU" sz="1200" kern="0" spc="-112" dirty="0">
                  <a:solidFill>
                    <a:srgbClr val="000000"/>
                  </a:solidFill>
                  <a:latin typeface="Consolas" panose="020B0609020204030204" pitchFamily="49" charset="0"/>
                  <a:cs typeface="Segoe UI Semibold"/>
                  <a:sym typeface="Segoe UI Semibold"/>
                </a:rPr>
                <a:t>,</a:t>
              </a:r>
            </a:p>
            <a:p>
              <a:pPr defTabSz="412667" hangingPunct="0"/>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A31515"/>
                  </a:solidFill>
                  <a:latin typeface="Consolas" panose="020B0609020204030204" pitchFamily="49" charset="0"/>
                  <a:cs typeface="Segoe UI Semibold"/>
                  <a:sym typeface="Segoe UI Semibold"/>
                </a:rPr>
                <a:t>"latitude"</a:t>
              </a:r>
              <a:r>
                <a:rPr lang="en-AU" sz="1200" kern="0" spc="-112" dirty="0">
                  <a:solidFill>
                    <a:srgbClr val="000000"/>
                  </a:solidFill>
                  <a:latin typeface="Consolas" panose="020B0609020204030204" pitchFamily="49" charset="0"/>
                  <a:cs typeface="Segoe UI Semibold"/>
                  <a:sym typeface="Segoe UI Semibold"/>
                </a:rPr>
                <a:t>: </a:t>
              </a:r>
              <a:r>
                <a:rPr lang="en-AU" sz="1200" kern="0" spc="-112" dirty="0">
                  <a:solidFill>
                    <a:srgbClr val="09885A"/>
                  </a:solidFill>
                  <a:latin typeface="Consolas" panose="020B0609020204030204" pitchFamily="49" charset="0"/>
                  <a:cs typeface="Segoe UI Semibold"/>
                  <a:sym typeface="Segoe UI Semibold"/>
                </a:rPr>
                <a:t>-33.85671</a:t>
              </a:r>
              <a:r>
                <a:rPr lang="en-AU" sz="1200" kern="0" spc="-112" dirty="0">
                  <a:solidFill>
                    <a:srgbClr val="000000"/>
                  </a:solidFill>
                  <a:latin typeface="Consolas" panose="020B0609020204030204" pitchFamily="49" charset="0"/>
                  <a:cs typeface="Segoe UI Semibold"/>
                  <a:sym typeface="Segoe UI Semibold"/>
                </a:rPr>
                <a:t>,</a:t>
              </a:r>
            </a:p>
            <a:p>
              <a:pPr defTabSz="412667" hangingPunct="0"/>
              <a:r>
                <a:rPr lang="en-AU" sz="1200" kern="0" spc="-112" dirty="0">
                  <a:solidFill>
                    <a:srgbClr val="000000"/>
                  </a:solidFill>
                  <a:latin typeface="Consolas" panose="020B0609020204030204" pitchFamily="49" charset="0"/>
                  <a:cs typeface="Segoe UI Semibold"/>
                  <a:sym typeface="Segoe UI Semibold"/>
                </a:rPr>
                <a:t>  }</a:t>
              </a:r>
              <a:endParaRPr lang="en-AU" sz="1400" kern="0" spc="-224" dirty="0">
                <a:solidFill>
                  <a:srgbClr val="FFFFFF"/>
                </a:solidFill>
                <a:latin typeface="Segoe UI Semibold"/>
                <a:cs typeface="Segoe UI Semibold"/>
                <a:sym typeface="Segoe UI Semibold"/>
              </a:endParaRPr>
            </a:p>
          </p:txBody>
        </p:sp>
      </p:grpSp>
    </p:spTree>
    <p:extLst>
      <p:ext uri="{BB962C8B-B14F-4D97-AF65-F5344CB8AC3E}">
        <p14:creationId xmlns:p14="http://schemas.microsoft.com/office/powerpoint/2010/main" val="1920186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F214C-5F0E-4D13-AD16-73079773BDEF}"/>
              </a:ext>
            </a:extLst>
          </p:cNvPr>
          <p:cNvSpPr>
            <a:spLocks noGrp="1"/>
          </p:cNvSpPr>
          <p:nvPr>
            <p:ph type="title"/>
          </p:nvPr>
        </p:nvSpPr>
        <p:spPr/>
        <p:txBody>
          <a:bodyPr/>
          <a:lstStyle/>
          <a:p>
            <a:r>
              <a:rPr lang="en-US" sz="3600" dirty="0">
                <a:solidFill>
                  <a:schemeClr val="accent1"/>
                </a:solidFill>
                <a:latin typeface="Segoe UI Semibold (Headings)"/>
              </a:rPr>
              <a:t>Device Twin</a:t>
            </a:r>
          </a:p>
        </p:txBody>
      </p:sp>
      <p:sp>
        <p:nvSpPr>
          <p:cNvPr id="5" name="Text Placeholder 4">
            <a:extLst>
              <a:ext uri="{FF2B5EF4-FFF2-40B4-BE49-F238E27FC236}">
                <a16:creationId xmlns:a16="http://schemas.microsoft.com/office/drawing/2014/main" id="{829D9567-1515-4CC3-8A53-008B864304B9}"/>
              </a:ext>
            </a:extLst>
          </p:cNvPr>
          <p:cNvSpPr txBox="1">
            <a:spLocks/>
          </p:cNvSpPr>
          <p:nvPr/>
        </p:nvSpPr>
        <p:spPr>
          <a:xfrm>
            <a:off x="261275" y="867884"/>
            <a:ext cx="5323212" cy="2899229"/>
          </a:xfrm>
          <a:prstGeom prst="rect">
            <a:avLst/>
          </a:prstGeom>
        </p:spPr>
        <p:txBody>
          <a:bodyPr vert="horz" wrap="square" lIns="146284" tIns="91427" rIns="146284" bIns="91427" rtlCol="0">
            <a:spAutoFit/>
          </a:bodyPr>
          <a:lstStyle>
            <a:lvl1pPr marL="0"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3676" kern="1200" spc="0" baseline="0">
                <a:gradFill>
                  <a:gsLst>
                    <a:gs pos="1250">
                      <a:schemeClr val="tx2"/>
                    </a:gs>
                    <a:gs pos="99000">
                      <a:schemeClr val="tx2"/>
                    </a:gs>
                  </a:gsLst>
                  <a:lin ang="5400000" scaled="0"/>
                </a:gradFill>
                <a:latin typeface="+mj-lt"/>
                <a:ea typeface="+mn-ea"/>
                <a:cs typeface="+mn-cs"/>
              </a:defRPr>
            </a:lvl1pPr>
            <a:lvl2pPr marL="0" marR="0" indent="0" algn="l" defTabSz="857219" rtl="0" eaLnBrk="1" fontAlgn="auto" latinLnBrk="0" hangingPunct="1">
              <a:lnSpc>
                <a:spcPct val="90000"/>
              </a:lnSpc>
              <a:spcBef>
                <a:spcPct val="20000"/>
              </a:spcBef>
              <a:spcAft>
                <a:spcPts val="0"/>
              </a:spcAft>
              <a:buClrTx/>
              <a:buSzPct val="90000"/>
              <a:buFontTx/>
              <a:buNone/>
              <a:tabLst/>
              <a:defRPr sz="1838" kern="1200" spc="0" baseline="0">
                <a:gradFill>
                  <a:gsLst>
                    <a:gs pos="1250">
                      <a:schemeClr val="tx1"/>
                    </a:gs>
                    <a:gs pos="100000">
                      <a:schemeClr val="tx1"/>
                    </a:gs>
                  </a:gsLst>
                  <a:lin ang="5400000" scaled="0"/>
                </a:gradFill>
                <a:latin typeface="+mn-lt"/>
                <a:ea typeface="+mn-ea"/>
                <a:cs typeface="+mn-cs"/>
              </a:defRPr>
            </a:lvl2pPr>
            <a:lvl3pPr marL="210091"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838" kern="1200" spc="0" baseline="0">
                <a:gradFill>
                  <a:gsLst>
                    <a:gs pos="1250">
                      <a:schemeClr val="tx1"/>
                    </a:gs>
                    <a:gs pos="100000">
                      <a:schemeClr val="tx1"/>
                    </a:gs>
                  </a:gsLst>
                  <a:lin ang="5400000" scaled="0"/>
                </a:gradFill>
                <a:latin typeface="+mn-lt"/>
                <a:ea typeface="+mn-ea"/>
                <a:cs typeface="+mn-cs"/>
              </a:defRPr>
            </a:lvl3pPr>
            <a:lvl4pPr marL="420181"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655" kern="1200" spc="0" baseline="0">
                <a:gradFill>
                  <a:gsLst>
                    <a:gs pos="1250">
                      <a:schemeClr val="tx1"/>
                    </a:gs>
                    <a:gs pos="100000">
                      <a:schemeClr val="tx1"/>
                    </a:gs>
                  </a:gsLst>
                  <a:lin ang="5400000" scaled="0"/>
                </a:gradFill>
                <a:latin typeface="+mn-lt"/>
                <a:ea typeface="+mn-ea"/>
                <a:cs typeface="+mn-cs"/>
              </a:defRPr>
            </a:lvl4pPr>
            <a:lvl5pPr marL="630272"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655" kern="1200" spc="0" baseline="0">
                <a:gradFill>
                  <a:gsLst>
                    <a:gs pos="1250">
                      <a:schemeClr val="tx1"/>
                    </a:gs>
                    <a:gs pos="100000">
                      <a:schemeClr val="tx1"/>
                    </a:gs>
                  </a:gsLst>
                  <a:lin ang="5400000" scaled="0"/>
                </a:gradFill>
                <a:latin typeface="+mn-lt"/>
                <a:ea typeface="+mn-ea"/>
                <a:cs typeface="+mn-cs"/>
              </a:defRPr>
            </a:lvl5pPr>
            <a:lvl6pPr marL="235735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96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457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318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9pPr>
          </a:lstStyle>
          <a:p>
            <a:pPr defTabSz="857055"/>
            <a:r>
              <a:rPr lang="en-US" sz="1400" b="1" dirty="0">
                <a:gradFill>
                  <a:gsLst>
                    <a:gs pos="1250">
                      <a:srgbClr val="6DC2E9"/>
                    </a:gs>
                    <a:gs pos="99000">
                      <a:srgbClr val="6DC2E9"/>
                    </a:gs>
                  </a:gsLst>
                  <a:lin ang="5400000" scaled="0"/>
                </a:gradFill>
                <a:latin typeface="+mn-lt"/>
              </a:rPr>
              <a:t>Device Twin</a:t>
            </a:r>
          </a:p>
          <a:p>
            <a:pPr marL="457112" lvl="1" indent="-457112" defTabSz="857055">
              <a:buFont typeface="Arial" panose="020B0604020202020204" pitchFamily="34" charset="0"/>
              <a:buChar char="•"/>
            </a:pPr>
            <a:r>
              <a:rPr lang="en-US" sz="1400" dirty="0">
                <a:solidFill>
                  <a:srgbClr val="002050"/>
                </a:solidFill>
                <a:latin typeface="Segoe UI"/>
              </a:rPr>
              <a:t>Bi-directional device&lt;-&gt;hub communication channel</a:t>
            </a:r>
          </a:p>
          <a:p>
            <a:pPr marL="457112" lvl="1" indent="-457112" defTabSz="857055">
              <a:buFont typeface="Arial" panose="020B0604020202020204" pitchFamily="34" charset="0"/>
              <a:buChar char="•"/>
            </a:pPr>
            <a:r>
              <a:rPr lang="en-US" sz="1400" dirty="0">
                <a:solidFill>
                  <a:srgbClr val="002050"/>
                </a:solidFill>
                <a:latin typeface="Segoe UI"/>
              </a:rPr>
              <a:t>Based on per-device (per module) json documents</a:t>
            </a:r>
          </a:p>
          <a:p>
            <a:pPr marL="457112" lvl="1" indent="-457112" defTabSz="857055">
              <a:buFont typeface="Arial" panose="020B0604020202020204" pitchFamily="34" charset="0"/>
              <a:buChar char="•"/>
            </a:pPr>
            <a:r>
              <a:rPr lang="en-US" sz="1400" dirty="0">
                <a:solidFill>
                  <a:srgbClr val="002050"/>
                </a:solidFill>
                <a:latin typeface="Segoe UI"/>
              </a:rPr>
              <a:t>Used to store configuration and control-plane state</a:t>
            </a:r>
          </a:p>
          <a:p>
            <a:pPr marL="457112" lvl="1" indent="-457112" defTabSz="857055">
              <a:buFont typeface="Arial" panose="020B0604020202020204" pitchFamily="34" charset="0"/>
              <a:buChar char="•"/>
            </a:pPr>
            <a:r>
              <a:rPr lang="en-US" sz="1400" dirty="0">
                <a:solidFill>
                  <a:srgbClr val="002050"/>
                </a:solidFill>
                <a:latin typeface="Segoe UI"/>
              </a:rPr>
              <a:t>Supports queries</a:t>
            </a:r>
          </a:p>
          <a:p>
            <a:pPr marL="457112" lvl="1" indent="-457112" defTabSz="857055">
              <a:buFont typeface="Arial" panose="020B0604020202020204" pitchFamily="34" charset="0"/>
              <a:buChar char="•"/>
            </a:pPr>
            <a:endParaRPr lang="en-US" sz="1400" dirty="0">
              <a:gradFill>
                <a:gsLst>
                  <a:gs pos="1250">
                    <a:srgbClr val="FFFFFF"/>
                  </a:gs>
                  <a:gs pos="100000">
                    <a:srgbClr val="FFFFFF"/>
                  </a:gs>
                </a:gsLst>
                <a:lin ang="5400000" scaled="0"/>
              </a:gradFill>
              <a:latin typeface="Segoe UI"/>
            </a:endParaRPr>
          </a:p>
          <a:p>
            <a:pPr defTabSz="857055"/>
            <a:r>
              <a:rPr lang="en-US" sz="1400" b="1" dirty="0">
                <a:gradFill>
                  <a:gsLst>
                    <a:gs pos="1250">
                      <a:srgbClr val="6DC2E9"/>
                    </a:gs>
                    <a:gs pos="99000">
                      <a:srgbClr val="6DC2E9"/>
                    </a:gs>
                  </a:gsLst>
                  <a:lin ang="5400000" scaled="0"/>
                </a:gradFill>
                <a:latin typeface="+mn-lt"/>
              </a:rPr>
              <a:t>Device Twin sections</a:t>
            </a:r>
          </a:p>
          <a:p>
            <a:pPr marL="457112" lvl="1" indent="-457112" defTabSz="857055">
              <a:buFont typeface="Arial" panose="020B0604020202020204" pitchFamily="34" charset="0"/>
              <a:buChar char="•"/>
            </a:pPr>
            <a:r>
              <a:rPr lang="en-US" sz="1400" b="1" dirty="0">
                <a:solidFill>
                  <a:srgbClr val="002050"/>
                </a:solidFill>
                <a:latin typeface="Segoe UI"/>
              </a:rPr>
              <a:t>Tags: </a:t>
            </a:r>
            <a:r>
              <a:rPr lang="en-US" sz="1400" dirty="0">
                <a:solidFill>
                  <a:srgbClr val="002050"/>
                </a:solidFill>
                <a:latin typeface="Segoe UI"/>
              </a:rPr>
              <a:t>set by service and not viewable by device</a:t>
            </a:r>
          </a:p>
          <a:p>
            <a:pPr marL="457112" lvl="1" indent="-457112" defTabSz="857055">
              <a:buFont typeface="Arial" panose="020B0604020202020204" pitchFamily="34" charset="0"/>
              <a:buChar char="•"/>
            </a:pPr>
            <a:r>
              <a:rPr lang="en-US" sz="1400" b="1" dirty="0">
                <a:solidFill>
                  <a:srgbClr val="002050"/>
                </a:solidFill>
                <a:latin typeface="Segoe UI"/>
              </a:rPr>
              <a:t>Desired properties:</a:t>
            </a:r>
            <a:r>
              <a:rPr lang="en-US" sz="1400" dirty="0">
                <a:solidFill>
                  <a:srgbClr val="002050"/>
                </a:solidFill>
                <a:latin typeface="Segoe UI"/>
              </a:rPr>
              <a:t> set by service and delivered</a:t>
            </a:r>
            <a:br>
              <a:rPr lang="en-US" sz="1400" dirty="0">
                <a:solidFill>
                  <a:srgbClr val="002050"/>
                </a:solidFill>
                <a:latin typeface="Segoe UI"/>
              </a:rPr>
            </a:br>
            <a:r>
              <a:rPr lang="en-US" sz="1400" dirty="0">
                <a:solidFill>
                  <a:srgbClr val="002050"/>
                </a:solidFill>
                <a:latin typeface="Segoe UI"/>
              </a:rPr>
              <a:t>to device</a:t>
            </a:r>
          </a:p>
          <a:p>
            <a:pPr marL="457112" lvl="1" indent="-457112" defTabSz="857055">
              <a:buFont typeface="Arial" panose="020B0604020202020204" pitchFamily="34" charset="0"/>
              <a:buChar char="•"/>
            </a:pPr>
            <a:r>
              <a:rPr lang="en-US" sz="1400" b="1" dirty="0">
                <a:solidFill>
                  <a:srgbClr val="002050"/>
                </a:solidFill>
                <a:latin typeface="Segoe UI"/>
              </a:rPr>
              <a:t>Reported properties:</a:t>
            </a:r>
            <a:r>
              <a:rPr lang="en-US" sz="1400" dirty="0">
                <a:solidFill>
                  <a:srgbClr val="002050"/>
                </a:solidFill>
                <a:latin typeface="Segoe UI"/>
              </a:rPr>
              <a:t> set by devices and delivered</a:t>
            </a:r>
            <a:br>
              <a:rPr lang="en-US" sz="1400" dirty="0">
                <a:solidFill>
                  <a:srgbClr val="002050"/>
                </a:solidFill>
                <a:latin typeface="Segoe UI"/>
              </a:rPr>
            </a:br>
            <a:r>
              <a:rPr lang="en-US" sz="1400" dirty="0">
                <a:solidFill>
                  <a:srgbClr val="002050"/>
                </a:solidFill>
                <a:latin typeface="Segoe UI"/>
              </a:rPr>
              <a:t>to service</a:t>
            </a:r>
          </a:p>
        </p:txBody>
      </p:sp>
      <p:pic>
        <p:nvPicPr>
          <p:cNvPr id="68" name="Picture 67">
            <a:extLst>
              <a:ext uri="{FF2B5EF4-FFF2-40B4-BE49-F238E27FC236}">
                <a16:creationId xmlns:a16="http://schemas.microsoft.com/office/drawing/2014/main" id="{69BA8F13-2821-4291-B56F-F6939B44730F}"/>
              </a:ext>
            </a:extLst>
          </p:cNvPr>
          <p:cNvPicPr>
            <a:picLocks noChangeAspect="1"/>
          </p:cNvPicPr>
          <p:nvPr/>
        </p:nvPicPr>
        <p:blipFill>
          <a:blip r:embed="rId3"/>
          <a:stretch>
            <a:fillRect/>
          </a:stretch>
        </p:blipFill>
        <p:spPr>
          <a:xfrm>
            <a:off x="91411" y="3791252"/>
            <a:ext cx="5680149" cy="3008904"/>
          </a:xfrm>
          <a:prstGeom prst="rect">
            <a:avLst/>
          </a:prstGeom>
        </p:spPr>
      </p:pic>
      <p:sp>
        <p:nvSpPr>
          <p:cNvPr id="76" name="TextBox 75">
            <a:extLst>
              <a:ext uri="{FF2B5EF4-FFF2-40B4-BE49-F238E27FC236}">
                <a16:creationId xmlns:a16="http://schemas.microsoft.com/office/drawing/2014/main" id="{5A391BCF-0F23-4414-A725-4A9D130320F6}"/>
              </a:ext>
            </a:extLst>
          </p:cNvPr>
          <p:cNvSpPr txBox="1"/>
          <p:nvPr/>
        </p:nvSpPr>
        <p:spPr>
          <a:xfrm>
            <a:off x="8524667" y="60276"/>
            <a:ext cx="3475944" cy="6771084"/>
          </a:xfrm>
          <a:prstGeom prst="rect">
            <a:avLst/>
          </a:prstGeom>
          <a:solidFill>
            <a:schemeClr val="tx2">
              <a:lumMod val="20000"/>
              <a:lumOff val="80000"/>
            </a:schemeClr>
          </a:solidFill>
          <a:effectLst>
            <a:outerShdw blurRad="50800" dist="38100" algn="l" rotWithShape="0">
              <a:prstClr val="black">
                <a:alpha val="40000"/>
              </a:prstClr>
            </a:outerShdw>
          </a:effectLst>
        </p:spPr>
        <p:txBody>
          <a:bodyPr wrap="square" rtlCol="0">
            <a:spAutoFit/>
          </a:bodyPr>
          <a:lstStyle/>
          <a:p>
            <a:pPr defTabSz="412667" hangingPunct="0"/>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deviceId</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a:t>
            </a:r>
            <a:r>
              <a:rPr lang="en-US" sz="1400" kern="0" spc="-112" dirty="0" err="1">
                <a:solidFill>
                  <a:srgbClr val="000000"/>
                </a:solidFill>
                <a:latin typeface="Consolas" panose="020B0609020204030204" pitchFamily="49" charset="0"/>
                <a:cs typeface="Segoe UI" panose="020B0502040204020203" pitchFamily="34" charset="0"/>
              </a:rPr>
              <a:t>devA</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authenticationType</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a:t>
            </a:r>
            <a:r>
              <a:rPr lang="en-US" sz="1400" kern="0" spc="-112" dirty="0" err="1">
                <a:solidFill>
                  <a:srgbClr val="000000"/>
                </a:solidFill>
                <a:latin typeface="Consolas" panose="020B0609020204030204" pitchFamily="49" charset="0"/>
                <a:cs typeface="Segoe UI" panose="020B0502040204020203" pitchFamily="34" charset="0"/>
              </a:rPr>
              <a:t>sas</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 "version": </a:t>
            </a:r>
            <a:r>
              <a:rPr lang="en-US" sz="1400" kern="0" spc="-112" dirty="0">
                <a:solidFill>
                  <a:srgbClr val="000000"/>
                </a:solidFill>
                <a:latin typeface="Consolas" panose="020B0609020204030204" pitchFamily="49" charset="0"/>
                <a:cs typeface="Segoe UI" panose="020B0502040204020203" pitchFamily="34" charset="0"/>
              </a:rPr>
              <a:t>2,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AU" sz="1400" kern="0" spc="-112" dirty="0">
                <a:solidFill>
                  <a:srgbClr val="A31515"/>
                </a:solidFill>
                <a:latin typeface="Consolas" panose="020B0609020204030204" pitchFamily="49" charset="0"/>
                <a:cs typeface="Segoe UI Semibold"/>
                <a:sym typeface="Segoe UI Semibold"/>
              </a:rPr>
              <a:t>"tags"</a:t>
            </a:r>
            <a:r>
              <a:rPr lang="en-AU" sz="1400" kern="0" spc="-112" dirty="0">
                <a:solidFill>
                  <a:srgbClr val="000000"/>
                </a:solidFill>
                <a:latin typeface="Consolas" panose="020B0609020204030204" pitchFamily="49" charset="0"/>
                <a:cs typeface="Segoe UI Semibold"/>
                <a:sym typeface="Segoe UI Semibold"/>
              </a:rPr>
              <a:t>: {</a:t>
            </a:r>
          </a:p>
          <a:p>
            <a:pPr defTabSz="412667" hangingPunct="0"/>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rgbClr val="A31515"/>
                </a:solidFill>
                <a:latin typeface="Consolas" panose="020B0609020204030204" pitchFamily="49" charset="0"/>
                <a:cs typeface="Segoe UI Semibold"/>
                <a:sym typeface="Segoe UI Semibold"/>
              </a:rPr>
              <a:t>"</a:t>
            </a:r>
            <a:r>
              <a:rPr lang="en-AU" sz="1400" kern="0" spc="-112" dirty="0" err="1">
                <a:solidFill>
                  <a:srgbClr val="A31515"/>
                </a:solidFill>
                <a:latin typeface="Consolas" panose="020B0609020204030204" pitchFamily="49" charset="0"/>
                <a:cs typeface="Segoe UI Semibold"/>
                <a:sym typeface="Segoe UI Semibold"/>
              </a:rPr>
              <a:t>deploymentLocation</a:t>
            </a:r>
            <a:r>
              <a:rPr lang="en-AU" sz="1400" kern="0" spc="-112" dirty="0">
                <a:solidFill>
                  <a:srgbClr val="A31515"/>
                </a:solidFill>
                <a:latin typeface="Consolas" panose="020B0609020204030204" pitchFamily="49" charset="0"/>
                <a:cs typeface="Segoe UI Semibold"/>
                <a:sym typeface="Segoe UI Semibold"/>
              </a:rPr>
              <a:t>"</a:t>
            </a:r>
            <a:r>
              <a:rPr lang="en-AU" sz="1400" kern="0" spc="-112" dirty="0">
                <a:solidFill>
                  <a:srgbClr val="000000"/>
                </a:solidFill>
                <a:latin typeface="Consolas" panose="020B0609020204030204" pitchFamily="49" charset="0"/>
                <a:cs typeface="Segoe UI Semibold"/>
                <a:sym typeface="Segoe UI Semibold"/>
              </a:rPr>
              <a:t>: {</a:t>
            </a:r>
          </a:p>
          <a:p>
            <a:pPr defTabSz="412667" hangingPunct="0"/>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rgbClr val="A31515"/>
                </a:solidFill>
                <a:latin typeface="Consolas" panose="020B0609020204030204" pitchFamily="49" charset="0"/>
                <a:cs typeface="Segoe UI Semibold"/>
                <a:sym typeface="Segoe UI Semibold"/>
              </a:rPr>
              <a:t>"name"</a:t>
            </a:r>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chemeClr val="bg1">
                    <a:lumMod val="50000"/>
                  </a:schemeClr>
                </a:solidFill>
                <a:latin typeface="Consolas" panose="020B0609020204030204" pitchFamily="49" charset="0"/>
                <a:cs typeface="Segoe UI Semibold"/>
                <a:sym typeface="Segoe UI Semibold"/>
              </a:rPr>
              <a:t>"Sydney Factory",</a:t>
            </a:r>
          </a:p>
          <a:p>
            <a:pPr defTabSz="412667" hangingPunct="0"/>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rgbClr val="A31515"/>
                </a:solidFill>
                <a:latin typeface="Consolas" panose="020B0609020204030204" pitchFamily="49" charset="0"/>
                <a:cs typeface="Segoe UI Semibold"/>
                <a:sym typeface="Segoe UI Semibold"/>
              </a:rPr>
              <a:t>"longitude"</a:t>
            </a:r>
            <a:r>
              <a:rPr lang="en-AU" sz="1400" kern="0" spc="-112" dirty="0">
                <a:solidFill>
                  <a:srgbClr val="000000"/>
                </a:solidFill>
                <a:latin typeface="Consolas" panose="020B0609020204030204" pitchFamily="49" charset="0"/>
                <a:cs typeface="Segoe UI Semibold"/>
                <a:sym typeface="Segoe UI Semibold"/>
              </a:rPr>
              <a:t>:</a:t>
            </a:r>
            <a:r>
              <a:rPr lang="en-AU" sz="1400" kern="0" spc="-112" dirty="0">
                <a:solidFill>
                  <a:schemeClr val="bg1">
                    <a:lumMod val="50000"/>
                  </a:schemeClr>
                </a:solidFill>
                <a:latin typeface="Consolas" panose="020B0609020204030204" pitchFamily="49" charset="0"/>
                <a:cs typeface="Segoe UI Semibold"/>
                <a:sym typeface="Segoe UI Semibold"/>
              </a:rPr>
              <a:t> 151.2152,</a:t>
            </a:r>
          </a:p>
          <a:p>
            <a:pPr defTabSz="412667" hangingPunct="0"/>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rgbClr val="A31515"/>
                </a:solidFill>
                <a:latin typeface="Consolas" panose="020B0609020204030204" pitchFamily="49" charset="0"/>
                <a:cs typeface="Segoe UI Semibold"/>
                <a:sym typeface="Segoe UI Semibold"/>
              </a:rPr>
              <a:t>"latitude"</a:t>
            </a:r>
            <a:r>
              <a:rPr lang="en-AU" sz="1400" kern="0" spc="-112" dirty="0">
                <a:solidFill>
                  <a:srgbClr val="000000"/>
                </a:solidFill>
                <a:latin typeface="Consolas" panose="020B0609020204030204" pitchFamily="49" charset="0"/>
                <a:cs typeface="Segoe UI Semibold"/>
                <a:sym typeface="Segoe UI Semibold"/>
              </a:rPr>
              <a:t>: </a:t>
            </a:r>
            <a:r>
              <a:rPr lang="en-AU" sz="1400" kern="0" spc="-112" dirty="0">
                <a:solidFill>
                  <a:schemeClr val="bg1">
                    <a:lumMod val="50000"/>
                  </a:schemeClr>
                </a:solidFill>
                <a:latin typeface="Consolas" panose="020B0609020204030204" pitchFamily="49" charset="0"/>
                <a:cs typeface="Segoe UI Semibold"/>
                <a:sym typeface="Segoe UI Semibold"/>
              </a:rPr>
              <a:t>-33.85671,</a:t>
            </a:r>
          </a:p>
          <a:p>
            <a:pPr defTabSz="412667" hangingPunct="0"/>
            <a:r>
              <a:rPr lang="en-AU" sz="1400" kern="0" spc="-112" dirty="0">
                <a:solidFill>
                  <a:srgbClr val="000000"/>
                </a:solidFill>
                <a:latin typeface="Consolas" panose="020B0609020204030204" pitchFamily="49" charset="0"/>
                <a:cs typeface="Segoe UI Semibold"/>
                <a:sym typeface="Segoe UI Semibold"/>
              </a:rPr>
              <a:t>  }</a:t>
            </a:r>
            <a:endParaRPr lang="en-AU" sz="1600" kern="0" spc="-224" dirty="0">
              <a:solidFill>
                <a:srgbClr val="FFFFFF"/>
              </a:solidFill>
              <a:latin typeface="Segoe UI Semibold"/>
              <a:cs typeface="Segoe UI Semibold"/>
              <a:sym typeface="Segoe UI Semibold"/>
            </a:endParaRP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properties":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desired":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telemetryConfig</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sendFrequency</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5m"</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metadata" </a:t>
            </a:r>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version": </a:t>
            </a:r>
            <a:r>
              <a:rPr lang="en-US" sz="1400" kern="0" spc="-112" dirty="0">
                <a:solidFill>
                  <a:srgbClr val="000000"/>
                </a:solidFill>
                <a:latin typeface="Consolas" panose="020B0609020204030204" pitchFamily="49" charset="0"/>
                <a:cs typeface="Segoe UI" panose="020B0502040204020203" pitchFamily="34" charset="0"/>
              </a:rPr>
              <a:t>1</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reported":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telemetryConfig</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sendFrequency</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5m",</a:t>
            </a:r>
          </a:p>
          <a:p>
            <a:pPr defTabSz="412667" hangingPunct="0"/>
            <a:r>
              <a:rPr lang="en-US" sz="1400" kern="0" spc="-112" dirty="0">
                <a:solidFill>
                  <a:srgbClr val="A31515"/>
                </a:solidFill>
                <a:latin typeface="Consolas" panose="020B0609020204030204" pitchFamily="49" charset="0"/>
                <a:cs typeface="Segoe UI Semibold"/>
              </a:rPr>
              <a:t>                "status": </a:t>
            </a:r>
            <a:r>
              <a:rPr lang="en-US" sz="1400" kern="0" spc="-112" dirty="0">
                <a:solidFill>
                  <a:srgbClr val="000000"/>
                </a:solidFill>
                <a:latin typeface="Consolas" panose="020B0609020204030204" pitchFamily="49" charset="0"/>
                <a:cs typeface="Segoe UI" panose="020B0502040204020203" pitchFamily="34" charset="0"/>
              </a:rPr>
              <a:t>"success"</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a:t>
            </a:r>
            <a:r>
              <a:rPr lang="en-US" sz="1400" kern="0" spc="-112" dirty="0" err="1">
                <a:solidFill>
                  <a:srgbClr val="A31515"/>
                </a:solidFill>
                <a:latin typeface="Consolas" panose="020B0609020204030204" pitchFamily="49" charset="0"/>
                <a:cs typeface="Segoe UI Semibold"/>
              </a:rPr>
              <a:t>batteryLevel</a:t>
            </a:r>
            <a:r>
              <a:rPr lang="en-US" sz="1400" kern="0" spc="-112" dirty="0">
                <a:solidFill>
                  <a:srgbClr val="A31515"/>
                </a:solidFill>
                <a:latin typeface="Consolas" panose="020B0609020204030204" pitchFamily="49" charset="0"/>
                <a:cs typeface="Segoe UI Semibold"/>
              </a:rPr>
              <a:t>": </a:t>
            </a:r>
            <a:r>
              <a:rPr lang="en-US" sz="1400" kern="0" spc="-112" dirty="0">
                <a:solidFill>
                  <a:srgbClr val="000000"/>
                </a:solidFill>
                <a:latin typeface="Consolas" panose="020B0609020204030204" pitchFamily="49" charset="0"/>
                <a:cs typeface="Segoe UI" panose="020B0502040204020203" pitchFamily="34" charset="0"/>
              </a:rPr>
              <a:t>55,</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metadata" : </a:t>
            </a:r>
            <a:r>
              <a:rPr lang="en-US" sz="1400" kern="0" spc="-112" dirty="0">
                <a:solidFill>
                  <a:srgbClr val="000000"/>
                </a:solidFill>
                <a:latin typeface="Consolas" panose="020B0609020204030204" pitchFamily="49" charset="0"/>
                <a:cs typeface="Segoe UI" panose="020B0502040204020203" pitchFamily="34" charset="0"/>
              </a:rPr>
              <a:t>{...},</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r>
              <a:rPr lang="en-US" sz="1400" kern="0" spc="-112" dirty="0">
                <a:solidFill>
                  <a:srgbClr val="A31515"/>
                </a:solidFill>
                <a:latin typeface="Consolas" panose="020B0609020204030204" pitchFamily="49" charset="0"/>
                <a:cs typeface="Segoe UI Semibold"/>
              </a:rPr>
              <a:t>"$version": </a:t>
            </a:r>
            <a:r>
              <a:rPr lang="en-US" sz="1400" kern="0" spc="-112" dirty="0">
                <a:solidFill>
                  <a:srgbClr val="000000"/>
                </a:solidFill>
                <a:latin typeface="Consolas" panose="020B0609020204030204" pitchFamily="49" charset="0"/>
                <a:cs typeface="Segoe UI" panose="020B0502040204020203" pitchFamily="34" charset="0"/>
              </a:rPr>
              <a:t>4</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    }</a:t>
            </a:r>
          </a:p>
          <a:p>
            <a:pPr defTabSz="412667" hangingPunct="0"/>
            <a:r>
              <a:rPr lang="en-US" sz="1400" kern="0" spc="-112" dirty="0">
                <a:solidFill>
                  <a:srgbClr val="000000"/>
                </a:solidFill>
                <a:latin typeface="Consolas" panose="020B0609020204030204" pitchFamily="49" charset="0"/>
                <a:cs typeface="Segoe UI" panose="020B0502040204020203" pitchFamily="34" charset="0"/>
              </a:rPr>
              <a:t>}</a:t>
            </a:r>
            <a:endParaRPr lang="en-AU" sz="1400" kern="0" spc="-112" dirty="0">
              <a:solidFill>
                <a:srgbClr val="000000"/>
              </a:solidFill>
              <a:latin typeface="Consolas" panose="020B0609020204030204" pitchFamily="49" charset="0"/>
              <a:cs typeface="Segoe UI" panose="020B0502040204020203" pitchFamily="34" charset="0"/>
              <a:sym typeface="Segoe UI Semibold"/>
            </a:endParaRPr>
          </a:p>
        </p:txBody>
      </p:sp>
      <p:sp>
        <p:nvSpPr>
          <p:cNvPr id="88" name="Left Brace 87">
            <a:extLst>
              <a:ext uri="{FF2B5EF4-FFF2-40B4-BE49-F238E27FC236}">
                <a16:creationId xmlns:a16="http://schemas.microsoft.com/office/drawing/2014/main" id="{47EBB7B2-1D43-422D-AA37-5C1D271D8C9A}"/>
              </a:ext>
            </a:extLst>
          </p:cNvPr>
          <p:cNvSpPr/>
          <p:nvPr/>
        </p:nvSpPr>
        <p:spPr>
          <a:xfrm>
            <a:off x="8302951" y="3016333"/>
            <a:ext cx="475013" cy="1330036"/>
          </a:xfrm>
          <a:prstGeom prst="leftBrace">
            <a:avLst>
              <a:gd name="adj1" fmla="val 8333"/>
              <a:gd name="adj2" fmla="val 50893"/>
            </a:avLst>
          </a:prstGeom>
          <a:ln w="381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 name="TextBox 88">
            <a:extLst>
              <a:ext uri="{FF2B5EF4-FFF2-40B4-BE49-F238E27FC236}">
                <a16:creationId xmlns:a16="http://schemas.microsoft.com/office/drawing/2014/main" id="{0D88E06C-679B-40A9-AF9D-CB5EF71008B7}"/>
              </a:ext>
            </a:extLst>
          </p:cNvPr>
          <p:cNvSpPr txBox="1"/>
          <p:nvPr/>
        </p:nvSpPr>
        <p:spPr>
          <a:xfrm>
            <a:off x="6376477" y="3445818"/>
            <a:ext cx="1934439" cy="489365"/>
          </a:xfrm>
          <a:prstGeom prst="rect">
            <a:avLst/>
          </a:prstGeom>
          <a:noFill/>
        </p:spPr>
        <p:txBody>
          <a:bodyPr wrap="none" lIns="182880" tIns="146304" rIns="182880" bIns="146304" rtlCol="0">
            <a:spAutoFit/>
          </a:bodyPr>
          <a:lstStyle/>
          <a:p>
            <a:pPr algn="r">
              <a:lnSpc>
                <a:spcPct val="90000"/>
              </a:lnSpc>
              <a:spcAft>
                <a:spcPts val="600"/>
              </a:spcAft>
            </a:pPr>
            <a:r>
              <a:rPr lang="en-US" sz="1400" b="1" dirty="0">
                <a:solidFill>
                  <a:schemeClr val="accent1"/>
                </a:solidFill>
              </a:rPr>
              <a:t>Desired properties</a:t>
            </a:r>
            <a:endParaRPr lang="en-US" sz="1400" b="1" dirty="0">
              <a:gradFill>
                <a:gsLst>
                  <a:gs pos="2917">
                    <a:schemeClr val="tx1"/>
                  </a:gs>
                  <a:gs pos="30000">
                    <a:schemeClr val="tx1"/>
                  </a:gs>
                </a:gsLst>
                <a:lin ang="5400000" scaled="0"/>
              </a:gradFill>
            </a:endParaRPr>
          </a:p>
        </p:txBody>
      </p:sp>
      <p:sp>
        <p:nvSpPr>
          <p:cNvPr id="91" name="Left Brace 90">
            <a:extLst>
              <a:ext uri="{FF2B5EF4-FFF2-40B4-BE49-F238E27FC236}">
                <a16:creationId xmlns:a16="http://schemas.microsoft.com/office/drawing/2014/main" id="{33578E42-D5FA-4D0E-B2CE-40D756F1B2D1}"/>
              </a:ext>
            </a:extLst>
          </p:cNvPr>
          <p:cNvSpPr/>
          <p:nvPr/>
        </p:nvSpPr>
        <p:spPr>
          <a:xfrm>
            <a:off x="8310916" y="4486894"/>
            <a:ext cx="475013" cy="1330036"/>
          </a:xfrm>
          <a:prstGeom prst="leftBrace">
            <a:avLst>
              <a:gd name="adj1" fmla="val 8333"/>
              <a:gd name="adj2" fmla="val 50893"/>
            </a:avLst>
          </a:prstGeom>
          <a:ln w="381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 name="TextBox 92">
            <a:extLst>
              <a:ext uri="{FF2B5EF4-FFF2-40B4-BE49-F238E27FC236}">
                <a16:creationId xmlns:a16="http://schemas.microsoft.com/office/drawing/2014/main" id="{AB4F7731-4507-4054-82C3-450ED6A5D463}"/>
              </a:ext>
            </a:extLst>
          </p:cNvPr>
          <p:cNvSpPr txBox="1"/>
          <p:nvPr/>
        </p:nvSpPr>
        <p:spPr>
          <a:xfrm>
            <a:off x="6286990" y="4876355"/>
            <a:ext cx="2079415" cy="489365"/>
          </a:xfrm>
          <a:prstGeom prst="rect">
            <a:avLst/>
          </a:prstGeom>
          <a:noFill/>
        </p:spPr>
        <p:txBody>
          <a:bodyPr wrap="none" lIns="182880" tIns="146304" rIns="182880" bIns="146304" rtlCol="0">
            <a:spAutoFit/>
          </a:bodyPr>
          <a:lstStyle/>
          <a:p>
            <a:pPr algn="r">
              <a:lnSpc>
                <a:spcPct val="90000"/>
              </a:lnSpc>
              <a:spcAft>
                <a:spcPts val="600"/>
              </a:spcAft>
            </a:pPr>
            <a:r>
              <a:rPr lang="en-US" sz="1400" b="1" dirty="0">
                <a:solidFill>
                  <a:schemeClr val="accent1"/>
                </a:solidFill>
              </a:rPr>
              <a:t>Reported properties</a:t>
            </a:r>
            <a:endParaRPr lang="en-US" sz="1400" b="1" dirty="0">
              <a:gradFill>
                <a:gsLst>
                  <a:gs pos="2917">
                    <a:schemeClr val="tx1"/>
                  </a:gs>
                  <a:gs pos="30000">
                    <a:schemeClr val="tx1"/>
                  </a:gs>
                </a:gsLst>
                <a:lin ang="5400000" scaled="0"/>
              </a:gradFill>
            </a:endParaRPr>
          </a:p>
        </p:txBody>
      </p:sp>
      <p:sp>
        <p:nvSpPr>
          <p:cNvPr id="95" name="Left Brace 94">
            <a:extLst>
              <a:ext uri="{FF2B5EF4-FFF2-40B4-BE49-F238E27FC236}">
                <a16:creationId xmlns:a16="http://schemas.microsoft.com/office/drawing/2014/main" id="{72E8D39A-B9EF-4324-A962-BE1672DCB360}"/>
              </a:ext>
            </a:extLst>
          </p:cNvPr>
          <p:cNvSpPr/>
          <p:nvPr/>
        </p:nvSpPr>
        <p:spPr>
          <a:xfrm>
            <a:off x="8287160" y="1273135"/>
            <a:ext cx="475013" cy="1330036"/>
          </a:xfrm>
          <a:prstGeom prst="leftBrace">
            <a:avLst>
              <a:gd name="adj1" fmla="val 8333"/>
              <a:gd name="adj2" fmla="val 50893"/>
            </a:avLst>
          </a:prstGeom>
          <a:ln w="381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TextBox 96">
            <a:extLst>
              <a:ext uri="{FF2B5EF4-FFF2-40B4-BE49-F238E27FC236}">
                <a16:creationId xmlns:a16="http://schemas.microsoft.com/office/drawing/2014/main" id="{56CD572B-D698-4B4F-B7E6-AECCC960F420}"/>
              </a:ext>
            </a:extLst>
          </p:cNvPr>
          <p:cNvSpPr txBox="1"/>
          <p:nvPr/>
        </p:nvSpPr>
        <p:spPr>
          <a:xfrm>
            <a:off x="7441608" y="1694075"/>
            <a:ext cx="745204" cy="489365"/>
          </a:xfrm>
          <a:prstGeom prst="rect">
            <a:avLst/>
          </a:prstGeom>
          <a:noFill/>
        </p:spPr>
        <p:txBody>
          <a:bodyPr wrap="none" lIns="182880" tIns="146304" rIns="182880" bIns="146304" rtlCol="0">
            <a:spAutoFit/>
          </a:bodyPr>
          <a:lstStyle/>
          <a:p>
            <a:pPr algn="r">
              <a:lnSpc>
                <a:spcPct val="90000"/>
              </a:lnSpc>
              <a:spcAft>
                <a:spcPts val="600"/>
              </a:spcAft>
            </a:pPr>
            <a:r>
              <a:rPr lang="en-US" sz="1400" b="1" dirty="0">
                <a:solidFill>
                  <a:schemeClr val="accent1"/>
                </a:solidFill>
              </a:rPr>
              <a:t>Tags</a:t>
            </a:r>
            <a:endParaRPr lang="en-US" sz="14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9931652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F214C-5F0E-4D13-AD16-73079773BDEF}"/>
              </a:ext>
            </a:extLst>
          </p:cNvPr>
          <p:cNvSpPr>
            <a:spLocks noGrp="1"/>
          </p:cNvSpPr>
          <p:nvPr>
            <p:ph type="title"/>
          </p:nvPr>
        </p:nvSpPr>
        <p:spPr/>
        <p:txBody>
          <a:bodyPr/>
          <a:lstStyle/>
          <a:p>
            <a:r>
              <a:rPr lang="en-US" sz="3600" dirty="0">
                <a:solidFill>
                  <a:schemeClr val="accent1"/>
                </a:solidFill>
                <a:latin typeface="Segoe UI Semibold (Headings)"/>
              </a:rPr>
              <a:t>Cloud-to-device communications</a:t>
            </a:r>
          </a:p>
        </p:txBody>
      </p:sp>
      <p:sp>
        <p:nvSpPr>
          <p:cNvPr id="5" name="Text Placeholder 4">
            <a:extLst>
              <a:ext uri="{FF2B5EF4-FFF2-40B4-BE49-F238E27FC236}">
                <a16:creationId xmlns:a16="http://schemas.microsoft.com/office/drawing/2014/main" id="{829D9567-1515-4CC3-8A53-008B864304B9}"/>
              </a:ext>
            </a:extLst>
          </p:cNvPr>
          <p:cNvSpPr txBox="1">
            <a:spLocks/>
          </p:cNvSpPr>
          <p:nvPr/>
        </p:nvSpPr>
        <p:spPr>
          <a:xfrm>
            <a:off x="261274" y="867884"/>
            <a:ext cx="5427007" cy="5093676"/>
          </a:xfrm>
          <a:prstGeom prst="rect">
            <a:avLst/>
          </a:prstGeom>
        </p:spPr>
        <p:txBody>
          <a:bodyPr vert="horz" wrap="square" lIns="146284" tIns="91427" rIns="146284" bIns="91427" rtlCol="0">
            <a:spAutoFit/>
          </a:bodyPr>
          <a:lstStyle>
            <a:lvl1pPr marL="0"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3676" kern="1200" spc="0" baseline="0">
                <a:gradFill>
                  <a:gsLst>
                    <a:gs pos="1250">
                      <a:schemeClr val="tx2"/>
                    </a:gs>
                    <a:gs pos="99000">
                      <a:schemeClr val="tx2"/>
                    </a:gs>
                  </a:gsLst>
                  <a:lin ang="5400000" scaled="0"/>
                </a:gradFill>
                <a:latin typeface="+mj-lt"/>
                <a:ea typeface="+mn-ea"/>
                <a:cs typeface="+mn-cs"/>
              </a:defRPr>
            </a:lvl1pPr>
            <a:lvl2pPr marL="0" marR="0" indent="0" algn="l" defTabSz="857219" rtl="0" eaLnBrk="1" fontAlgn="auto" latinLnBrk="0" hangingPunct="1">
              <a:lnSpc>
                <a:spcPct val="90000"/>
              </a:lnSpc>
              <a:spcBef>
                <a:spcPct val="20000"/>
              </a:spcBef>
              <a:spcAft>
                <a:spcPts val="0"/>
              </a:spcAft>
              <a:buClrTx/>
              <a:buSzPct val="90000"/>
              <a:buFontTx/>
              <a:buNone/>
              <a:tabLst/>
              <a:defRPr sz="1838" kern="1200" spc="0" baseline="0">
                <a:gradFill>
                  <a:gsLst>
                    <a:gs pos="1250">
                      <a:schemeClr val="tx1"/>
                    </a:gs>
                    <a:gs pos="100000">
                      <a:schemeClr val="tx1"/>
                    </a:gs>
                  </a:gsLst>
                  <a:lin ang="5400000" scaled="0"/>
                </a:gradFill>
                <a:latin typeface="+mn-lt"/>
                <a:ea typeface="+mn-ea"/>
                <a:cs typeface="+mn-cs"/>
              </a:defRPr>
            </a:lvl2pPr>
            <a:lvl3pPr marL="210091"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838" kern="1200" spc="0" baseline="0">
                <a:gradFill>
                  <a:gsLst>
                    <a:gs pos="1250">
                      <a:schemeClr val="tx1"/>
                    </a:gs>
                    <a:gs pos="100000">
                      <a:schemeClr val="tx1"/>
                    </a:gs>
                  </a:gsLst>
                  <a:lin ang="5400000" scaled="0"/>
                </a:gradFill>
                <a:latin typeface="+mn-lt"/>
                <a:ea typeface="+mn-ea"/>
                <a:cs typeface="+mn-cs"/>
              </a:defRPr>
            </a:lvl3pPr>
            <a:lvl4pPr marL="420181"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655" kern="1200" spc="0" baseline="0">
                <a:gradFill>
                  <a:gsLst>
                    <a:gs pos="1250">
                      <a:schemeClr val="tx1"/>
                    </a:gs>
                    <a:gs pos="100000">
                      <a:schemeClr val="tx1"/>
                    </a:gs>
                  </a:gsLst>
                  <a:lin ang="5400000" scaled="0"/>
                </a:gradFill>
                <a:latin typeface="+mn-lt"/>
                <a:ea typeface="+mn-ea"/>
                <a:cs typeface="+mn-cs"/>
              </a:defRPr>
            </a:lvl4pPr>
            <a:lvl5pPr marL="630272" marR="0" indent="0" algn="l" defTabSz="857219" rtl="0" eaLnBrk="1" fontAlgn="auto" latinLnBrk="0" hangingPunct="1">
              <a:lnSpc>
                <a:spcPct val="90000"/>
              </a:lnSpc>
              <a:spcBef>
                <a:spcPct val="20000"/>
              </a:spcBef>
              <a:spcAft>
                <a:spcPts val="0"/>
              </a:spcAft>
              <a:buClrTx/>
              <a:buSzPct val="90000"/>
              <a:buFont typeface="Arial" pitchFamily="34" charset="0"/>
              <a:buNone/>
              <a:tabLst/>
              <a:defRPr sz="1655" kern="1200" spc="0" baseline="0">
                <a:gradFill>
                  <a:gsLst>
                    <a:gs pos="1250">
                      <a:schemeClr val="tx1"/>
                    </a:gs>
                    <a:gs pos="100000">
                      <a:schemeClr val="tx1"/>
                    </a:gs>
                  </a:gsLst>
                  <a:lin ang="5400000" scaled="0"/>
                </a:gradFill>
                <a:latin typeface="+mn-lt"/>
                <a:ea typeface="+mn-ea"/>
                <a:cs typeface="+mn-cs"/>
              </a:defRPr>
            </a:lvl5pPr>
            <a:lvl6pPr marL="235735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96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457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318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9pPr>
          </a:lstStyle>
          <a:p>
            <a:pPr marL="457112" lvl="1" indent="-457112" defTabSz="857055">
              <a:buFont typeface="Arial" panose="020B0604020202020204" pitchFamily="34" charset="0"/>
              <a:buChar char="•"/>
            </a:pPr>
            <a:endParaRPr lang="en-US" sz="1400" dirty="0">
              <a:solidFill>
                <a:srgbClr val="002050"/>
              </a:solidFill>
              <a:latin typeface="Segoe UI"/>
            </a:endParaRPr>
          </a:p>
          <a:p>
            <a:pPr marL="457112" lvl="1" indent="-457112" defTabSz="857055">
              <a:buFont typeface="Arial" panose="020B0604020202020204" pitchFamily="34" charset="0"/>
              <a:buChar char="•"/>
            </a:pPr>
            <a:endParaRPr lang="en-US" sz="1600" dirty="0">
              <a:solidFill>
                <a:srgbClr val="002050"/>
              </a:solidFill>
            </a:endParaRPr>
          </a:p>
          <a:p>
            <a:pPr algn="l"/>
            <a:r>
              <a:rPr lang="en-US" sz="2000" b="0" i="0" dirty="0">
                <a:solidFill>
                  <a:srgbClr val="171717"/>
                </a:solidFill>
                <a:effectLst/>
                <a:latin typeface="+mn-lt"/>
              </a:rPr>
              <a:t>IoT Hub provides three options for device apps to expose functionality to a back-end app:</a:t>
            </a:r>
          </a:p>
          <a:p>
            <a:pPr algn="l"/>
            <a:endParaRPr lang="en-US" sz="2000" b="0" i="0" dirty="0">
              <a:solidFill>
                <a:srgbClr val="171717"/>
              </a:solidFill>
              <a:effectLst/>
              <a:latin typeface="+mn-lt"/>
            </a:endParaRPr>
          </a:p>
          <a:p>
            <a:pPr algn="l"/>
            <a:r>
              <a:rPr lang="en-US" sz="2400" b="1" dirty="0">
                <a:gradFill>
                  <a:gsLst>
                    <a:gs pos="1250">
                      <a:srgbClr val="6DC2E9"/>
                    </a:gs>
                    <a:gs pos="99000">
                      <a:srgbClr val="6DC2E9"/>
                    </a:gs>
                  </a:gsLst>
                  <a:lin ang="5400000" scaled="0"/>
                </a:gradFill>
                <a:latin typeface="+mn-lt"/>
                <a:hlinkClick r:id="rId3">
                  <a:extLst>
                    <a:ext uri="{A12FA001-AC4F-418D-AE19-62706E023703}">
                      <ahyp:hlinkClr xmlns:ahyp="http://schemas.microsoft.com/office/drawing/2018/hyperlinkcolor" val="tx"/>
                    </a:ext>
                  </a:extLst>
                </a:hlinkClick>
              </a:rPr>
              <a:t>Direct methods</a:t>
            </a:r>
            <a:r>
              <a:rPr lang="en-US" sz="2400" b="1" dirty="0">
                <a:gradFill>
                  <a:gsLst>
                    <a:gs pos="1250">
                      <a:srgbClr val="6DC2E9"/>
                    </a:gs>
                    <a:gs pos="99000">
                      <a:srgbClr val="6DC2E9"/>
                    </a:gs>
                  </a:gsLst>
                  <a:lin ang="5400000" scaled="0"/>
                </a:gradFill>
                <a:latin typeface="+mn-lt"/>
              </a:rPr>
              <a:t> </a:t>
            </a:r>
            <a:r>
              <a:rPr lang="en-US" sz="2000" b="0" i="0" dirty="0">
                <a:solidFill>
                  <a:srgbClr val="171717"/>
                </a:solidFill>
                <a:effectLst/>
                <a:latin typeface="+mn-lt"/>
              </a:rPr>
              <a:t>for communications that require immediate confirmation of the result. </a:t>
            </a:r>
          </a:p>
          <a:p>
            <a:pPr algn="l"/>
            <a:endParaRPr lang="en-US" sz="2000" b="0" i="0" dirty="0">
              <a:solidFill>
                <a:srgbClr val="171717"/>
              </a:solidFill>
              <a:effectLst/>
              <a:latin typeface="+mn-lt"/>
            </a:endParaRPr>
          </a:p>
          <a:p>
            <a:pPr algn="l"/>
            <a:r>
              <a:rPr lang="en-US" sz="2400" b="1" dirty="0">
                <a:gradFill>
                  <a:gsLst>
                    <a:gs pos="1250">
                      <a:srgbClr val="6DC2E9"/>
                    </a:gs>
                    <a:gs pos="99000">
                      <a:srgbClr val="6DC2E9"/>
                    </a:gs>
                  </a:gsLst>
                  <a:lin ang="5400000" scaled="0"/>
                </a:gradFill>
                <a:latin typeface="+mn-lt"/>
                <a:hlinkClick r:id="rId4">
                  <a:extLst>
                    <a:ext uri="{A12FA001-AC4F-418D-AE19-62706E023703}">
                      <ahyp:hlinkClr xmlns:ahyp="http://schemas.microsoft.com/office/drawing/2018/hyperlinkcolor" val="tx"/>
                    </a:ext>
                  </a:extLst>
                </a:hlinkClick>
              </a:rPr>
              <a:t>Twin's desired properties</a:t>
            </a:r>
            <a:r>
              <a:rPr lang="en-US" sz="2400" b="1" dirty="0">
                <a:gradFill>
                  <a:gsLst>
                    <a:gs pos="1250">
                      <a:srgbClr val="6DC2E9"/>
                    </a:gs>
                    <a:gs pos="99000">
                      <a:srgbClr val="6DC2E9"/>
                    </a:gs>
                  </a:gsLst>
                  <a:lin ang="5400000" scaled="0"/>
                </a:gradFill>
                <a:latin typeface="+mn-lt"/>
              </a:rPr>
              <a:t> </a:t>
            </a:r>
            <a:r>
              <a:rPr lang="en-US" sz="2000" b="0" i="0" dirty="0">
                <a:solidFill>
                  <a:srgbClr val="171717"/>
                </a:solidFill>
                <a:effectLst/>
                <a:latin typeface="+mn-lt"/>
              </a:rPr>
              <a:t>for long-running commands intended to put the device into a certain desired state. </a:t>
            </a:r>
          </a:p>
          <a:p>
            <a:pPr algn="l"/>
            <a:endParaRPr lang="en-US" sz="2000" b="0" i="0" dirty="0">
              <a:solidFill>
                <a:srgbClr val="171717"/>
              </a:solidFill>
              <a:effectLst/>
              <a:latin typeface="+mn-lt"/>
            </a:endParaRPr>
          </a:p>
          <a:p>
            <a:pPr algn="l"/>
            <a:r>
              <a:rPr lang="en-US" sz="2400" b="1" dirty="0">
                <a:gradFill>
                  <a:gsLst>
                    <a:gs pos="1250">
                      <a:srgbClr val="6DC2E9"/>
                    </a:gs>
                    <a:gs pos="99000">
                      <a:srgbClr val="6DC2E9"/>
                    </a:gs>
                  </a:gsLst>
                  <a:lin ang="5400000" scaled="0"/>
                </a:gradFill>
                <a:latin typeface="+mn-lt"/>
                <a:hlinkClick r:id="rId5">
                  <a:extLst>
                    <a:ext uri="{A12FA001-AC4F-418D-AE19-62706E023703}">
                      <ahyp:hlinkClr xmlns:ahyp="http://schemas.microsoft.com/office/drawing/2018/hyperlinkcolor" val="tx"/>
                    </a:ext>
                  </a:extLst>
                </a:hlinkClick>
              </a:rPr>
              <a:t>Cloud-to-device messages</a:t>
            </a:r>
            <a:r>
              <a:rPr lang="en-US" sz="2400" b="1" dirty="0">
                <a:gradFill>
                  <a:gsLst>
                    <a:gs pos="1250">
                      <a:srgbClr val="6DC2E9"/>
                    </a:gs>
                    <a:gs pos="99000">
                      <a:srgbClr val="6DC2E9"/>
                    </a:gs>
                  </a:gsLst>
                  <a:lin ang="5400000" scaled="0"/>
                </a:gradFill>
                <a:latin typeface="+mn-lt"/>
              </a:rPr>
              <a:t> </a:t>
            </a:r>
            <a:r>
              <a:rPr lang="en-US" sz="2000" b="0" i="0" dirty="0">
                <a:solidFill>
                  <a:srgbClr val="171717"/>
                </a:solidFill>
                <a:effectLst/>
                <a:latin typeface="+mn-lt"/>
              </a:rPr>
              <a:t>for one-way notifications to the device app.</a:t>
            </a:r>
          </a:p>
          <a:p>
            <a:pPr marL="457112" lvl="1" indent="-457112" defTabSz="857055">
              <a:buFont typeface="Arial" panose="020B0604020202020204" pitchFamily="34" charset="0"/>
              <a:buChar char="•"/>
            </a:pPr>
            <a:endParaRPr lang="en-US" sz="1400" dirty="0">
              <a:solidFill>
                <a:srgbClr val="002050"/>
              </a:solidFill>
              <a:latin typeface="Segoe UI"/>
            </a:endParaRPr>
          </a:p>
        </p:txBody>
      </p:sp>
      <p:pic>
        <p:nvPicPr>
          <p:cNvPr id="68" name="Picture 67">
            <a:extLst>
              <a:ext uri="{FF2B5EF4-FFF2-40B4-BE49-F238E27FC236}">
                <a16:creationId xmlns:a16="http://schemas.microsoft.com/office/drawing/2014/main" id="{69BA8F13-2821-4291-B56F-F6939B44730F}"/>
              </a:ext>
            </a:extLst>
          </p:cNvPr>
          <p:cNvPicPr>
            <a:picLocks noChangeAspect="1"/>
          </p:cNvPicPr>
          <p:nvPr/>
        </p:nvPicPr>
        <p:blipFill>
          <a:blip r:embed="rId6"/>
          <a:stretch>
            <a:fillRect/>
          </a:stretch>
        </p:blipFill>
        <p:spPr>
          <a:xfrm>
            <a:off x="6096000" y="1767549"/>
            <a:ext cx="5680149" cy="3008904"/>
          </a:xfrm>
          <a:prstGeom prst="rect">
            <a:avLst/>
          </a:prstGeom>
        </p:spPr>
      </p:pic>
    </p:spTree>
    <p:extLst>
      <p:ext uri="{BB962C8B-B14F-4D97-AF65-F5344CB8AC3E}">
        <p14:creationId xmlns:p14="http://schemas.microsoft.com/office/powerpoint/2010/main" val="2906856236"/>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45D4AA-5F5D-466F-902B-154944817361}"/>
              </a:ext>
            </a:extLst>
          </p:cNvPr>
          <p:cNvSpPr>
            <a:spLocks noGrp="1"/>
          </p:cNvSpPr>
          <p:nvPr>
            <p:ph type="title"/>
          </p:nvPr>
        </p:nvSpPr>
        <p:spPr>
          <a:xfrm>
            <a:off x="455995" y="620428"/>
            <a:ext cx="11306469" cy="397545"/>
          </a:xfrm>
        </p:spPr>
        <p:txBody>
          <a:bodyPr/>
          <a:lstStyle/>
          <a:p>
            <a:r>
              <a:rPr lang="en-US" sz="2800" dirty="0">
                <a:solidFill>
                  <a:schemeClr val="bg2"/>
                </a:solidFill>
              </a:rPr>
              <a:t>Azure IoT Hub Messaging Routing and Partitioning</a:t>
            </a:r>
          </a:p>
        </p:txBody>
      </p:sp>
      <p:sp>
        <p:nvSpPr>
          <p:cNvPr id="4" name="Rectangle 3">
            <a:extLst>
              <a:ext uri="{FF2B5EF4-FFF2-40B4-BE49-F238E27FC236}">
                <a16:creationId xmlns:a16="http://schemas.microsoft.com/office/drawing/2014/main" id="{5FBEEDEE-1AA0-4D4D-A07F-13F0B3611238}"/>
              </a:ext>
            </a:extLst>
          </p:cNvPr>
          <p:cNvSpPr/>
          <p:nvPr/>
        </p:nvSpPr>
        <p:spPr>
          <a:xfrm>
            <a:off x="495878" y="2025555"/>
            <a:ext cx="7538795" cy="3392854"/>
          </a:xfrm>
          <a:prstGeom prst="rect">
            <a:avLst/>
          </a:prstGeom>
          <a:solidFill>
            <a:srgbClr val="E7E6E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defTabSz="914126">
              <a:defRPr/>
            </a:pPr>
            <a:r>
              <a:rPr lang="en-AU" sz="1600" kern="0">
                <a:solidFill>
                  <a:srgbClr val="006DD6"/>
                </a:solidFill>
                <a:latin typeface="Segoe UI" panose="020B0502040204020203" pitchFamily="34" charset="0"/>
                <a:cs typeface="Segoe UI" panose="020B0502040204020203" pitchFamily="34" charset="0"/>
                <a:sym typeface="Segoe UI Semibold"/>
              </a:rPr>
              <a:t>Azure IoT Hub</a:t>
            </a:r>
          </a:p>
        </p:txBody>
      </p:sp>
      <p:sp>
        <p:nvSpPr>
          <p:cNvPr id="5" name="Rectangle 4">
            <a:extLst>
              <a:ext uri="{FF2B5EF4-FFF2-40B4-BE49-F238E27FC236}">
                <a16:creationId xmlns:a16="http://schemas.microsoft.com/office/drawing/2014/main" id="{CDA94C50-FC33-4969-A3DC-5255C70C4011}"/>
              </a:ext>
            </a:extLst>
          </p:cNvPr>
          <p:cNvSpPr/>
          <p:nvPr/>
        </p:nvSpPr>
        <p:spPr>
          <a:xfrm>
            <a:off x="5995345" y="2157393"/>
            <a:ext cx="1873158" cy="3129178"/>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ctr"/>
          <a:lstStyle/>
          <a:p>
            <a:pPr algn="ctr" defTabSz="914126">
              <a:defRPr/>
            </a:pPr>
            <a:r>
              <a:rPr lang="en-AU" sz="1600">
                <a:solidFill>
                  <a:srgbClr val="243A5E">
                    <a:lumMod val="50000"/>
                  </a:srgbClr>
                </a:solidFill>
                <a:latin typeface="Segoe UI" panose="020B0502040204020203" pitchFamily="34" charset="0"/>
                <a:cs typeface="Segoe UI" panose="020B0502040204020203" pitchFamily="34" charset="0"/>
                <a:sym typeface="Segoe UI Semibold"/>
              </a:rPr>
              <a:t>Rules based m</a:t>
            </a:r>
            <a:r>
              <a:rPr lang="en-AU" sz="1600" err="1">
                <a:solidFill>
                  <a:srgbClr val="243A5E">
                    <a:lumMod val="50000"/>
                  </a:srgbClr>
                </a:solidFill>
                <a:latin typeface="Segoe UI" panose="020B0502040204020203" pitchFamily="34" charset="0"/>
                <a:cs typeface="Segoe UI" panose="020B0502040204020203" pitchFamily="34" charset="0"/>
                <a:sym typeface="Segoe UI Semibold"/>
              </a:rPr>
              <a:t>essage</a:t>
            </a:r>
            <a:r>
              <a:rPr lang="en-AU" sz="1600">
                <a:solidFill>
                  <a:srgbClr val="243A5E">
                    <a:lumMod val="50000"/>
                  </a:srgbClr>
                </a:solidFill>
                <a:latin typeface="Segoe UI" panose="020B0502040204020203" pitchFamily="34" charset="0"/>
                <a:cs typeface="Segoe UI" panose="020B0502040204020203" pitchFamily="34" charset="0"/>
                <a:sym typeface="Segoe UI Semibold"/>
              </a:rPr>
              <a:t> routing</a:t>
            </a:r>
          </a:p>
          <a:p>
            <a:pPr algn="ctr" defTabSz="914126">
              <a:defRPr/>
            </a:pPr>
            <a:endParaRPr lang="en-AU" sz="1600">
              <a:solidFill>
                <a:srgbClr val="243A5E">
                  <a:lumMod val="50000"/>
                </a:srgbClr>
              </a:solidFill>
              <a:latin typeface="Segoe UI" panose="020B0502040204020203" pitchFamily="34" charset="0"/>
              <a:cs typeface="Segoe UI" panose="020B0502040204020203" pitchFamily="34" charset="0"/>
              <a:sym typeface="Segoe UI Semibold"/>
            </a:endParaRPr>
          </a:p>
          <a:p>
            <a:pPr algn="ctr" defTabSz="914126">
              <a:defRPr/>
            </a:pPr>
            <a:endParaRPr lang="en-AU" sz="1600">
              <a:solidFill>
                <a:srgbClr val="243A5E">
                  <a:lumMod val="50000"/>
                </a:srgbClr>
              </a:solidFill>
              <a:latin typeface="Segoe UI" panose="020B0502040204020203" pitchFamily="34" charset="0"/>
              <a:cs typeface="Segoe UI" panose="020B0502040204020203" pitchFamily="34" charset="0"/>
              <a:sym typeface="Segoe UI Semibold"/>
            </a:endParaRPr>
          </a:p>
          <a:p>
            <a:pPr algn="ctr" defTabSz="914126">
              <a:defRPr/>
            </a:pPr>
            <a:r>
              <a:rPr lang="en-US" sz="1600" err="1">
                <a:solidFill>
                  <a:srgbClr val="243A5E">
                    <a:lumMod val="50000"/>
                  </a:srgbClr>
                </a:solidFill>
                <a:latin typeface="Segoe UI" panose="020B0502040204020203" pitchFamily="34" charset="0"/>
                <a:cs typeface="Segoe UI" panose="020B0502040204020203" pitchFamily="34" charset="0"/>
                <a:sym typeface="Segoe UI Semibold"/>
              </a:rPr>
              <a:t>appid</a:t>
            </a:r>
            <a:r>
              <a:rPr lang="en-US" sz="1600">
                <a:solidFill>
                  <a:srgbClr val="243A5E">
                    <a:lumMod val="50000"/>
                  </a:srgbClr>
                </a:solidFill>
                <a:latin typeface="Segoe UI" panose="020B0502040204020203" pitchFamily="34" charset="0"/>
                <a:cs typeface="Segoe UI" panose="020B0502040204020203" pitchFamily="34" charset="0"/>
                <a:sym typeface="Segoe UI Semibold"/>
              </a:rPr>
              <a:t> = '</a:t>
            </a:r>
            <a:r>
              <a:rPr lang="en-US" sz="1600" err="1">
                <a:solidFill>
                  <a:srgbClr val="FF0000"/>
                </a:solidFill>
                <a:latin typeface="Segoe UI" panose="020B0502040204020203" pitchFamily="34" charset="0"/>
                <a:cs typeface="Segoe UI" panose="020B0502040204020203" pitchFamily="34" charset="0"/>
                <a:sym typeface="Segoe UI Semibold"/>
              </a:rPr>
              <a:t>hvac</a:t>
            </a:r>
            <a:r>
              <a:rPr lang="en-US" sz="1600">
                <a:solidFill>
                  <a:srgbClr val="243A5E">
                    <a:lumMod val="50000"/>
                  </a:srgbClr>
                </a:solidFill>
                <a:latin typeface="Segoe UI" panose="020B0502040204020203" pitchFamily="34" charset="0"/>
                <a:cs typeface="Segoe UI" panose="020B0502040204020203" pitchFamily="34" charset="0"/>
                <a:sym typeface="Segoe UI Semibold"/>
              </a:rPr>
              <a:t>’ </a:t>
            </a:r>
          </a:p>
          <a:p>
            <a:pPr algn="ctr" defTabSz="914126">
              <a:defRPr/>
            </a:pPr>
            <a:r>
              <a:rPr lang="en-US" sz="1600">
                <a:solidFill>
                  <a:srgbClr val="243A5E">
                    <a:lumMod val="50000"/>
                  </a:srgbClr>
                </a:solidFill>
                <a:latin typeface="Segoe UI" panose="020B0502040204020203" pitchFamily="34" charset="0"/>
                <a:cs typeface="Segoe UI" panose="020B0502040204020203" pitchFamily="34" charset="0"/>
                <a:sym typeface="Segoe UI Semibold"/>
              </a:rPr>
              <a:t>and </a:t>
            </a:r>
          </a:p>
          <a:p>
            <a:pPr algn="ctr" defTabSz="914126">
              <a:defRPr/>
            </a:pPr>
            <a:r>
              <a:rPr lang="en-US" sz="1600">
                <a:solidFill>
                  <a:srgbClr val="243A5E">
                    <a:lumMod val="50000"/>
                  </a:srgbClr>
                </a:solidFill>
                <a:latin typeface="Segoe UI" panose="020B0502040204020203" pitchFamily="34" charset="0"/>
                <a:cs typeface="Segoe UI" panose="020B0502040204020203" pitchFamily="34" charset="0"/>
                <a:sym typeface="Segoe UI Semibold"/>
              </a:rPr>
              <a:t>type = '</a:t>
            </a:r>
            <a:r>
              <a:rPr lang="en-US" sz="1600">
                <a:solidFill>
                  <a:srgbClr val="FF0000"/>
                </a:solidFill>
                <a:latin typeface="Segoe UI" panose="020B0502040204020203" pitchFamily="34" charset="0"/>
                <a:cs typeface="Segoe UI" panose="020B0502040204020203" pitchFamily="34" charset="0"/>
                <a:sym typeface="Segoe UI Semibold"/>
              </a:rPr>
              <a:t>telemetry</a:t>
            </a:r>
            <a:r>
              <a:rPr lang="en-US" sz="1600">
                <a:solidFill>
                  <a:srgbClr val="243A5E">
                    <a:lumMod val="50000"/>
                  </a:srgbClr>
                </a:solidFill>
                <a:latin typeface="Segoe UI" panose="020B0502040204020203" pitchFamily="34" charset="0"/>
                <a:cs typeface="Segoe UI" panose="020B0502040204020203" pitchFamily="34" charset="0"/>
                <a:sym typeface="Segoe UI Semibold"/>
              </a:rPr>
              <a:t>'</a:t>
            </a:r>
            <a:endParaRPr lang="en-AU" sz="1600">
              <a:solidFill>
                <a:srgbClr val="243A5E">
                  <a:lumMod val="50000"/>
                </a:srgbClr>
              </a:solidFill>
              <a:latin typeface="Segoe UI" panose="020B0502040204020203" pitchFamily="34" charset="0"/>
              <a:cs typeface="Segoe UI" panose="020B0502040204020203" pitchFamily="34" charset="0"/>
              <a:sym typeface="Segoe UI Semibold"/>
            </a:endParaRPr>
          </a:p>
        </p:txBody>
      </p:sp>
      <p:cxnSp>
        <p:nvCxnSpPr>
          <p:cNvPr id="6" name="Straight Arrow Connector 5">
            <a:extLst>
              <a:ext uri="{FF2B5EF4-FFF2-40B4-BE49-F238E27FC236}">
                <a16:creationId xmlns:a16="http://schemas.microsoft.com/office/drawing/2014/main" id="{344CDEAC-E620-48E0-BBB0-6FBB349A3E77}"/>
              </a:ext>
            </a:extLst>
          </p:cNvPr>
          <p:cNvCxnSpPr>
            <a:cxnSpLocks/>
            <a:stCxn id="5" idx="3"/>
          </p:cNvCxnSpPr>
          <p:nvPr/>
        </p:nvCxnSpPr>
        <p:spPr>
          <a:xfrm flipV="1">
            <a:off x="7868504" y="2708764"/>
            <a:ext cx="1503333" cy="1013218"/>
          </a:xfrm>
          <a:prstGeom prst="straightConnector1">
            <a:avLst/>
          </a:prstGeom>
          <a:noFill/>
          <a:ln w="38100" cap="flat" cmpd="sng" algn="ctr">
            <a:solidFill>
              <a:schemeClr val="bg1"/>
            </a:solidFill>
            <a:prstDash val="solid"/>
            <a:miter lim="800000"/>
            <a:tailEnd type="triangle"/>
          </a:ln>
          <a:effectLst/>
        </p:spPr>
      </p:cxnSp>
      <p:cxnSp>
        <p:nvCxnSpPr>
          <p:cNvPr id="7" name="Straight Arrow Connector 6">
            <a:extLst>
              <a:ext uri="{FF2B5EF4-FFF2-40B4-BE49-F238E27FC236}">
                <a16:creationId xmlns:a16="http://schemas.microsoft.com/office/drawing/2014/main" id="{826F46AB-F183-4DC3-A07C-08A8F9B77B2E}"/>
              </a:ext>
            </a:extLst>
          </p:cNvPr>
          <p:cNvCxnSpPr>
            <a:cxnSpLocks/>
            <a:stCxn id="5" idx="3"/>
          </p:cNvCxnSpPr>
          <p:nvPr/>
        </p:nvCxnSpPr>
        <p:spPr>
          <a:xfrm flipV="1">
            <a:off x="7868503" y="3526388"/>
            <a:ext cx="1474466" cy="195594"/>
          </a:xfrm>
          <a:prstGeom prst="straightConnector1">
            <a:avLst/>
          </a:prstGeom>
          <a:noFill/>
          <a:ln w="38100" cap="flat" cmpd="sng" algn="ctr">
            <a:solidFill>
              <a:schemeClr val="bg1"/>
            </a:solidFill>
            <a:prstDash val="solid"/>
            <a:miter lim="800000"/>
            <a:tailEnd type="triangle"/>
          </a:ln>
          <a:effectLst/>
        </p:spPr>
      </p:cxnSp>
      <p:cxnSp>
        <p:nvCxnSpPr>
          <p:cNvPr id="8" name="Straight Arrow Connector 7">
            <a:extLst>
              <a:ext uri="{FF2B5EF4-FFF2-40B4-BE49-F238E27FC236}">
                <a16:creationId xmlns:a16="http://schemas.microsoft.com/office/drawing/2014/main" id="{A6EABFA8-FD45-4872-9A25-57DDC8F1396E}"/>
              </a:ext>
            </a:extLst>
          </p:cNvPr>
          <p:cNvCxnSpPr>
            <a:cxnSpLocks/>
            <a:stCxn id="5" idx="3"/>
          </p:cNvCxnSpPr>
          <p:nvPr/>
        </p:nvCxnSpPr>
        <p:spPr>
          <a:xfrm>
            <a:off x="7868504" y="3721983"/>
            <a:ext cx="1480897" cy="572763"/>
          </a:xfrm>
          <a:prstGeom prst="straightConnector1">
            <a:avLst/>
          </a:prstGeom>
          <a:noFill/>
          <a:ln w="38100" cap="flat" cmpd="sng" algn="ctr">
            <a:solidFill>
              <a:schemeClr val="bg1"/>
            </a:solidFill>
            <a:prstDash val="solid"/>
            <a:miter lim="800000"/>
            <a:tailEnd type="triangle"/>
          </a:ln>
          <a:effectLst/>
        </p:spPr>
      </p:cxnSp>
      <p:cxnSp>
        <p:nvCxnSpPr>
          <p:cNvPr id="9" name="Straight Arrow Connector 8">
            <a:extLst>
              <a:ext uri="{FF2B5EF4-FFF2-40B4-BE49-F238E27FC236}">
                <a16:creationId xmlns:a16="http://schemas.microsoft.com/office/drawing/2014/main" id="{761EB57C-0E77-4C83-9313-57F344C0CACE}"/>
              </a:ext>
            </a:extLst>
          </p:cNvPr>
          <p:cNvCxnSpPr>
            <a:cxnSpLocks/>
            <a:stCxn id="5" idx="3"/>
          </p:cNvCxnSpPr>
          <p:nvPr/>
        </p:nvCxnSpPr>
        <p:spPr>
          <a:xfrm>
            <a:off x="7868504" y="3721982"/>
            <a:ext cx="1480897" cy="1292648"/>
          </a:xfrm>
          <a:prstGeom prst="straightConnector1">
            <a:avLst/>
          </a:prstGeom>
          <a:noFill/>
          <a:ln w="38100" cap="flat" cmpd="sng" algn="ctr">
            <a:solidFill>
              <a:schemeClr val="bg1"/>
            </a:solidFill>
            <a:prstDash val="solid"/>
            <a:miter lim="800000"/>
            <a:tailEnd type="triangle"/>
          </a:ln>
          <a:effectLst/>
        </p:spPr>
      </p:cxnSp>
      <p:sp>
        <p:nvSpPr>
          <p:cNvPr id="10" name="TextBox 9">
            <a:extLst>
              <a:ext uri="{FF2B5EF4-FFF2-40B4-BE49-F238E27FC236}">
                <a16:creationId xmlns:a16="http://schemas.microsoft.com/office/drawing/2014/main" id="{59207423-2359-4FED-BECB-CA3CCA2A8E47}"/>
              </a:ext>
            </a:extLst>
          </p:cNvPr>
          <p:cNvSpPr txBox="1"/>
          <p:nvPr/>
        </p:nvSpPr>
        <p:spPr>
          <a:xfrm>
            <a:off x="3223830" y="2198214"/>
            <a:ext cx="2705366" cy="3046988"/>
          </a:xfrm>
          <a:prstGeom prst="rect">
            <a:avLst/>
          </a:prstGeom>
          <a:solidFill>
            <a:schemeClr val="tx2">
              <a:lumMod val="20000"/>
              <a:lumOff val="80000"/>
            </a:schemeClr>
          </a:solidFill>
          <a:effectLst>
            <a:outerShdw blurRad="50800" dist="38100" algn="l" rotWithShape="0">
              <a:prstClr val="black">
                <a:alpha val="40000"/>
              </a:prstClr>
            </a:outerShdw>
          </a:effectLst>
        </p:spPr>
        <p:txBody>
          <a:bodyPr wrap="square" rtlCol="0">
            <a:spAutoFit/>
          </a:bodyPr>
          <a:lstStyle/>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body"</a:t>
            </a:r>
            <a:r>
              <a:rPr lang="en-AU" sz="12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Temperatur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30.25"</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Humidity"</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54.0"</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Pressur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1021.8"</a:t>
            </a:r>
            <a:endParaRPr lang="en-AU" sz="1200" kern="0" spc="-112">
              <a:solidFill>
                <a:srgbClr val="000000"/>
              </a:solidFill>
              <a:latin typeface="Consolas" panose="020B0609020204030204" pitchFamily="49" charset="0"/>
              <a:cs typeface="Segoe UI" panose="020B0502040204020203" pitchFamily="34" charset="0"/>
              <a:sym typeface="Segoe UI Semibold"/>
            </a:endParaRP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properties"</a:t>
            </a:r>
            <a:r>
              <a:rPr lang="en-AU" sz="12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a:t>
            </a:r>
            <a:r>
              <a:rPr lang="en-AU" sz="1200" kern="0" spc="-112" err="1">
                <a:solidFill>
                  <a:srgbClr val="0451A5"/>
                </a:solidFill>
                <a:latin typeface="Consolas" panose="020B0609020204030204" pitchFamily="49" charset="0"/>
                <a:cs typeface="Segoe UI" panose="020B0502040204020203" pitchFamily="34" charset="0"/>
                <a:sym typeface="Segoe UI Semibold"/>
              </a:rPr>
              <a:t>appid</a:t>
            </a:r>
            <a:r>
              <a:rPr lang="en-AU" sz="1200" kern="0" spc="-112">
                <a:solidFill>
                  <a:srgbClr val="0451A5"/>
                </a:solidFill>
                <a:latin typeface="Consolas" panose="020B0609020204030204" pitchFamily="49" charset="0"/>
                <a:cs typeface="Segoe UI" panose="020B0502040204020203" pitchFamily="34" charset="0"/>
                <a:sym typeface="Segoe UI Semibold"/>
              </a:rPr>
              <a:t>"</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a:t>
            </a:r>
            <a:r>
              <a:rPr lang="en-AU" sz="1200" kern="0" spc="-112" err="1">
                <a:solidFill>
                  <a:srgbClr val="A31515"/>
                </a:solidFill>
                <a:latin typeface="Consolas" panose="020B0609020204030204" pitchFamily="49" charset="0"/>
                <a:cs typeface="Segoe UI" panose="020B0502040204020203" pitchFamily="34" charset="0"/>
                <a:sym typeface="Segoe UI Semibold"/>
              </a:rPr>
              <a:t>hvac</a:t>
            </a:r>
            <a:r>
              <a:rPr lang="en-AU" sz="1200" kern="0" spc="-112">
                <a:solidFill>
                  <a:srgbClr val="A31515"/>
                </a:solidFill>
                <a:latin typeface="Consolas" panose="020B0609020204030204" pitchFamily="49" charset="0"/>
                <a:cs typeface="Segoe UI" panose="020B0502040204020203" pitchFamily="34" charset="0"/>
                <a:sym typeface="Segoe UI Semibold"/>
              </a:rPr>
              <a:t>"</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typ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telemetry"</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format"</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json"</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version"</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1"</a:t>
            </a:r>
            <a:r>
              <a:rPr lang="en-AU" sz="12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latitud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33.8767984"</a:t>
            </a:r>
            <a:r>
              <a:rPr lang="en-AU" sz="1200" kern="0" spc="-112">
                <a:solidFill>
                  <a:srgbClr val="000000"/>
                </a:solidFill>
                <a:latin typeface="Consolas" panose="020B0609020204030204" pitchFamily="49" charset="0"/>
                <a:cs typeface="Segoe UI" panose="020B0502040204020203" pitchFamily="34" charset="0"/>
                <a:sym typeface="Segoe UI Semibold"/>
              </a:rPr>
              <a:t>,</a:t>
            </a:r>
            <a:endParaRPr lang="en-AU" sz="1200" kern="0" spc="-112">
              <a:solidFill>
                <a:srgbClr val="0451A5"/>
              </a:solidFill>
              <a:latin typeface="Consolas" panose="020B0609020204030204" pitchFamily="49" charset="0"/>
              <a:cs typeface="Segoe UI" panose="020B0502040204020203" pitchFamily="34" charset="0"/>
              <a:sym typeface="Segoe UI Semibold"/>
            </a:endParaRPr>
          </a:p>
          <a:p>
            <a:pPr defTabSz="412667" hangingPunct="0"/>
            <a:r>
              <a:rPr lang="en-AU" sz="1200" kern="0" spc="-112">
                <a:solidFill>
                  <a:srgbClr val="0451A5"/>
                </a:solidFill>
                <a:latin typeface="Consolas" panose="020B0609020204030204" pitchFamily="49" charset="0"/>
                <a:cs typeface="Segoe UI" panose="020B0502040204020203" pitchFamily="34" charset="0"/>
                <a:sym typeface="Segoe UI Semibold"/>
              </a:rPr>
              <a:t>    "longitud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151.208305"</a:t>
            </a:r>
            <a:r>
              <a:rPr lang="en-AU" sz="1200" kern="0" spc="-112">
                <a:solidFill>
                  <a:srgbClr val="000000"/>
                </a:solidFill>
                <a:latin typeface="Consolas" panose="020B0609020204030204" pitchFamily="49" charset="0"/>
                <a:cs typeface="Segoe UI" panose="020B0502040204020203" pitchFamily="34" charset="0"/>
                <a:sym typeface="Segoe UI Semibold"/>
              </a:rPr>
              <a:t>,</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0451A5"/>
                </a:solidFill>
                <a:latin typeface="Consolas" panose="020B0609020204030204" pitchFamily="49" charset="0"/>
                <a:cs typeface="Segoe UI" panose="020B0502040204020203" pitchFamily="34" charset="0"/>
                <a:sym typeface="Segoe UI Semibold"/>
              </a:rPr>
              <a:t>"name"</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kern="0" spc="-112">
                <a:solidFill>
                  <a:srgbClr val="A31515"/>
                </a:solidFill>
                <a:latin typeface="Consolas" panose="020B0609020204030204" pitchFamily="49" charset="0"/>
                <a:cs typeface="Segoe UI" panose="020B0502040204020203" pitchFamily="34" charset="0"/>
                <a:sym typeface="Segoe UI Semibold"/>
              </a:rPr>
              <a:t>"Sydney Factory"</a:t>
            </a:r>
            <a:r>
              <a:rPr lang="en-AU" sz="1200" kern="0" spc="-112">
                <a:solidFill>
                  <a:srgbClr val="000000"/>
                </a:solidFill>
                <a:latin typeface="Consolas" panose="020B0609020204030204" pitchFamily="49" charset="0"/>
                <a:cs typeface="Segoe UI" panose="020B0502040204020203" pitchFamily="34" charset="0"/>
                <a:sym typeface="Segoe UI Semibold"/>
              </a:rPr>
              <a:t>   </a:t>
            </a:r>
            <a:r>
              <a:rPr lang="en-AU" sz="1200" b="1"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  }</a:t>
            </a:r>
          </a:p>
          <a:p>
            <a:pPr defTabSz="412667" hangingPunct="0"/>
            <a:r>
              <a:rPr lang="en-AU" sz="1200" kern="0" spc="-112">
                <a:solidFill>
                  <a:srgbClr val="000000"/>
                </a:solidFill>
                <a:latin typeface="Consolas" panose="020B0609020204030204" pitchFamily="49" charset="0"/>
                <a:cs typeface="Segoe UI" panose="020B0502040204020203" pitchFamily="34" charset="0"/>
                <a:sym typeface="Segoe UI Semibold"/>
              </a:rPr>
              <a:t>}</a:t>
            </a:r>
          </a:p>
        </p:txBody>
      </p:sp>
      <p:sp>
        <p:nvSpPr>
          <p:cNvPr id="11" name="Rectangle 10">
            <a:extLst>
              <a:ext uri="{FF2B5EF4-FFF2-40B4-BE49-F238E27FC236}">
                <a16:creationId xmlns:a16="http://schemas.microsoft.com/office/drawing/2014/main" id="{B0EDCD53-4663-4D59-8623-B52EC67F0AB8}"/>
              </a:ext>
            </a:extLst>
          </p:cNvPr>
          <p:cNvSpPr/>
          <p:nvPr/>
        </p:nvSpPr>
        <p:spPr>
          <a:xfrm>
            <a:off x="9414892" y="2025555"/>
            <a:ext cx="2281232" cy="3392854"/>
          </a:xfrm>
          <a:prstGeom prst="rect">
            <a:avLst/>
          </a:prstGeom>
          <a:solidFill>
            <a:srgbClr val="E7E6E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a:defRPr/>
            </a:pPr>
            <a:r>
              <a:rPr lang="en-AU" sz="1600" kern="0">
                <a:solidFill>
                  <a:srgbClr val="243A5E">
                    <a:lumMod val="50000"/>
                  </a:srgbClr>
                </a:solidFill>
                <a:latin typeface="Segoe UI" panose="020B0502040204020203" pitchFamily="34" charset="0"/>
                <a:cs typeface="Segoe UI" panose="020B0502040204020203" pitchFamily="34" charset="0"/>
                <a:sym typeface="Segoe UI Semibold"/>
              </a:rPr>
              <a:t>Endpoint Partitioning</a:t>
            </a:r>
          </a:p>
        </p:txBody>
      </p:sp>
      <p:sp>
        <p:nvSpPr>
          <p:cNvPr id="12" name="TextBox 11">
            <a:extLst>
              <a:ext uri="{FF2B5EF4-FFF2-40B4-BE49-F238E27FC236}">
                <a16:creationId xmlns:a16="http://schemas.microsoft.com/office/drawing/2014/main" id="{89154C55-39A6-40EE-994B-53262049D27B}"/>
              </a:ext>
            </a:extLst>
          </p:cNvPr>
          <p:cNvSpPr txBox="1"/>
          <p:nvPr/>
        </p:nvSpPr>
        <p:spPr>
          <a:xfrm>
            <a:off x="10253445" y="2494334"/>
            <a:ext cx="1376530" cy="461665"/>
          </a:xfrm>
          <a:prstGeom prst="rect">
            <a:avLst/>
          </a:prstGeom>
          <a:noFill/>
        </p:spPr>
        <p:txBody>
          <a:bodyPr wrap="squar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HVAC telemetry Event hub</a:t>
            </a:r>
          </a:p>
        </p:txBody>
      </p:sp>
      <p:pic>
        <p:nvPicPr>
          <p:cNvPr id="13" name="Picture 12">
            <a:extLst>
              <a:ext uri="{FF2B5EF4-FFF2-40B4-BE49-F238E27FC236}">
                <a16:creationId xmlns:a16="http://schemas.microsoft.com/office/drawing/2014/main" id="{D9D159FD-A325-4DA7-8CAA-4EA15712E76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9029" y="4656847"/>
            <a:ext cx="708875" cy="708875"/>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11640093-792A-4E63-90AE-6BB1EE6A3820}"/>
              </a:ext>
            </a:extLst>
          </p:cNvPr>
          <p:cNvSpPr txBox="1"/>
          <p:nvPr/>
        </p:nvSpPr>
        <p:spPr>
          <a:xfrm>
            <a:off x="10286980" y="4783798"/>
            <a:ext cx="1229376" cy="461665"/>
          </a:xfrm>
          <a:prstGeom prst="rect">
            <a:avLst/>
          </a:prstGeom>
          <a:noFill/>
        </p:spPr>
        <p:txBody>
          <a:bodyPr wrap="non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Audit cold path</a:t>
            </a:r>
          </a:p>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Azure storage</a:t>
            </a:r>
          </a:p>
        </p:txBody>
      </p:sp>
      <p:sp>
        <p:nvSpPr>
          <p:cNvPr id="15" name="TextBox 14">
            <a:extLst>
              <a:ext uri="{FF2B5EF4-FFF2-40B4-BE49-F238E27FC236}">
                <a16:creationId xmlns:a16="http://schemas.microsoft.com/office/drawing/2014/main" id="{72173BEE-12B2-45E1-83FF-16673883D422}"/>
              </a:ext>
            </a:extLst>
          </p:cNvPr>
          <p:cNvSpPr txBox="1"/>
          <p:nvPr/>
        </p:nvSpPr>
        <p:spPr>
          <a:xfrm>
            <a:off x="10253445" y="3259866"/>
            <a:ext cx="1409488" cy="461665"/>
          </a:xfrm>
          <a:prstGeom prst="rect">
            <a:avLst/>
          </a:prstGeom>
          <a:noFill/>
        </p:spPr>
        <p:txBody>
          <a:bodyPr wrap="non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Security telemetry</a:t>
            </a:r>
          </a:p>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Event hub</a:t>
            </a:r>
          </a:p>
        </p:txBody>
      </p:sp>
      <p:pic>
        <p:nvPicPr>
          <p:cNvPr id="18" name="Picture 17" descr="Reekoh | Plugins">
            <a:extLst>
              <a:ext uri="{FF2B5EF4-FFF2-40B4-BE49-F238E27FC236}">
                <a16:creationId xmlns:a16="http://schemas.microsoft.com/office/drawing/2014/main" id="{C1C7398A-6F1B-4C1B-B261-A41E448EF954}"/>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13333" b="86000" l="13000" r="86667">
                        <a14:foregroundMark x1="17333" y1="82333" x2="17333" y2="82333"/>
                        <a14:foregroundMark x1="17000" y1="70333" x2="17000" y2="70333"/>
                        <a14:foregroundMark x1="17667" y1="71667" x2="26333" y2="83333"/>
                        <a14:foregroundMark x1="13333" y1="70333" x2="13333" y2="70333"/>
                        <a14:foregroundMark x1="26333" y1="86000" x2="26333" y2="86000"/>
                        <a14:foregroundMark x1="80333" y1="26333" x2="80333" y2="26333"/>
                        <a14:foregroundMark x1="86667" y1="24667" x2="86667" y2="24667"/>
                        <a14:foregroundMark x1="85000" y1="13333" x2="85000" y2="13333"/>
                      </a14:backgroundRemoval>
                    </a14:imgEffect>
                  </a14:imgLayer>
                </a14:imgProps>
              </a:ext>
              <a:ext uri="{28A0092B-C50C-407E-A947-70E740481C1C}">
                <a14:useLocalDpi xmlns:a14="http://schemas.microsoft.com/office/drawing/2010/main" val="0"/>
              </a:ext>
            </a:extLst>
          </a:blip>
          <a:srcRect l="8393" t="8395" r="10628" b="8418"/>
          <a:stretch/>
        </p:blipFill>
        <p:spPr bwMode="auto">
          <a:xfrm>
            <a:off x="891396" y="2865881"/>
            <a:ext cx="952215" cy="97819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9" name="Picture 2" descr="Image for post">
            <a:extLst>
              <a:ext uri="{FF2B5EF4-FFF2-40B4-BE49-F238E27FC236}">
                <a16:creationId xmlns:a16="http://schemas.microsoft.com/office/drawing/2014/main" id="{B664F6DA-8F6A-407B-9659-CBC210EADF6E}"/>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9565794" y="2400693"/>
            <a:ext cx="688574" cy="69485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0" name="Picture 2" descr="Image for post">
            <a:extLst>
              <a:ext uri="{FF2B5EF4-FFF2-40B4-BE49-F238E27FC236}">
                <a16:creationId xmlns:a16="http://schemas.microsoft.com/office/drawing/2014/main" id="{E6AD4545-26DC-47DE-AD43-B35F13162ED3}"/>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9602194" y="3933611"/>
            <a:ext cx="652175" cy="6581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1" name="Picture 2" descr="Image for post">
            <a:extLst>
              <a:ext uri="{FF2B5EF4-FFF2-40B4-BE49-F238E27FC236}">
                <a16:creationId xmlns:a16="http://schemas.microsoft.com/office/drawing/2014/main" id="{023B6E19-5CBB-46C7-A2C3-ED0FBB2308A4}"/>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9602194" y="3185518"/>
            <a:ext cx="652175" cy="6581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8770C432-B9C9-4FA8-B2BD-234D3DD795ED}"/>
              </a:ext>
            </a:extLst>
          </p:cNvPr>
          <p:cNvSpPr txBox="1"/>
          <p:nvPr/>
        </p:nvSpPr>
        <p:spPr>
          <a:xfrm>
            <a:off x="10286980" y="4043213"/>
            <a:ext cx="1428724" cy="461665"/>
          </a:xfrm>
          <a:prstGeom prst="rect">
            <a:avLst/>
          </a:prstGeom>
          <a:noFill/>
        </p:spPr>
        <p:txBody>
          <a:bodyPr wrap="none" rtlCol="0">
            <a:spAutoFit/>
          </a:bodyPr>
          <a:lstStyle/>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Lighting telemetry</a:t>
            </a:r>
          </a:p>
          <a:p>
            <a:pPr defTabSz="914126"/>
            <a:r>
              <a:rPr lang="en-AU" sz="1200">
                <a:solidFill>
                  <a:srgbClr val="243A5E">
                    <a:lumMod val="50000"/>
                  </a:srgbClr>
                </a:solidFill>
                <a:latin typeface="Segoe UI" panose="020B0502040204020203" pitchFamily="34" charset="0"/>
                <a:cs typeface="Segoe UI" panose="020B0502040204020203" pitchFamily="34" charset="0"/>
                <a:sym typeface="Segoe UI Semibold"/>
              </a:rPr>
              <a:t>Event hub</a:t>
            </a:r>
          </a:p>
        </p:txBody>
      </p:sp>
      <p:sp>
        <p:nvSpPr>
          <p:cNvPr id="23" name="Rectangle 22">
            <a:extLst>
              <a:ext uri="{FF2B5EF4-FFF2-40B4-BE49-F238E27FC236}">
                <a16:creationId xmlns:a16="http://schemas.microsoft.com/office/drawing/2014/main" id="{15AE4048-5F8B-4575-90BC-C5CA1ED9D38D}"/>
              </a:ext>
            </a:extLst>
          </p:cNvPr>
          <p:cNvSpPr/>
          <p:nvPr/>
        </p:nvSpPr>
        <p:spPr>
          <a:xfrm>
            <a:off x="1970493" y="2157393"/>
            <a:ext cx="1181469" cy="3129178"/>
          </a:xfrm>
          <a:prstGeom prst="rect">
            <a:avLst/>
          </a:prstGeom>
          <a:solidFill>
            <a:srgbClr val="5B9BD5">
              <a:lumMod val="20000"/>
              <a:lumOff val="80000"/>
            </a:srgbClr>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t"/>
          <a:lstStyle/>
          <a:p>
            <a:pPr algn="ctr" defTabSz="914126">
              <a:defRPr/>
            </a:pPr>
            <a:r>
              <a:rPr lang="en-AU" sz="1200">
                <a:solidFill>
                  <a:srgbClr val="243A5E">
                    <a:lumMod val="50000"/>
                  </a:srgbClr>
                </a:solidFill>
                <a:latin typeface="Segoe UI" panose="020B0502040204020203" pitchFamily="34" charset="0"/>
                <a:cs typeface="Segoe UI" panose="020B0502040204020203" pitchFamily="34" charset="0"/>
                <a:sym typeface="Segoe UI Semibold"/>
              </a:rPr>
              <a:t>Message partitioning</a:t>
            </a:r>
          </a:p>
        </p:txBody>
      </p:sp>
      <p:pic>
        <p:nvPicPr>
          <p:cNvPr id="24" name="Picture 2" descr="Image for post">
            <a:extLst>
              <a:ext uri="{FF2B5EF4-FFF2-40B4-BE49-F238E27FC236}">
                <a16:creationId xmlns:a16="http://schemas.microsoft.com/office/drawing/2014/main" id="{2A2587E8-F015-4E93-8442-390700165074}"/>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2223743" y="2959033"/>
            <a:ext cx="652175" cy="6581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978171F0-C411-4AA2-98FA-35ABE10EA40D}"/>
              </a:ext>
            </a:extLst>
          </p:cNvPr>
          <p:cNvSpPr txBox="1"/>
          <p:nvPr/>
        </p:nvSpPr>
        <p:spPr>
          <a:xfrm>
            <a:off x="1970493" y="2708487"/>
            <a:ext cx="1181469"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HVAC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sp>
        <p:nvSpPr>
          <p:cNvPr id="26" name="TextBox 25">
            <a:extLst>
              <a:ext uri="{FF2B5EF4-FFF2-40B4-BE49-F238E27FC236}">
                <a16:creationId xmlns:a16="http://schemas.microsoft.com/office/drawing/2014/main" id="{FA9BB318-EB27-4929-A926-AFBB7F58CA4E}"/>
              </a:ext>
            </a:extLst>
          </p:cNvPr>
          <p:cNvSpPr txBox="1"/>
          <p:nvPr/>
        </p:nvSpPr>
        <p:spPr>
          <a:xfrm>
            <a:off x="1982850" y="3730823"/>
            <a:ext cx="1169111"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Security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sp>
        <p:nvSpPr>
          <p:cNvPr id="27" name="TextBox 26">
            <a:extLst>
              <a:ext uri="{FF2B5EF4-FFF2-40B4-BE49-F238E27FC236}">
                <a16:creationId xmlns:a16="http://schemas.microsoft.com/office/drawing/2014/main" id="{65075F3D-CE61-485C-839D-9CF6F7F5D4EA}"/>
              </a:ext>
            </a:extLst>
          </p:cNvPr>
          <p:cNvSpPr txBox="1"/>
          <p:nvPr/>
        </p:nvSpPr>
        <p:spPr>
          <a:xfrm>
            <a:off x="1982849" y="4465273"/>
            <a:ext cx="1161796" cy="276999"/>
          </a:xfrm>
          <a:prstGeom prst="rect">
            <a:avLst/>
          </a:prstGeom>
          <a:noFill/>
        </p:spPr>
        <p:txBody>
          <a:bodyPr wrap="square" rtlCol="0">
            <a:spAutoFit/>
          </a:bodyPr>
          <a:lstStyle/>
          <a:p>
            <a:pPr algn="ctr" defTabSz="914126"/>
            <a:r>
              <a:rPr lang="en-AU" sz="1200">
                <a:solidFill>
                  <a:srgbClr val="7030A0"/>
                </a:solidFill>
                <a:latin typeface="Segoe UI" panose="020B0502040204020203" pitchFamily="34" charset="0"/>
                <a:cs typeface="Segoe UI" panose="020B0502040204020203" pitchFamily="34" charset="0"/>
                <a:sym typeface="Segoe UI Semibold"/>
              </a:rPr>
              <a:t>Lighting </a:t>
            </a:r>
            <a:r>
              <a:rPr lang="en-AU" sz="1200" err="1">
                <a:solidFill>
                  <a:srgbClr val="7030A0"/>
                </a:solidFill>
                <a:latin typeface="Segoe UI" panose="020B0502040204020203" pitchFamily="34" charset="0"/>
                <a:cs typeface="Segoe UI" panose="020B0502040204020203" pitchFamily="34" charset="0"/>
                <a:sym typeface="Segoe UI Semibold"/>
              </a:rPr>
              <a:t>msgs</a:t>
            </a:r>
            <a:endParaRPr lang="en-AU" sz="1200">
              <a:solidFill>
                <a:srgbClr val="7030A0"/>
              </a:solidFill>
              <a:latin typeface="Segoe UI" panose="020B0502040204020203" pitchFamily="34" charset="0"/>
              <a:cs typeface="Segoe UI" panose="020B0502040204020203" pitchFamily="34" charset="0"/>
              <a:sym typeface="Segoe UI Semibold"/>
            </a:endParaRPr>
          </a:p>
        </p:txBody>
      </p:sp>
      <p:pic>
        <p:nvPicPr>
          <p:cNvPr id="28" name="Picture 2" descr="Image for post">
            <a:extLst>
              <a:ext uri="{FF2B5EF4-FFF2-40B4-BE49-F238E27FC236}">
                <a16:creationId xmlns:a16="http://schemas.microsoft.com/office/drawing/2014/main" id="{874996CE-FAD6-47CF-8BA7-5A26807EA943}"/>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2233770" y="3993854"/>
            <a:ext cx="467156" cy="47141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9" name="Picture 2" descr="Image for post">
            <a:extLst>
              <a:ext uri="{FF2B5EF4-FFF2-40B4-BE49-F238E27FC236}">
                <a16:creationId xmlns:a16="http://schemas.microsoft.com/office/drawing/2014/main" id="{670543AF-7C1A-44D8-81B7-0F1EDA459BB8}"/>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7544" b="80263" l="38889" r="59942">
                        <a14:foregroundMark x1="50585" y1="42105" x2="50585" y2="42105"/>
                        <a14:foregroundMark x1="55409" y1="50877" x2="55409" y2="50877"/>
                        <a14:foregroundMark x1="50146" y1="58772" x2="50146" y2="58772"/>
                        <a14:foregroundMark x1="45322" y1="50877" x2="45322" y2="50877"/>
                        <a14:foregroundMark x1="45760" y1="64474" x2="45760" y2="64474"/>
                        <a14:foregroundMark x1="47661" y1="77193" x2="47661" y2="77193"/>
                        <a14:foregroundMark x1="57895" y1="23246" x2="57895" y2="23246"/>
                        <a14:foregroundMark x1="57602" y1="22807" x2="57602" y2="22807"/>
                        <a14:foregroundMark x1="54678" y1="21930" x2="54678" y2="21930"/>
                        <a14:foregroundMark x1="54678" y1="21930" x2="54678" y2="21930"/>
                        <a14:foregroundMark x1="53363" y1="21053" x2="50146" y2="20175"/>
                        <a14:foregroundMark x1="46345" y1="21053" x2="46345" y2="21053"/>
                        <a14:foregroundMark x1="44006" y1="21053" x2="40789" y2="21053"/>
                        <a14:foregroundMark x1="59211" y1="28070" x2="59211" y2="27193"/>
                        <a14:foregroundMark x1="59211" y1="22368" x2="59211" y2="22368"/>
                        <a14:foregroundMark x1="59357" y1="21491" x2="42544" y2="21053"/>
                        <a14:foregroundMark x1="42544" y1="21053" x2="40205" y2="27193"/>
                        <a14:foregroundMark x1="59942" y1="29386" x2="59503" y2="19737"/>
                        <a14:foregroundMark x1="39912" y1="18421" x2="56871" y2="19737"/>
                        <a14:foregroundMark x1="56871" y1="19737" x2="59942" y2="19298"/>
                        <a14:foregroundMark x1="39327" y1="18421" x2="39620" y2="28509"/>
                        <a14:foregroundMark x1="40351" y1="70614" x2="40789" y2="77632"/>
                        <a14:foregroundMark x1="41959" y1="80263" x2="46053" y2="78947"/>
                        <a14:foregroundMark x1="51316" y1="80263" x2="50731" y2="80263"/>
                        <a14:foregroundMark x1="50439" y1="80263" x2="54240" y2="79386"/>
                        <a14:foregroundMark x1="56579" y1="78509" x2="58480" y2="79386"/>
                        <a14:foregroundMark x1="39327" y1="18860" x2="39327" y2="18860"/>
                      </a14:backgroundRemoval>
                    </a14:imgEffect>
                  </a14:imgLayer>
                </a14:imgProps>
              </a:ext>
              <a:ext uri="{28A0092B-C50C-407E-A947-70E740481C1C}">
                <a14:useLocalDpi xmlns:a14="http://schemas.microsoft.com/office/drawing/2010/main" val="0"/>
              </a:ext>
            </a:extLst>
          </a:blip>
          <a:srcRect l="38567" t="15339" r="38500" b="15232"/>
          <a:stretch/>
        </p:blipFill>
        <p:spPr bwMode="auto">
          <a:xfrm>
            <a:off x="2233770" y="4725144"/>
            <a:ext cx="467156" cy="47141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39991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P spid="12" grpId="0"/>
      <p:bldP spid="14" grpId="0"/>
      <p:bldP spid="15" grpId="0"/>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21F7-19CD-6B4A-8900-FB4BCB77EC8A}"/>
              </a:ext>
            </a:extLst>
          </p:cNvPr>
          <p:cNvSpPr>
            <a:spLocks noGrp="1"/>
          </p:cNvSpPr>
          <p:nvPr>
            <p:ph type="title"/>
          </p:nvPr>
        </p:nvSpPr>
        <p:spPr/>
        <p:txBody>
          <a:bodyPr/>
          <a:lstStyle/>
          <a:p>
            <a:r>
              <a:rPr lang="en-US"/>
              <a:t>The nature of IoT Data</a:t>
            </a:r>
          </a:p>
        </p:txBody>
      </p:sp>
      <p:sp>
        <p:nvSpPr>
          <p:cNvPr id="8" name="TextBox 7">
            <a:extLst>
              <a:ext uri="{FF2B5EF4-FFF2-40B4-BE49-F238E27FC236}">
                <a16:creationId xmlns:a16="http://schemas.microsoft.com/office/drawing/2014/main" id="{AF86D018-4862-46E5-84E7-32953FF9FB02}"/>
              </a:ext>
            </a:extLst>
          </p:cNvPr>
          <p:cNvSpPr txBox="1"/>
          <p:nvPr/>
        </p:nvSpPr>
        <p:spPr>
          <a:xfrm>
            <a:off x="919457" y="1656246"/>
            <a:ext cx="3235970"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57109">
              <a:spcAft>
                <a:spcPts val="600"/>
              </a:spcAft>
              <a:defRPr/>
            </a:pPr>
            <a:r>
              <a:rPr lang="en-US" sz="2200" dirty="0">
                <a:latin typeface="Segoe UI Semibold" panose="020B0502040204020203" pitchFamily="34" charset="0"/>
                <a:cs typeface="Segoe UI Semibold" panose="020B0502040204020203" pitchFamily="34" charset="0"/>
                <a:sym typeface="Segoe UI Semibold"/>
              </a:rPr>
              <a:t>JSON Documents</a:t>
            </a:r>
          </a:p>
        </p:txBody>
      </p:sp>
      <p:sp>
        <p:nvSpPr>
          <p:cNvPr id="10" name="TextBox 9">
            <a:extLst>
              <a:ext uri="{FF2B5EF4-FFF2-40B4-BE49-F238E27FC236}">
                <a16:creationId xmlns:a16="http://schemas.microsoft.com/office/drawing/2014/main" id="{CCC1B744-69F9-42BC-81E0-8C8098C41056}"/>
              </a:ext>
            </a:extLst>
          </p:cNvPr>
          <p:cNvSpPr txBox="1"/>
          <p:nvPr/>
        </p:nvSpPr>
        <p:spPr>
          <a:xfrm>
            <a:off x="4647231" y="1656246"/>
            <a:ext cx="3235970"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57109">
              <a:spcBef>
                <a:spcPts val="600"/>
              </a:spcBef>
              <a:spcAft>
                <a:spcPts val="600"/>
              </a:spcAft>
              <a:defRPr/>
            </a:pPr>
            <a:r>
              <a:rPr lang="en-US" sz="2200" dirty="0">
                <a:latin typeface="Segoe UI Semibold" panose="020B0502040204020203" pitchFamily="34" charset="0"/>
                <a:cs typeface="Segoe UI Semibold" panose="020B0502040204020203" pitchFamily="34" charset="0"/>
                <a:sym typeface="Segoe UI Semibold"/>
              </a:rPr>
              <a:t>Metadata</a:t>
            </a:r>
          </a:p>
        </p:txBody>
      </p:sp>
      <p:sp>
        <p:nvSpPr>
          <p:cNvPr id="12" name="TextBox 11">
            <a:extLst>
              <a:ext uri="{FF2B5EF4-FFF2-40B4-BE49-F238E27FC236}">
                <a16:creationId xmlns:a16="http://schemas.microsoft.com/office/drawing/2014/main" id="{D023C7E0-7359-4673-A436-A9AA6EBD5DCA}"/>
              </a:ext>
            </a:extLst>
          </p:cNvPr>
          <p:cNvSpPr txBox="1"/>
          <p:nvPr/>
        </p:nvSpPr>
        <p:spPr>
          <a:xfrm>
            <a:off x="8375005" y="1494229"/>
            <a:ext cx="3235970"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57109">
              <a:spcBef>
                <a:spcPts val="600"/>
              </a:spcBef>
              <a:spcAft>
                <a:spcPts val="600"/>
              </a:spcAft>
              <a:defRPr/>
            </a:pPr>
            <a:r>
              <a:rPr lang="en-US" sz="2200">
                <a:latin typeface="Segoe UI Semibold" panose="020B0502040204020203" pitchFamily="34" charset="0"/>
                <a:cs typeface="Segoe UI Semibold" panose="020B0502040204020203" pitchFamily="34" charset="0"/>
                <a:sym typeface="Segoe UI Semibold"/>
              </a:rPr>
              <a:t>Unstructured</a:t>
            </a:r>
            <a:r>
              <a:rPr lang="en-US" sz="3200" kern="0">
                <a:latin typeface="Segoe UI Semibold"/>
                <a:cs typeface="Segoe UI" panose="020B0502040204020203" pitchFamily="34" charset="0"/>
                <a:sym typeface="Segoe UI Semibold"/>
              </a:rPr>
              <a:t> </a:t>
            </a:r>
            <a:r>
              <a:rPr lang="en-US" sz="2200">
                <a:latin typeface="Segoe UI Semibold" panose="020B0502040204020203" pitchFamily="34" charset="0"/>
                <a:cs typeface="Segoe UI Semibold" panose="020B0502040204020203" pitchFamily="34" charset="0"/>
                <a:sym typeface="Segoe UI Semibold"/>
              </a:rPr>
              <a:t>bin</a:t>
            </a:r>
          </a:p>
        </p:txBody>
      </p:sp>
      <p:sp>
        <p:nvSpPr>
          <p:cNvPr id="17" name="Line">
            <a:extLst>
              <a:ext uri="{FF2B5EF4-FFF2-40B4-BE49-F238E27FC236}">
                <a16:creationId xmlns:a16="http://schemas.microsoft.com/office/drawing/2014/main" id="{805050EE-552E-4EFA-BC50-0704B4391A09}"/>
              </a:ext>
            </a:extLst>
          </p:cNvPr>
          <p:cNvSpPr/>
          <p:nvPr/>
        </p:nvSpPr>
        <p:spPr>
          <a:xfrm>
            <a:off x="919457" y="2183054"/>
            <a:ext cx="3235970" cy="0"/>
          </a:xfrm>
          <a:prstGeom prst="line">
            <a:avLst/>
          </a:prstGeom>
          <a:ln w="25400" cap="rnd">
            <a:solidFill>
              <a:schemeClr val="bg1"/>
            </a:solidFill>
            <a:custDash>
              <a:ds d="100000" sp="200000"/>
            </a:custDash>
          </a:ln>
        </p:spPr>
        <p:txBody>
          <a:bodyPr lIns="0" tIns="0" rIns="0" bIns="0" anchor="ctr"/>
          <a:lstStyle/>
          <a:p>
            <a:pPr algn="ctr" defTabSz="412667" hangingPunct="0">
              <a:defRPr sz="3200" spc="0">
                <a:latin typeface="Helvetica Neue Medium"/>
                <a:ea typeface="Helvetica Neue Medium"/>
                <a:cs typeface="Helvetica Neue Medium"/>
                <a:sym typeface="Helvetica Neue Medium"/>
              </a:defRPr>
            </a:pPr>
            <a:endParaRPr sz="1600" kern="0">
              <a:solidFill>
                <a:srgbClr val="FFFFFF"/>
              </a:solidFill>
              <a:latin typeface="Helvetica Neue Medium"/>
              <a:sym typeface="Helvetica Neue Medium"/>
            </a:endParaRPr>
          </a:p>
        </p:txBody>
      </p:sp>
      <p:sp>
        <p:nvSpPr>
          <p:cNvPr id="18" name="Line">
            <a:extLst>
              <a:ext uri="{FF2B5EF4-FFF2-40B4-BE49-F238E27FC236}">
                <a16:creationId xmlns:a16="http://schemas.microsoft.com/office/drawing/2014/main" id="{9250005A-CC97-4503-A77F-C6A9647AFCE9}"/>
              </a:ext>
            </a:extLst>
          </p:cNvPr>
          <p:cNvSpPr/>
          <p:nvPr/>
        </p:nvSpPr>
        <p:spPr>
          <a:xfrm>
            <a:off x="4647231" y="2183054"/>
            <a:ext cx="3235970" cy="0"/>
          </a:xfrm>
          <a:prstGeom prst="line">
            <a:avLst/>
          </a:prstGeom>
          <a:ln w="25400" cap="rnd">
            <a:solidFill>
              <a:schemeClr val="bg1"/>
            </a:solidFill>
            <a:custDash>
              <a:ds d="100000" sp="200000"/>
            </a:custDash>
          </a:ln>
        </p:spPr>
        <p:txBody>
          <a:bodyPr lIns="0" tIns="0" rIns="0" bIns="0" anchor="ctr"/>
          <a:lstStyle/>
          <a:p>
            <a:pPr algn="ctr" defTabSz="412667" hangingPunct="0">
              <a:defRPr sz="3200" spc="0">
                <a:latin typeface="Helvetica Neue Medium"/>
                <a:ea typeface="Helvetica Neue Medium"/>
                <a:cs typeface="Helvetica Neue Medium"/>
                <a:sym typeface="Helvetica Neue Medium"/>
              </a:defRPr>
            </a:pPr>
            <a:endParaRPr sz="1600" kern="0">
              <a:solidFill>
                <a:srgbClr val="FFFFFF"/>
              </a:solidFill>
              <a:latin typeface="Helvetica Neue Medium"/>
              <a:sym typeface="Helvetica Neue Medium"/>
            </a:endParaRPr>
          </a:p>
        </p:txBody>
      </p:sp>
      <p:sp>
        <p:nvSpPr>
          <p:cNvPr id="19" name="Line">
            <a:extLst>
              <a:ext uri="{FF2B5EF4-FFF2-40B4-BE49-F238E27FC236}">
                <a16:creationId xmlns:a16="http://schemas.microsoft.com/office/drawing/2014/main" id="{053BF6C6-C307-4BF0-9237-8F3BC97C2CD6}"/>
              </a:ext>
            </a:extLst>
          </p:cNvPr>
          <p:cNvSpPr/>
          <p:nvPr/>
        </p:nvSpPr>
        <p:spPr>
          <a:xfrm>
            <a:off x="8375005" y="2183054"/>
            <a:ext cx="3235970" cy="0"/>
          </a:xfrm>
          <a:prstGeom prst="line">
            <a:avLst/>
          </a:prstGeom>
          <a:ln w="25400" cap="rnd">
            <a:solidFill>
              <a:schemeClr val="bg1"/>
            </a:solidFill>
            <a:custDash>
              <a:ds d="100000" sp="200000"/>
            </a:custDash>
          </a:ln>
        </p:spPr>
        <p:txBody>
          <a:bodyPr lIns="0" tIns="0" rIns="0" bIns="0" anchor="ctr"/>
          <a:lstStyle/>
          <a:p>
            <a:pPr algn="ctr" defTabSz="412667" hangingPunct="0">
              <a:defRPr sz="3200" spc="0">
                <a:latin typeface="Helvetica Neue Medium"/>
                <a:ea typeface="Helvetica Neue Medium"/>
                <a:cs typeface="Helvetica Neue Medium"/>
                <a:sym typeface="Helvetica Neue Medium"/>
              </a:defRPr>
            </a:pPr>
            <a:endParaRPr sz="1600" kern="0">
              <a:solidFill>
                <a:srgbClr val="FFFFFF"/>
              </a:solidFill>
              <a:latin typeface="Helvetica Neue Medium"/>
              <a:sym typeface="Helvetica Neue Medium"/>
            </a:endParaRPr>
          </a:p>
        </p:txBody>
      </p:sp>
      <p:graphicFrame>
        <p:nvGraphicFramePr>
          <p:cNvPr id="4" name="Table 4">
            <a:extLst>
              <a:ext uri="{FF2B5EF4-FFF2-40B4-BE49-F238E27FC236}">
                <a16:creationId xmlns:a16="http://schemas.microsoft.com/office/drawing/2014/main" id="{AFD0752F-62F1-4749-AC40-3EB0CF818EC9}"/>
              </a:ext>
            </a:extLst>
          </p:cNvPr>
          <p:cNvGraphicFramePr>
            <a:graphicFrameLocks noGrp="1"/>
          </p:cNvGraphicFramePr>
          <p:nvPr/>
        </p:nvGraphicFramePr>
        <p:xfrm>
          <a:off x="4647231" y="2800074"/>
          <a:ext cx="3235970" cy="2225040"/>
        </p:xfrm>
        <a:graphic>
          <a:graphicData uri="http://schemas.openxmlformats.org/drawingml/2006/table">
            <a:tbl>
              <a:tblPr bandRow="1">
                <a:tableStyleId>{125E5076-3810-47DD-B79F-674D7AD40C01}</a:tableStyleId>
              </a:tblPr>
              <a:tblGrid>
                <a:gridCol w="1617985">
                  <a:extLst>
                    <a:ext uri="{9D8B030D-6E8A-4147-A177-3AD203B41FA5}">
                      <a16:colId xmlns:a16="http://schemas.microsoft.com/office/drawing/2014/main" val="2116538485"/>
                    </a:ext>
                  </a:extLst>
                </a:gridCol>
                <a:gridCol w="1617985">
                  <a:extLst>
                    <a:ext uri="{9D8B030D-6E8A-4147-A177-3AD203B41FA5}">
                      <a16:colId xmlns:a16="http://schemas.microsoft.com/office/drawing/2014/main" val="1923656529"/>
                    </a:ext>
                  </a:extLst>
                </a:gridCol>
              </a:tblGrid>
              <a:tr h="370840">
                <a:tc>
                  <a:txBody>
                    <a:bodyPr/>
                    <a:lstStyle/>
                    <a:p>
                      <a:r>
                        <a:rPr lang="fr-FR" sz="1400" err="1">
                          <a:latin typeface="Consolas" panose="020B0609020204030204" pitchFamily="49" charset="0"/>
                        </a:rPr>
                        <a:t>DeviceId</a:t>
                      </a:r>
                      <a:endParaRPr lang="en-GB" sz="1400">
                        <a:latin typeface="Consolas" panose="020B0609020204030204" pitchFamily="49" charset="0"/>
                      </a:endParaRPr>
                    </a:p>
                  </a:txBody>
                  <a:tcPr/>
                </a:tc>
                <a:tc>
                  <a:txBody>
                    <a:bodyPr/>
                    <a:lstStyle/>
                    <a:p>
                      <a:r>
                        <a:rPr lang="fr-FR" sz="1400">
                          <a:latin typeface="Consolas" panose="020B0609020204030204" pitchFamily="49" charset="0"/>
                        </a:rPr>
                        <a:t>14f8gq51gq</a:t>
                      </a:r>
                      <a:endParaRPr lang="en-GB" sz="1400">
                        <a:latin typeface="Consolas" panose="020B0609020204030204" pitchFamily="49" charset="0"/>
                      </a:endParaRPr>
                    </a:p>
                  </a:txBody>
                  <a:tcPr/>
                </a:tc>
                <a:extLst>
                  <a:ext uri="{0D108BD9-81ED-4DB2-BD59-A6C34878D82A}">
                    <a16:rowId xmlns:a16="http://schemas.microsoft.com/office/drawing/2014/main" val="1209962052"/>
                  </a:ext>
                </a:extLst>
              </a:tr>
              <a:tr h="370840">
                <a:tc>
                  <a:txBody>
                    <a:bodyPr/>
                    <a:lstStyle/>
                    <a:p>
                      <a:r>
                        <a:rPr lang="fr-FR" sz="1400">
                          <a:latin typeface="Consolas" panose="020B0609020204030204" pitchFamily="49" charset="0"/>
                        </a:rPr>
                        <a:t>Customer</a:t>
                      </a:r>
                      <a:endParaRPr lang="en-GB" sz="1400">
                        <a:latin typeface="Consolas" panose="020B0609020204030204" pitchFamily="49" charset="0"/>
                      </a:endParaRPr>
                    </a:p>
                  </a:txBody>
                  <a:tcPr/>
                </a:tc>
                <a:tc>
                  <a:txBody>
                    <a:bodyPr/>
                    <a:lstStyle/>
                    <a:p>
                      <a:r>
                        <a:rPr lang="fr-FR" sz="1400">
                          <a:latin typeface="Consolas" panose="020B0609020204030204" pitchFamily="49" charset="0"/>
                        </a:rPr>
                        <a:t>ContosoCity</a:t>
                      </a:r>
                      <a:endParaRPr lang="en-GB" sz="1400">
                        <a:latin typeface="Consolas" panose="020B0609020204030204" pitchFamily="49" charset="0"/>
                      </a:endParaRPr>
                    </a:p>
                  </a:txBody>
                  <a:tcPr/>
                </a:tc>
                <a:extLst>
                  <a:ext uri="{0D108BD9-81ED-4DB2-BD59-A6C34878D82A}">
                    <a16:rowId xmlns:a16="http://schemas.microsoft.com/office/drawing/2014/main" val="1797266744"/>
                  </a:ext>
                </a:extLst>
              </a:tr>
              <a:tr h="370840">
                <a:tc>
                  <a:txBody>
                    <a:bodyPr/>
                    <a:lstStyle/>
                    <a:p>
                      <a:r>
                        <a:rPr lang="fr-FR" sz="1400" err="1">
                          <a:latin typeface="Consolas" panose="020B0609020204030204" pitchFamily="49" charset="0"/>
                        </a:rPr>
                        <a:t>LocationGps</a:t>
                      </a:r>
                      <a:endParaRPr lang="en-GB" sz="1400">
                        <a:latin typeface="Consolas" panose="020B0609020204030204" pitchFamily="49" charset="0"/>
                      </a:endParaRPr>
                    </a:p>
                  </a:txBody>
                  <a:tcPr/>
                </a:tc>
                <a:tc>
                  <a:txBody>
                    <a:bodyPr/>
                    <a:lstStyle/>
                    <a:p>
                      <a:r>
                        <a:rPr lang="en-GB" sz="1400">
                          <a:latin typeface="Consolas" panose="020B0609020204030204" pitchFamily="49" charset="0"/>
                        </a:rPr>
                        <a:t>43.5887 1.4522</a:t>
                      </a:r>
                    </a:p>
                  </a:txBody>
                  <a:tcPr/>
                </a:tc>
                <a:extLst>
                  <a:ext uri="{0D108BD9-81ED-4DB2-BD59-A6C34878D82A}">
                    <a16:rowId xmlns:a16="http://schemas.microsoft.com/office/drawing/2014/main" val="573588101"/>
                  </a:ext>
                </a:extLst>
              </a:tr>
              <a:tr h="370840">
                <a:tc>
                  <a:txBody>
                    <a:bodyPr/>
                    <a:lstStyle/>
                    <a:p>
                      <a:r>
                        <a:rPr lang="fr-FR" sz="1400">
                          <a:latin typeface="Consolas" panose="020B0609020204030204" pitchFamily="49" charset="0"/>
                        </a:rPr>
                        <a:t>DeviceType</a:t>
                      </a:r>
                      <a:endParaRPr lang="en-GB" sz="1400">
                        <a:latin typeface="Consolas" panose="020B0609020204030204" pitchFamily="49" charset="0"/>
                      </a:endParaRPr>
                    </a:p>
                  </a:txBody>
                  <a:tcPr/>
                </a:tc>
                <a:tc>
                  <a:txBody>
                    <a:bodyPr/>
                    <a:lstStyle/>
                    <a:p>
                      <a:r>
                        <a:rPr lang="fr-FR" sz="1400">
                          <a:latin typeface="Consolas" panose="020B0609020204030204" pitchFamily="49" charset="0"/>
                        </a:rPr>
                        <a:t>AirQualityv2</a:t>
                      </a:r>
                      <a:endParaRPr lang="en-GB" sz="1400">
                        <a:latin typeface="Consolas" panose="020B0609020204030204" pitchFamily="49" charset="0"/>
                      </a:endParaRPr>
                    </a:p>
                  </a:txBody>
                  <a:tcPr/>
                </a:tc>
                <a:extLst>
                  <a:ext uri="{0D108BD9-81ED-4DB2-BD59-A6C34878D82A}">
                    <a16:rowId xmlns:a16="http://schemas.microsoft.com/office/drawing/2014/main" val="3709491295"/>
                  </a:ext>
                </a:extLst>
              </a:tr>
              <a:tr h="370840">
                <a:tc>
                  <a:txBody>
                    <a:bodyPr/>
                    <a:lstStyle/>
                    <a:p>
                      <a:r>
                        <a:rPr lang="fr-FR" sz="1400">
                          <a:latin typeface="Consolas" panose="020B0609020204030204" pitchFamily="49" charset="0"/>
                        </a:rPr>
                        <a:t>Building</a:t>
                      </a:r>
                      <a:endParaRPr lang="en-GB" sz="1400">
                        <a:latin typeface="Consolas" panose="020B0609020204030204" pitchFamily="49" charset="0"/>
                      </a:endParaRPr>
                    </a:p>
                  </a:txBody>
                  <a:tcPr/>
                </a:tc>
                <a:tc>
                  <a:txBody>
                    <a:bodyPr/>
                    <a:lstStyle/>
                    <a:p>
                      <a:r>
                        <a:rPr lang="fr-FR" sz="1400">
                          <a:latin typeface="Consolas" panose="020B0609020204030204" pitchFamily="49" charset="0"/>
                        </a:rPr>
                        <a:t>Main</a:t>
                      </a:r>
                      <a:endParaRPr lang="en-GB" sz="1400">
                        <a:latin typeface="Consolas" panose="020B0609020204030204" pitchFamily="49" charset="0"/>
                      </a:endParaRPr>
                    </a:p>
                  </a:txBody>
                  <a:tcPr/>
                </a:tc>
                <a:extLst>
                  <a:ext uri="{0D108BD9-81ED-4DB2-BD59-A6C34878D82A}">
                    <a16:rowId xmlns:a16="http://schemas.microsoft.com/office/drawing/2014/main" val="3456007477"/>
                  </a:ext>
                </a:extLst>
              </a:tr>
              <a:tr h="370840">
                <a:tc>
                  <a:txBody>
                    <a:bodyPr/>
                    <a:lstStyle/>
                    <a:p>
                      <a:r>
                        <a:rPr lang="fr-FR" sz="1400" err="1">
                          <a:latin typeface="Consolas" panose="020B0609020204030204" pitchFamily="49" charset="0"/>
                        </a:rPr>
                        <a:t>BuildingType</a:t>
                      </a:r>
                      <a:endParaRPr lang="en-GB" sz="1400">
                        <a:latin typeface="Consolas" panose="020B0609020204030204" pitchFamily="49" charset="0"/>
                      </a:endParaRPr>
                    </a:p>
                  </a:txBody>
                  <a:tcPr/>
                </a:tc>
                <a:tc>
                  <a:txBody>
                    <a:bodyPr/>
                    <a:lstStyle/>
                    <a:p>
                      <a:r>
                        <a:rPr lang="fr-FR" sz="1400" err="1">
                          <a:latin typeface="Consolas" panose="020B0609020204030204" pitchFamily="49" charset="0"/>
                        </a:rPr>
                        <a:t>School</a:t>
                      </a:r>
                      <a:endParaRPr lang="en-GB" sz="1400">
                        <a:latin typeface="Consolas" panose="020B0609020204030204" pitchFamily="49" charset="0"/>
                      </a:endParaRPr>
                    </a:p>
                  </a:txBody>
                  <a:tcPr/>
                </a:tc>
                <a:extLst>
                  <a:ext uri="{0D108BD9-81ED-4DB2-BD59-A6C34878D82A}">
                    <a16:rowId xmlns:a16="http://schemas.microsoft.com/office/drawing/2014/main" val="4293617295"/>
                  </a:ext>
                </a:extLst>
              </a:tr>
            </a:tbl>
          </a:graphicData>
        </a:graphic>
      </p:graphicFrame>
      <p:sp>
        <p:nvSpPr>
          <p:cNvPr id="6" name="Rectangle 5">
            <a:extLst>
              <a:ext uri="{FF2B5EF4-FFF2-40B4-BE49-F238E27FC236}">
                <a16:creationId xmlns:a16="http://schemas.microsoft.com/office/drawing/2014/main" id="{E527234D-3515-48EB-95CB-72BA4D065F5D}"/>
              </a:ext>
            </a:extLst>
          </p:cNvPr>
          <p:cNvSpPr/>
          <p:nvPr/>
        </p:nvSpPr>
        <p:spPr>
          <a:xfrm>
            <a:off x="754656" y="4244411"/>
            <a:ext cx="3565574" cy="492443"/>
          </a:xfrm>
          <a:prstGeom prst="rect">
            <a:avLst/>
          </a:prstGeom>
          <a:solidFill>
            <a:schemeClr val="tx1"/>
          </a:solidFill>
          <a:ln w="12700" cap="flat">
            <a:solidFill>
              <a:srgbClr val="2F2E2F"/>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825500" hangingPunct="0"/>
            <a:endParaRPr lang="en-GB" sz="3200" kern="0">
              <a:solidFill>
                <a:srgbClr val="FFFFFF"/>
              </a:solidFill>
              <a:latin typeface="Helvetica Neue Medium"/>
              <a:ea typeface="Helvetica Neue Medium"/>
              <a:cs typeface="Helvetica Neue Medium"/>
              <a:sym typeface="Helvetica Neue Medium"/>
            </a:endParaRPr>
          </a:p>
        </p:txBody>
      </p:sp>
      <p:sp>
        <p:nvSpPr>
          <p:cNvPr id="13" name="TextBox 12">
            <a:extLst>
              <a:ext uri="{FF2B5EF4-FFF2-40B4-BE49-F238E27FC236}">
                <a16:creationId xmlns:a16="http://schemas.microsoft.com/office/drawing/2014/main" id="{CFA42630-B066-4CA3-89F2-934270C43C82}"/>
              </a:ext>
            </a:extLst>
          </p:cNvPr>
          <p:cNvSpPr txBox="1"/>
          <p:nvPr/>
        </p:nvSpPr>
        <p:spPr>
          <a:xfrm>
            <a:off x="754654" y="2480760"/>
            <a:ext cx="3565577" cy="4093428"/>
          </a:xfrm>
          <a:prstGeom prst="rect">
            <a:avLst/>
          </a:prstGeom>
          <a:solidFill>
            <a:schemeClr val="tx1"/>
          </a:solidFill>
          <a:ln w="9525"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412667" hangingPunct="0"/>
            <a:r>
              <a:rPr lang="en-GB" sz="2000" kern="0" spc="-112">
                <a:solidFill>
                  <a:srgbClr val="000000"/>
                </a:solidFill>
                <a:latin typeface="Consolas" panose="020B0609020204030204" pitchFamily="49" charset="0"/>
                <a:cs typeface="Segoe UI Semibold"/>
                <a:sym typeface="Segoe UI Semibold"/>
              </a:rPr>
              <a:t>{</a:t>
            </a:r>
          </a:p>
          <a:p>
            <a:pPr defTabSz="412667" hangingPunct="0"/>
            <a:r>
              <a:rPr lang="en-GB" sz="2000" kern="0" spc="-112">
                <a:solidFill>
                  <a:srgbClr val="A31515"/>
                </a:solidFill>
                <a:latin typeface="Consolas" panose="020B0609020204030204" pitchFamily="49" charset="0"/>
                <a:cs typeface="Segoe UI Semibold"/>
                <a:sym typeface="Segoe UI Semibold"/>
              </a:rPr>
              <a:t>"</a:t>
            </a:r>
            <a:r>
              <a:rPr lang="en-GB" sz="2000" kern="0" spc="-112" err="1">
                <a:solidFill>
                  <a:srgbClr val="A31515"/>
                </a:solidFill>
                <a:latin typeface="Consolas" panose="020B0609020204030204" pitchFamily="49" charset="0"/>
                <a:cs typeface="Segoe UI Semibold"/>
                <a:sym typeface="Segoe UI Semibold"/>
              </a:rPr>
              <a:t>TimeStamp</a:t>
            </a:r>
            <a:r>
              <a:rPr lang="en-GB" sz="2000" kern="0" spc="-112">
                <a:solidFill>
                  <a:srgbClr val="A31515"/>
                </a:solidFill>
                <a:latin typeface="Consolas" panose="020B0609020204030204" pitchFamily="49" charset="0"/>
                <a:cs typeface="Segoe UI Semibold"/>
                <a:sym typeface="Segoe UI Semibold"/>
              </a:rPr>
              <a:t>"</a:t>
            </a:r>
            <a:r>
              <a:rPr lang="en-GB" sz="2000" kern="0" spc="-112">
                <a:solidFill>
                  <a:srgbClr val="000000"/>
                </a:solidFill>
                <a:latin typeface="Consolas" panose="020B0609020204030204" pitchFamily="49" charset="0"/>
                <a:cs typeface="Segoe UI Semibold"/>
                <a:sym typeface="Segoe UI Semibold"/>
              </a:rPr>
              <a:t>: </a:t>
            </a:r>
            <a:r>
              <a:rPr lang="en-GB" sz="2000" kern="0" spc="-112">
                <a:solidFill>
                  <a:srgbClr val="0451A5"/>
                </a:solidFill>
                <a:latin typeface="Consolas" panose="020B0609020204030204" pitchFamily="49" charset="0"/>
                <a:cs typeface="Segoe UI Semibold"/>
                <a:sym typeface="Segoe UI Semibold"/>
              </a:rPr>
              <a:t>"2020-0812T13:58:07.5203217Z"</a:t>
            </a:r>
            <a:r>
              <a:rPr lang="en-GB" sz="2000" kern="0" spc="-112">
                <a:solidFill>
                  <a:srgbClr val="000000"/>
                </a:solidFill>
                <a:latin typeface="Consolas" panose="020B0609020204030204" pitchFamily="49" charset="0"/>
                <a:cs typeface="Segoe UI Semibold"/>
                <a:sym typeface="Segoe UI Semibold"/>
              </a:rPr>
              <a:t>,</a:t>
            </a:r>
          </a:p>
          <a:p>
            <a:pPr defTabSz="412667" hangingPunct="0"/>
            <a:r>
              <a:rPr lang="en-GB" sz="2000" kern="0" spc="-112">
                <a:solidFill>
                  <a:srgbClr val="A31515"/>
                </a:solidFill>
                <a:latin typeface="Consolas" panose="020B0609020204030204" pitchFamily="49" charset="0"/>
                <a:cs typeface="Segoe UI Semibold"/>
                <a:sym typeface="Segoe UI Semibold"/>
              </a:rPr>
              <a:t>"Co"</a:t>
            </a:r>
            <a:r>
              <a:rPr lang="en-GB" sz="2000" kern="0" spc="-112">
                <a:solidFill>
                  <a:srgbClr val="000000"/>
                </a:solidFill>
                <a:latin typeface="Consolas" panose="020B0609020204030204" pitchFamily="49" charset="0"/>
                <a:cs typeface="Segoe UI Semibold"/>
                <a:sym typeface="Segoe UI Semibold"/>
              </a:rPr>
              <a:t>: </a:t>
            </a:r>
            <a:r>
              <a:rPr lang="en-GB" sz="2000" kern="0" spc="-112">
                <a:solidFill>
                  <a:srgbClr val="09885A"/>
                </a:solidFill>
                <a:latin typeface="Consolas" panose="020B0609020204030204" pitchFamily="49" charset="0"/>
                <a:cs typeface="Segoe UI Semibold"/>
                <a:sym typeface="Segoe UI Semibold"/>
              </a:rPr>
              <a:t>20.6515621746199</a:t>
            </a:r>
            <a:r>
              <a:rPr lang="en-GB" sz="2000" kern="0" spc="-112">
                <a:solidFill>
                  <a:srgbClr val="000000"/>
                </a:solidFill>
                <a:latin typeface="Consolas" panose="020B0609020204030204" pitchFamily="49" charset="0"/>
                <a:cs typeface="Segoe UI Semibold"/>
                <a:sym typeface="Segoe UI Semibold"/>
              </a:rPr>
              <a:t>,</a:t>
            </a:r>
          </a:p>
          <a:p>
            <a:pPr defTabSz="412667" hangingPunct="0"/>
            <a:r>
              <a:rPr lang="en-GB" sz="2000" kern="0" spc="-112">
                <a:solidFill>
                  <a:srgbClr val="A31515"/>
                </a:solidFill>
                <a:latin typeface="Consolas" panose="020B0609020204030204" pitchFamily="49" charset="0"/>
                <a:cs typeface="Segoe UI Semibold"/>
                <a:sym typeface="Segoe UI Semibold"/>
              </a:rPr>
              <a:t>"Co2"</a:t>
            </a:r>
            <a:r>
              <a:rPr lang="en-GB" sz="2000" kern="0" spc="-112">
                <a:solidFill>
                  <a:srgbClr val="000000"/>
                </a:solidFill>
                <a:latin typeface="Consolas" panose="020B0609020204030204" pitchFamily="49" charset="0"/>
                <a:cs typeface="Segoe UI Semibold"/>
                <a:sym typeface="Segoe UI Semibold"/>
              </a:rPr>
              <a:t>: </a:t>
            </a:r>
            <a:r>
              <a:rPr lang="en-GB" sz="2000" kern="0" spc="-112">
                <a:solidFill>
                  <a:srgbClr val="09885A"/>
                </a:solidFill>
                <a:latin typeface="Consolas" panose="020B0609020204030204" pitchFamily="49" charset="0"/>
                <a:cs typeface="Segoe UI Semibold"/>
                <a:sym typeface="Segoe UI Semibold"/>
              </a:rPr>
              <a:t>48.47952265338019</a:t>
            </a:r>
            <a:r>
              <a:rPr lang="en-GB" sz="2000" kern="0" spc="-112">
                <a:solidFill>
                  <a:srgbClr val="000000"/>
                </a:solidFill>
                <a:latin typeface="Consolas" panose="020B0609020204030204" pitchFamily="49" charset="0"/>
                <a:cs typeface="Segoe UI Semibold"/>
                <a:sym typeface="Segoe UI Semibold"/>
              </a:rPr>
              <a:t>,</a:t>
            </a:r>
          </a:p>
          <a:p>
            <a:pPr defTabSz="412667" hangingPunct="0"/>
            <a:r>
              <a:rPr lang="en-GB" sz="2000" kern="0" spc="-112">
                <a:solidFill>
                  <a:srgbClr val="A31515"/>
                </a:solidFill>
                <a:latin typeface="Consolas" panose="020B0609020204030204" pitchFamily="49" charset="0"/>
                <a:cs typeface="Segoe UI Semibold"/>
                <a:sym typeface="Segoe UI Semibold"/>
              </a:rPr>
              <a:t>"Ppm10"</a:t>
            </a:r>
            <a:r>
              <a:rPr lang="en-GB" sz="2000" kern="0" spc="-112">
                <a:solidFill>
                  <a:srgbClr val="000000"/>
                </a:solidFill>
                <a:latin typeface="Consolas" panose="020B0609020204030204" pitchFamily="49" charset="0"/>
                <a:cs typeface="Segoe UI Semibold"/>
                <a:sym typeface="Segoe UI Semibold"/>
              </a:rPr>
              <a:t>: </a:t>
            </a:r>
            <a:r>
              <a:rPr lang="en-GB" sz="2000" kern="0" spc="-112">
                <a:solidFill>
                  <a:srgbClr val="09885A"/>
                </a:solidFill>
                <a:latin typeface="Consolas" panose="020B0609020204030204" pitchFamily="49" charset="0"/>
                <a:cs typeface="Segoe UI Semibold"/>
                <a:sym typeface="Segoe UI Semibold"/>
              </a:rPr>
              <a:t>257.44680750414</a:t>
            </a:r>
            <a:r>
              <a:rPr lang="en-GB" sz="2000" kern="0" spc="-112">
                <a:solidFill>
                  <a:srgbClr val="000000"/>
                </a:solidFill>
                <a:latin typeface="Consolas" panose="020B0609020204030204" pitchFamily="49" charset="0"/>
                <a:cs typeface="Segoe UI Semibold"/>
                <a:sym typeface="Segoe UI Semibold"/>
              </a:rPr>
              <a:t>,</a:t>
            </a:r>
          </a:p>
          <a:p>
            <a:pPr defTabSz="412667" hangingPunct="0"/>
            <a:r>
              <a:rPr lang="en-GB" sz="2000" kern="0" spc="-112">
                <a:solidFill>
                  <a:srgbClr val="A31515"/>
                </a:solidFill>
                <a:latin typeface="Consolas" panose="020B0609020204030204" pitchFamily="49" charset="0"/>
                <a:cs typeface="Segoe UI Semibold"/>
                <a:sym typeface="Segoe UI Semibold"/>
              </a:rPr>
              <a:t>"Ozone"</a:t>
            </a:r>
            <a:r>
              <a:rPr lang="en-GB" sz="2000" kern="0" spc="-112">
                <a:solidFill>
                  <a:srgbClr val="000000"/>
                </a:solidFill>
                <a:latin typeface="Consolas" panose="020B0609020204030204" pitchFamily="49" charset="0"/>
                <a:cs typeface="Segoe UI Semibold"/>
                <a:sym typeface="Segoe UI Semibold"/>
              </a:rPr>
              <a:t>: </a:t>
            </a:r>
            <a:r>
              <a:rPr lang="en-GB" sz="2000" kern="0" spc="-112">
                <a:solidFill>
                  <a:srgbClr val="09885A"/>
                </a:solidFill>
                <a:latin typeface="Consolas" panose="020B0609020204030204" pitchFamily="49" charset="0"/>
                <a:cs typeface="Segoe UI Semibold"/>
                <a:sym typeface="Segoe UI Semibold"/>
              </a:rPr>
              <a:t>163.747165663515</a:t>
            </a:r>
            <a:r>
              <a:rPr lang="en-GB" sz="2000" kern="0" spc="-112">
                <a:solidFill>
                  <a:srgbClr val="000000"/>
                </a:solidFill>
                <a:latin typeface="Consolas" panose="020B0609020204030204" pitchFamily="49" charset="0"/>
                <a:cs typeface="Segoe UI Semibold"/>
                <a:sym typeface="Segoe UI Semibold"/>
              </a:rPr>
              <a:t>,</a:t>
            </a:r>
          </a:p>
          <a:p>
            <a:pPr defTabSz="412667" hangingPunct="0"/>
            <a:r>
              <a:rPr lang="en-GB" sz="2000" kern="0" spc="-112">
                <a:solidFill>
                  <a:srgbClr val="A31515"/>
                </a:solidFill>
                <a:latin typeface="Consolas" panose="020B0609020204030204" pitchFamily="49" charset="0"/>
                <a:cs typeface="Segoe UI Semibold"/>
                <a:sym typeface="Segoe UI Semibold"/>
              </a:rPr>
              <a:t>"</a:t>
            </a:r>
            <a:r>
              <a:rPr lang="en-GB" sz="2000" kern="0" spc="-112" err="1">
                <a:solidFill>
                  <a:srgbClr val="A31515"/>
                </a:solidFill>
                <a:latin typeface="Consolas" panose="020B0609020204030204" pitchFamily="49" charset="0"/>
                <a:cs typeface="Segoe UI Semibold"/>
                <a:sym typeface="Segoe UI Semibold"/>
              </a:rPr>
              <a:t>EventProcessedUtcTime</a:t>
            </a:r>
            <a:r>
              <a:rPr lang="en-GB" sz="2000" kern="0" spc="-112">
                <a:solidFill>
                  <a:srgbClr val="A31515"/>
                </a:solidFill>
                <a:latin typeface="Consolas" panose="020B0609020204030204" pitchFamily="49" charset="0"/>
                <a:cs typeface="Segoe UI Semibold"/>
                <a:sym typeface="Segoe UI Semibold"/>
              </a:rPr>
              <a:t>"</a:t>
            </a:r>
            <a:r>
              <a:rPr lang="en-GB" sz="2000" kern="0" spc="-112">
                <a:solidFill>
                  <a:srgbClr val="000000"/>
                </a:solidFill>
                <a:latin typeface="Consolas" panose="020B0609020204030204" pitchFamily="49" charset="0"/>
                <a:cs typeface="Segoe UI Semibold"/>
                <a:sym typeface="Segoe UI Semibold"/>
              </a:rPr>
              <a:t>: </a:t>
            </a:r>
            <a:r>
              <a:rPr lang="en-GB" sz="2000" kern="0" spc="-112">
                <a:solidFill>
                  <a:srgbClr val="0451A5"/>
                </a:solidFill>
                <a:latin typeface="Consolas" panose="020B0609020204030204" pitchFamily="49" charset="0"/>
                <a:cs typeface="Segoe UI Semibold"/>
                <a:sym typeface="Segoe UI Semibold"/>
              </a:rPr>
              <a:t>"2020-08-12T13:58:13.2928373Z"</a:t>
            </a:r>
            <a:r>
              <a:rPr lang="en-GB" sz="2000" kern="0" spc="-112">
                <a:solidFill>
                  <a:srgbClr val="000000"/>
                </a:solidFill>
                <a:latin typeface="Consolas" panose="020B0609020204030204" pitchFamily="49" charset="0"/>
                <a:cs typeface="Segoe UI Semibold"/>
                <a:sym typeface="Segoe UI Semibold"/>
              </a:rPr>
              <a:t>,</a:t>
            </a:r>
          </a:p>
          <a:p>
            <a:pPr defTabSz="412667" hangingPunct="0"/>
            <a:r>
              <a:rPr lang="en-GB" sz="2000" kern="0" spc="-112">
                <a:solidFill>
                  <a:srgbClr val="A31515"/>
                </a:solidFill>
                <a:latin typeface="Consolas" panose="020B0609020204030204" pitchFamily="49" charset="0"/>
                <a:cs typeface="Segoe UI Semibold"/>
                <a:sym typeface="Segoe UI Semibold"/>
              </a:rPr>
              <a:t>"</a:t>
            </a:r>
            <a:r>
              <a:rPr lang="en-GB" sz="2000" kern="0" spc="-112" err="1">
                <a:solidFill>
                  <a:srgbClr val="A31515"/>
                </a:solidFill>
                <a:latin typeface="Consolas" panose="020B0609020204030204" pitchFamily="49" charset="0"/>
                <a:cs typeface="Segoe UI Semibold"/>
                <a:sym typeface="Segoe UI Semibold"/>
              </a:rPr>
              <a:t>PartitionId</a:t>
            </a:r>
            <a:r>
              <a:rPr lang="en-GB" sz="2000" kern="0" spc="-112">
                <a:solidFill>
                  <a:srgbClr val="A31515"/>
                </a:solidFill>
                <a:latin typeface="Consolas" panose="020B0609020204030204" pitchFamily="49" charset="0"/>
                <a:cs typeface="Segoe UI Semibold"/>
                <a:sym typeface="Segoe UI Semibold"/>
              </a:rPr>
              <a:t>"</a:t>
            </a:r>
            <a:r>
              <a:rPr lang="en-GB" sz="2000" kern="0" spc="-112">
                <a:solidFill>
                  <a:srgbClr val="000000"/>
                </a:solidFill>
                <a:latin typeface="Consolas" panose="020B0609020204030204" pitchFamily="49" charset="0"/>
                <a:cs typeface="Segoe UI Semibold"/>
                <a:sym typeface="Segoe UI Semibold"/>
              </a:rPr>
              <a:t>: </a:t>
            </a:r>
            <a:r>
              <a:rPr lang="en-GB" sz="2000" kern="0" spc="-112">
                <a:solidFill>
                  <a:srgbClr val="09885A"/>
                </a:solidFill>
                <a:latin typeface="Consolas" panose="020B0609020204030204" pitchFamily="49" charset="0"/>
                <a:cs typeface="Segoe UI Semibold"/>
                <a:sym typeface="Segoe UI Semibold"/>
              </a:rPr>
              <a:t>3</a:t>
            </a:r>
            <a:r>
              <a:rPr lang="en-GB" sz="2000" kern="0" spc="-112">
                <a:solidFill>
                  <a:srgbClr val="000000"/>
                </a:solidFill>
                <a:latin typeface="Consolas" panose="020B0609020204030204" pitchFamily="49" charset="0"/>
                <a:cs typeface="Segoe UI Semibold"/>
                <a:sym typeface="Segoe UI Semibold"/>
              </a:rPr>
              <a:t>,</a:t>
            </a:r>
          </a:p>
          <a:p>
            <a:pPr defTabSz="412667" hangingPunct="0"/>
            <a:r>
              <a:rPr lang="en-GB" sz="2000" kern="0" spc="-112">
                <a:solidFill>
                  <a:srgbClr val="A31515"/>
                </a:solidFill>
                <a:latin typeface="Consolas" panose="020B0609020204030204" pitchFamily="49" charset="0"/>
                <a:cs typeface="Segoe UI Semibold"/>
                <a:sym typeface="Segoe UI Semibold"/>
              </a:rPr>
              <a:t>"</a:t>
            </a:r>
            <a:r>
              <a:rPr lang="en-GB" sz="2000" kern="0" spc="-112" err="1">
                <a:solidFill>
                  <a:srgbClr val="A31515"/>
                </a:solidFill>
                <a:latin typeface="Consolas" panose="020B0609020204030204" pitchFamily="49" charset="0"/>
                <a:cs typeface="Segoe UI Semibold"/>
                <a:sym typeface="Segoe UI Semibold"/>
              </a:rPr>
              <a:t>EventEnqueuedUtcTime</a:t>
            </a:r>
            <a:r>
              <a:rPr lang="en-GB" sz="2000" kern="0" spc="-112">
                <a:solidFill>
                  <a:srgbClr val="A31515"/>
                </a:solidFill>
                <a:latin typeface="Consolas" panose="020B0609020204030204" pitchFamily="49" charset="0"/>
                <a:cs typeface="Segoe UI Semibold"/>
                <a:sym typeface="Segoe UI Semibold"/>
              </a:rPr>
              <a:t>"</a:t>
            </a:r>
            <a:r>
              <a:rPr lang="en-GB" sz="2000" kern="0" spc="-112">
                <a:solidFill>
                  <a:srgbClr val="000000"/>
                </a:solidFill>
                <a:latin typeface="Consolas" panose="020B0609020204030204" pitchFamily="49" charset="0"/>
                <a:cs typeface="Segoe UI Semibold"/>
                <a:sym typeface="Segoe UI Semibold"/>
              </a:rPr>
              <a:t>: </a:t>
            </a:r>
            <a:r>
              <a:rPr lang="en-GB" sz="2000" kern="0" spc="-112">
                <a:solidFill>
                  <a:srgbClr val="0451A5"/>
                </a:solidFill>
                <a:latin typeface="Consolas" panose="020B0609020204030204" pitchFamily="49" charset="0"/>
                <a:cs typeface="Segoe UI Semibold"/>
                <a:sym typeface="Segoe UI Semibold"/>
              </a:rPr>
              <a:t>"2</a:t>
            </a:r>
          </a:p>
          <a:p>
            <a:pPr defTabSz="412667" hangingPunct="0"/>
            <a:r>
              <a:rPr lang="en-GB" sz="2000" kern="0" spc="-112">
                <a:solidFill>
                  <a:srgbClr val="0451A5"/>
                </a:solidFill>
                <a:latin typeface="Consolas" panose="020B0609020204030204" pitchFamily="49" charset="0"/>
                <a:cs typeface="Segoe UI Semibold"/>
                <a:sym typeface="Segoe UI Semibold"/>
              </a:rPr>
              <a:t>020-08-12T13:58:08.08500Z"</a:t>
            </a:r>
            <a:endParaRPr lang="en-GB" sz="2000" kern="0" spc="-112">
              <a:solidFill>
                <a:srgbClr val="000000"/>
              </a:solidFill>
              <a:latin typeface="Consolas" panose="020B0609020204030204" pitchFamily="49" charset="0"/>
              <a:cs typeface="Segoe UI Semibold"/>
              <a:sym typeface="Segoe UI Semibold"/>
            </a:endParaRPr>
          </a:p>
        </p:txBody>
      </p:sp>
      <p:pic>
        <p:nvPicPr>
          <p:cNvPr id="9" name="Picture 8">
            <a:extLst>
              <a:ext uri="{FF2B5EF4-FFF2-40B4-BE49-F238E27FC236}">
                <a16:creationId xmlns:a16="http://schemas.microsoft.com/office/drawing/2014/main" id="{1AC1C0FA-6ED5-433B-A625-ACEA9B556202}"/>
              </a:ext>
            </a:extLst>
          </p:cNvPr>
          <p:cNvPicPr>
            <a:picLocks noChangeAspect="1"/>
          </p:cNvPicPr>
          <p:nvPr/>
        </p:nvPicPr>
        <p:blipFill>
          <a:blip r:embed="rId3"/>
          <a:stretch>
            <a:fillRect/>
          </a:stretch>
        </p:blipFill>
        <p:spPr>
          <a:xfrm>
            <a:off x="8651048" y="2976739"/>
            <a:ext cx="2872189" cy="1452765"/>
          </a:xfrm>
          <a:prstGeom prst="rect">
            <a:avLst/>
          </a:prstGeom>
        </p:spPr>
      </p:pic>
      <p:graphicFrame>
        <p:nvGraphicFramePr>
          <p:cNvPr id="20" name="Table 4">
            <a:extLst>
              <a:ext uri="{FF2B5EF4-FFF2-40B4-BE49-F238E27FC236}">
                <a16:creationId xmlns:a16="http://schemas.microsoft.com/office/drawing/2014/main" id="{0E884321-D60F-4220-A854-5A9C75CA6F8D}"/>
              </a:ext>
            </a:extLst>
          </p:cNvPr>
          <p:cNvGraphicFramePr>
            <a:graphicFrameLocks noGrp="1"/>
          </p:cNvGraphicFramePr>
          <p:nvPr/>
        </p:nvGraphicFramePr>
        <p:xfrm>
          <a:off x="4647231" y="5025114"/>
          <a:ext cx="3235970" cy="741680"/>
        </p:xfrm>
        <a:graphic>
          <a:graphicData uri="http://schemas.openxmlformats.org/drawingml/2006/table">
            <a:tbl>
              <a:tblPr bandRow="1">
                <a:tableStyleId>{5202B0CA-FC54-4496-8BCA-5EF66A818D29}</a:tableStyleId>
              </a:tblPr>
              <a:tblGrid>
                <a:gridCol w="1617985">
                  <a:extLst>
                    <a:ext uri="{9D8B030D-6E8A-4147-A177-3AD203B41FA5}">
                      <a16:colId xmlns:a16="http://schemas.microsoft.com/office/drawing/2014/main" val="2116538485"/>
                    </a:ext>
                  </a:extLst>
                </a:gridCol>
                <a:gridCol w="1617985">
                  <a:extLst>
                    <a:ext uri="{9D8B030D-6E8A-4147-A177-3AD203B41FA5}">
                      <a16:colId xmlns:a16="http://schemas.microsoft.com/office/drawing/2014/main" val="1923656529"/>
                    </a:ext>
                  </a:extLst>
                </a:gridCol>
              </a:tblGrid>
              <a:tr h="370840">
                <a:tc>
                  <a:txBody>
                    <a:bodyPr/>
                    <a:lstStyle/>
                    <a:p>
                      <a:r>
                        <a:rPr lang="fr-FR" sz="1400" err="1">
                          <a:solidFill>
                            <a:schemeClr val="bg2"/>
                          </a:solidFill>
                          <a:latin typeface="Consolas" panose="020B0609020204030204" pitchFamily="49" charset="0"/>
                        </a:rPr>
                        <a:t>Weather</a:t>
                      </a:r>
                      <a:endParaRPr lang="en-GB" sz="1400">
                        <a:solidFill>
                          <a:schemeClr val="bg2"/>
                        </a:solidFill>
                        <a:latin typeface="Consolas" panose="020B0609020204030204" pitchFamily="49" charset="0"/>
                      </a:endParaRPr>
                    </a:p>
                  </a:txBody>
                  <a:tcPr/>
                </a:tc>
                <a:tc>
                  <a:txBody>
                    <a:bodyPr/>
                    <a:lstStyle/>
                    <a:p>
                      <a:r>
                        <a:rPr lang="fr-FR" sz="1400">
                          <a:solidFill>
                            <a:schemeClr val="bg2"/>
                          </a:solidFill>
                          <a:latin typeface="Consolas" panose="020B0609020204030204" pitchFamily="49" charset="0"/>
                        </a:rPr>
                        <a:t>Sunny</a:t>
                      </a:r>
                      <a:endParaRPr lang="en-GB" sz="1400">
                        <a:solidFill>
                          <a:schemeClr val="bg2"/>
                        </a:solidFill>
                        <a:latin typeface="Consolas" panose="020B0609020204030204" pitchFamily="49" charset="0"/>
                      </a:endParaRPr>
                    </a:p>
                  </a:txBody>
                  <a:tcPr/>
                </a:tc>
                <a:extLst>
                  <a:ext uri="{0D108BD9-81ED-4DB2-BD59-A6C34878D82A}">
                    <a16:rowId xmlns:a16="http://schemas.microsoft.com/office/drawing/2014/main" val="1209962052"/>
                  </a:ext>
                </a:extLst>
              </a:tr>
              <a:tr h="370840">
                <a:tc>
                  <a:txBody>
                    <a:bodyPr/>
                    <a:lstStyle/>
                    <a:p>
                      <a:pPr marL="0" marR="0" lvl="0" indent="0" algn="ctr" defTabSz="412667" eaLnBrk="1" fontAlgn="auto" latinLnBrk="0" hangingPunct="1">
                        <a:lnSpc>
                          <a:spcPct val="100000"/>
                        </a:lnSpc>
                        <a:spcBef>
                          <a:spcPts val="0"/>
                        </a:spcBef>
                        <a:spcAft>
                          <a:spcPts val="0"/>
                        </a:spcAft>
                        <a:buClrTx/>
                        <a:buSzTx/>
                        <a:buFontTx/>
                        <a:buNone/>
                        <a:tabLst/>
                        <a:defRPr/>
                      </a:pPr>
                      <a:r>
                        <a:rPr lang="fr-FR" sz="1400">
                          <a:solidFill>
                            <a:schemeClr val="bg2"/>
                          </a:solidFill>
                          <a:latin typeface="Consolas" panose="020B0609020204030204" pitchFamily="49" charset="0"/>
                        </a:rPr>
                        <a:t>Wind (km/h</a:t>
                      </a:r>
                      <a:r>
                        <a:rPr lang="en-GB" sz="1400">
                          <a:solidFill>
                            <a:schemeClr val="bg2"/>
                          </a:solidFill>
                          <a:latin typeface="Consolas" panose="020B0609020204030204" pitchFamily="49" charset="0"/>
                        </a:rPr>
                        <a:t>)</a:t>
                      </a:r>
                    </a:p>
                  </a:txBody>
                  <a:tcPr/>
                </a:tc>
                <a:tc>
                  <a:txBody>
                    <a:bodyPr/>
                    <a:lstStyle/>
                    <a:p>
                      <a:r>
                        <a:rPr lang="fr-FR" sz="1400">
                          <a:solidFill>
                            <a:schemeClr val="bg2"/>
                          </a:solidFill>
                          <a:latin typeface="Consolas" panose="020B0609020204030204" pitchFamily="49" charset="0"/>
                        </a:rPr>
                        <a:t>28</a:t>
                      </a:r>
                      <a:endParaRPr lang="en-GB" sz="1400">
                        <a:solidFill>
                          <a:schemeClr val="bg2"/>
                        </a:solidFill>
                        <a:latin typeface="Consolas" panose="020B0609020204030204" pitchFamily="49" charset="0"/>
                      </a:endParaRPr>
                    </a:p>
                  </a:txBody>
                  <a:tcPr/>
                </a:tc>
                <a:extLst>
                  <a:ext uri="{0D108BD9-81ED-4DB2-BD59-A6C34878D82A}">
                    <a16:rowId xmlns:a16="http://schemas.microsoft.com/office/drawing/2014/main" val="1797266744"/>
                  </a:ext>
                </a:extLst>
              </a:tr>
            </a:tbl>
          </a:graphicData>
        </a:graphic>
      </p:graphicFrame>
    </p:spTree>
    <p:extLst>
      <p:ext uri="{BB962C8B-B14F-4D97-AF65-F5344CB8AC3E}">
        <p14:creationId xmlns:p14="http://schemas.microsoft.com/office/powerpoint/2010/main" val="578595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2" grpId="0"/>
      <p:bldP spid="17" grpId="0" animBg="1"/>
      <p:bldP spid="18" grpId="0" animBg="1"/>
      <p:bldP spid="19" grpId="0" animBg="1"/>
      <p:bldP spid="6" grpId="0" animBg="1"/>
      <p:bldP spid="13"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C19BB-71D1-4444-8A63-AF9E5A8B531B}"/>
              </a:ext>
            </a:extLst>
          </p:cNvPr>
          <p:cNvSpPr>
            <a:spLocks noGrp="1"/>
          </p:cNvSpPr>
          <p:nvPr>
            <p:ph type="title"/>
          </p:nvPr>
        </p:nvSpPr>
        <p:spPr>
          <a:xfrm>
            <a:off x="273223" y="427829"/>
            <a:ext cx="12190271" cy="824194"/>
          </a:xfrm>
        </p:spPr>
        <p:txBody>
          <a:bodyPr/>
          <a:lstStyle/>
          <a:p>
            <a:r>
              <a:rPr lang="en-US" dirty="0"/>
              <a:t>IoT Hub Message Routing and Message Enrichments</a:t>
            </a:r>
          </a:p>
        </p:txBody>
      </p:sp>
      <p:pic>
        <p:nvPicPr>
          <p:cNvPr id="3" name="Picture 2">
            <a:extLst>
              <a:ext uri="{FF2B5EF4-FFF2-40B4-BE49-F238E27FC236}">
                <a16:creationId xmlns:a16="http://schemas.microsoft.com/office/drawing/2014/main" id="{C712BB64-A76D-411D-93F2-4120270980FA}"/>
              </a:ext>
            </a:extLst>
          </p:cNvPr>
          <p:cNvPicPr>
            <a:picLocks noChangeAspect="1"/>
          </p:cNvPicPr>
          <p:nvPr/>
        </p:nvPicPr>
        <p:blipFill>
          <a:blip r:embed="rId3"/>
          <a:stretch>
            <a:fillRect/>
          </a:stretch>
        </p:blipFill>
        <p:spPr>
          <a:xfrm>
            <a:off x="177420" y="1083916"/>
            <a:ext cx="8844076" cy="4834435"/>
          </a:xfrm>
          <a:prstGeom prst="rect">
            <a:avLst/>
          </a:prstGeom>
        </p:spPr>
      </p:pic>
      <p:sp>
        <p:nvSpPr>
          <p:cNvPr id="5" name="TextBox 4">
            <a:extLst>
              <a:ext uri="{FF2B5EF4-FFF2-40B4-BE49-F238E27FC236}">
                <a16:creationId xmlns:a16="http://schemas.microsoft.com/office/drawing/2014/main" id="{1828ABF0-E1C4-4C1B-9DF3-4F378A45F82B}"/>
              </a:ext>
            </a:extLst>
          </p:cNvPr>
          <p:cNvSpPr txBox="1"/>
          <p:nvPr/>
        </p:nvSpPr>
        <p:spPr>
          <a:xfrm>
            <a:off x="9200170" y="1745726"/>
            <a:ext cx="2635035" cy="2221062"/>
          </a:xfrm>
          <a:prstGeom prst="rect">
            <a:avLst/>
          </a:prstGeom>
          <a:noFill/>
        </p:spPr>
        <p:txBody>
          <a:bodyPr wrap="square" lIns="182854" tIns="146284" rIns="182854" bIns="146284" rtlCol="0">
            <a:spAutoFit/>
          </a:bodyPr>
          <a:lstStyle/>
          <a:p>
            <a:pPr defTabSz="914367">
              <a:lnSpc>
                <a:spcPct val="90000"/>
              </a:lnSpc>
              <a:spcAft>
                <a:spcPts val="600"/>
              </a:spcAft>
            </a:pPr>
            <a:r>
              <a:rPr lang="en-US" sz="2000" dirty="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Enrichment Values supported</a:t>
            </a:r>
          </a:p>
          <a:p>
            <a:pPr marL="342834" indent="-342834" defTabSz="914367">
              <a:lnSpc>
                <a:spcPct val="90000"/>
              </a:lnSpc>
              <a:spcAft>
                <a:spcPts val="600"/>
              </a:spcAft>
              <a:buFont typeface="Arial" panose="020B0604020202020204" pitchFamily="34" charset="0"/>
              <a:buChar char="•"/>
            </a:pPr>
            <a:r>
              <a:rPr lang="en-US" sz="2000" dirty="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Device Twin tags, properties</a:t>
            </a:r>
          </a:p>
          <a:p>
            <a:pPr marL="342834" indent="-342834" defTabSz="914367">
              <a:lnSpc>
                <a:spcPct val="90000"/>
              </a:lnSpc>
              <a:spcAft>
                <a:spcPts val="600"/>
              </a:spcAft>
              <a:buFont typeface="Arial" panose="020B0604020202020204" pitchFamily="34" charset="0"/>
              <a:buChar char="•"/>
            </a:pPr>
            <a:r>
              <a:rPr lang="en-US" sz="2000" dirty="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IoT Hub name</a:t>
            </a:r>
          </a:p>
          <a:p>
            <a:pPr marL="342834" indent="-342834" defTabSz="914367">
              <a:lnSpc>
                <a:spcPct val="90000"/>
              </a:lnSpc>
              <a:spcAft>
                <a:spcPts val="600"/>
              </a:spcAft>
              <a:buFont typeface="Arial" panose="020B0604020202020204" pitchFamily="34" charset="0"/>
              <a:buChar char="•"/>
            </a:pPr>
            <a:r>
              <a:rPr lang="en-US" sz="2000" dirty="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Static string</a:t>
            </a:r>
            <a:endParaRPr lang="en-US" sz="2000" dirty="0">
              <a:solidFill>
                <a:srgbClr val="00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1963875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0FB9E-173D-42F3-BF84-EE132C2D97CA}"/>
              </a:ext>
            </a:extLst>
          </p:cNvPr>
          <p:cNvSpPr>
            <a:spLocks noGrp="1"/>
          </p:cNvSpPr>
          <p:nvPr>
            <p:ph type="title"/>
          </p:nvPr>
        </p:nvSpPr>
        <p:spPr/>
        <p:txBody>
          <a:bodyPr/>
          <a:lstStyle/>
          <a:p>
            <a:r>
              <a:rPr lang="en-US"/>
              <a:t>Serverless Integration</a:t>
            </a:r>
          </a:p>
        </p:txBody>
      </p:sp>
      <p:pic>
        <p:nvPicPr>
          <p:cNvPr id="3" name="Picture 2">
            <a:extLst>
              <a:ext uri="{FF2B5EF4-FFF2-40B4-BE49-F238E27FC236}">
                <a16:creationId xmlns:a16="http://schemas.microsoft.com/office/drawing/2014/main" id="{01ED40C4-C00D-4D4A-96CF-2504A5BBF0A9}"/>
              </a:ext>
            </a:extLst>
          </p:cNvPr>
          <p:cNvPicPr>
            <a:picLocks noChangeAspect="1"/>
          </p:cNvPicPr>
          <p:nvPr/>
        </p:nvPicPr>
        <p:blipFill>
          <a:blip r:embed="rId3"/>
          <a:stretch>
            <a:fillRect/>
          </a:stretch>
        </p:blipFill>
        <p:spPr>
          <a:xfrm>
            <a:off x="455980" y="1460188"/>
            <a:ext cx="6950934" cy="4598873"/>
          </a:xfrm>
          <a:prstGeom prst="rect">
            <a:avLst/>
          </a:prstGeom>
        </p:spPr>
      </p:pic>
      <p:sp>
        <p:nvSpPr>
          <p:cNvPr id="5" name="TextBox 4">
            <a:extLst>
              <a:ext uri="{FF2B5EF4-FFF2-40B4-BE49-F238E27FC236}">
                <a16:creationId xmlns:a16="http://schemas.microsoft.com/office/drawing/2014/main" id="{9680D9DA-871E-4404-A36F-544B0D4FF2DB}"/>
              </a:ext>
            </a:extLst>
          </p:cNvPr>
          <p:cNvSpPr txBox="1"/>
          <p:nvPr/>
        </p:nvSpPr>
        <p:spPr>
          <a:xfrm>
            <a:off x="7558528" y="1977017"/>
            <a:ext cx="4451899" cy="1938589"/>
          </a:xfrm>
          <a:prstGeom prst="rect">
            <a:avLst/>
          </a:prstGeom>
          <a:noFill/>
        </p:spPr>
        <p:txBody>
          <a:bodyPr wrap="square" lIns="182854" tIns="146284" rIns="182854" bIns="146284" rtlCol="0">
            <a:spAutoFit/>
          </a:bodyPr>
          <a:lstStyle/>
          <a:p>
            <a:pPr defTabSz="914367">
              <a:lnSpc>
                <a:spcPct val="90000"/>
              </a:lnSpc>
              <a:spcAft>
                <a:spcPts val="600"/>
              </a:spcAft>
            </a:pPr>
            <a:r>
              <a:rPr lang="en-US" sz="200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Events supported:</a:t>
            </a:r>
          </a:p>
          <a:p>
            <a:pPr marL="342834" indent="-342834" defTabSz="914367">
              <a:lnSpc>
                <a:spcPct val="90000"/>
              </a:lnSpc>
              <a:spcAft>
                <a:spcPts val="600"/>
              </a:spcAft>
              <a:buFont typeface="Arial" panose="020B0604020202020204" pitchFamily="34" charset="0"/>
              <a:buChar char="•"/>
            </a:pPr>
            <a:r>
              <a:rPr lang="en-US" sz="200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Device Telemetry </a:t>
            </a:r>
          </a:p>
          <a:p>
            <a:pPr marL="342834" indent="-342834" defTabSz="914367">
              <a:lnSpc>
                <a:spcPct val="90000"/>
              </a:lnSpc>
              <a:spcAft>
                <a:spcPts val="600"/>
              </a:spcAft>
              <a:buFont typeface="Arial" panose="020B0604020202020204" pitchFamily="34" charset="0"/>
              <a:buChar char="•"/>
            </a:pPr>
            <a:r>
              <a:rPr lang="en-US" sz="200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Device Created/Deleted Events</a:t>
            </a:r>
          </a:p>
          <a:p>
            <a:pPr marL="342834" indent="-342834" defTabSz="914367">
              <a:lnSpc>
                <a:spcPct val="90000"/>
              </a:lnSpc>
              <a:spcAft>
                <a:spcPts val="600"/>
              </a:spcAft>
              <a:buFont typeface="Arial" panose="020B0604020202020204" pitchFamily="34" charset="0"/>
              <a:buChar char="•"/>
            </a:pPr>
            <a:r>
              <a:rPr lang="en-US" sz="2000">
                <a:gradFill>
                  <a:gsLst>
                    <a:gs pos="2917">
                      <a:srgbClr val="000000"/>
                    </a:gs>
                    <a:gs pos="30000">
                      <a:srgbClr val="000000"/>
                    </a:gs>
                  </a:gsLst>
                  <a:lin ang="5400000" scaled="0"/>
                </a:gradFill>
                <a:latin typeface="Segoe UI" panose="020B0502040204020203" pitchFamily="34" charset="0"/>
                <a:cs typeface="Segoe UI" panose="020B0502040204020203" pitchFamily="34" charset="0"/>
              </a:rPr>
              <a:t>Device Connected/Disconnected Events</a:t>
            </a:r>
            <a:endParaRPr lang="en-US" sz="2000">
              <a:solidFill>
                <a:srgbClr val="00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7293696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52825544-41C4-49AE-BEA0-8576D685821A}"/>
              </a:ext>
            </a:extLst>
          </p:cNvPr>
          <p:cNvSpPr/>
          <p:nvPr/>
        </p:nvSpPr>
        <p:spPr bwMode="auto">
          <a:xfrm>
            <a:off x="-1" y="0"/>
            <a:ext cx="12172256" cy="6858000"/>
          </a:xfrm>
          <a:prstGeom prst="ellipse">
            <a:avLst/>
          </a:prstGeom>
          <a:gradFill flip="none" rotWithShape="1">
            <a:gsLst>
              <a:gs pos="0">
                <a:schemeClr val="tx2">
                  <a:lumMod val="50000"/>
                  <a:alpha val="80000"/>
                </a:schemeClr>
              </a:gs>
              <a:gs pos="90000">
                <a:schemeClr val="tx1">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5D85924-5F55-4239-B031-6CDFB4BCCE28}"/>
              </a:ext>
            </a:extLst>
          </p:cNvPr>
          <p:cNvSpPr>
            <a:spLocks noGrp="1"/>
          </p:cNvSpPr>
          <p:nvPr>
            <p:ph type="title"/>
          </p:nvPr>
        </p:nvSpPr>
        <p:spPr>
          <a:xfrm>
            <a:off x="455996" y="2250947"/>
            <a:ext cx="6869144" cy="883407"/>
          </a:xfrm>
        </p:spPr>
        <p:txBody>
          <a:bodyPr vert="horz" wrap="square" lIns="0" tIns="0" rIns="0" bIns="0" rtlCol="0" anchor="t">
            <a:noAutofit/>
          </a:bodyPr>
          <a:lstStyle/>
          <a:p>
            <a:pPr>
              <a:lnSpc>
                <a:spcPct val="100000"/>
              </a:lnSpc>
            </a:pPr>
            <a:r>
              <a:rPr lang="en-US" sz="3200" dirty="0">
                <a:solidFill>
                  <a:schemeClr val="accent5"/>
                </a:solidFill>
              </a:rPr>
              <a:t>NEW: Device Update </a:t>
            </a:r>
            <a:br>
              <a:rPr lang="en-US" sz="3200" dirty="0">
                <a:solidFill>
                  <a:schemeClr val="accent5"/>
                </a:solidFill>
              </a:rPr>
            </a:br>
            <a:r>
              <a:rPr lang="en-US" sz="3200" dirty="0">
                <a:solidFill>
                  <a:schemeClr val="bg1"/>
                </a:solidFill>
              </a:rPr>
              <a:t>for IoT Hub</a:t>
            </a:r>
            <a:endParaRPr lang="en-US" sz="2800" dirty="0">
              <a:solidFill>
                <a:schemeClr val="bg1"/>
              </a:solidFill>
            </a:endParaRPr>
          </a:p>
        </p:txBody>
      </p:sp>
      <p:sp>
        <p:nvSpPr>
          <p:cNvPr id="5" name="Rectangle 4">
            <a:extLst>
              <a:ext uri="{FF2B5EF4-FFF2-40B4-BE49-F238E27FC236}">
                <a16:creationId xmlns:a16="http://schemas.microsoft.com/office/drawing/2014/main" id="{AAF07187-7741-42D0-A6E6-9B7A4ED0658D}"/>
              </a:ext>
            </a:extLst>
          </p:cNvPr>
          <p:cNvSpPr/>
          <p:nvPr/>
        </p:nvSpPr>
        <p:spPr>
          <a:xfrm>
            <a:off x="467719" y="3723647"/>
            <a:ext cx="6200814" cy="923330"/>
          </a:xfrm>
          <a:prstGeom prst="rect">
            <a:avLst/>
          </a:prstGeom>
        </p:spPr>
        <p:txBody>
          <a:bodyPr wrap="square" lIns="0" tIns="0" rIns="0" bIns="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Times New Roman" panose="02020603050405020304" pitchFamily="18" charset="0"/>
              </a:rPr>
              <a:t>is an end-to-end platform for publishing, distributing, and managing </a:t>
            </a:r>
            <a:r>
              <a:rPr kumimoji="0" lang="en-US" sz="2000" b="0" i="0" u="none" strike="noStrike" kern="1200" cap="none" spc="0" normalizeH="0" baseline="0" noProof="0">
                <a:ln>
                  <a:noFill/>
                </a:ln>
                <a:solidFill>
                  <a:srgbClr val="50E6FF"/>
                </a:solidFill>
                <a:effectLst/>
                <a:uLnTx/>
                <a:uFillTx/>
                <a:latin typeface="Segoe UI Semibold"/>
                <a:ea typeface="+mn-ea"/>
                <a:cs typeface="Times New Roman" panose="02020603050405020304" pitchFamily="18" charset="0"/>
              </a:rPr>
              <a:t>over-the-air updates for IoT devices</a:t>
            </a:r>
            <a:r>
              <a:rPr kumimoji="0" lang="en-US" sz="2000" b="0" i="0" u="none" strike="noStrike" kern="1200" cap="none" spc="0" normalizeH="0" baseline="0" noProof="0">
                <a:ln>
                  <a:noFill/>
                </a:ln>
                <a:solidFill>
                  <a:srgbClr val="FFFFFF"/>
                </a:solidFill>
                <a:effectLst/>
                <a:uLnTx/>
                <a:uFillTx/>
                <a:latin typeface="Segoe UI"/>
                <a:ea typeface="+mn-ea"/>
                <a:cs typeface="Times New Roman" panose="02020603050405020304" pitchFamily="18" charset="0"/>
              </a:rPr>
              <a:t> – from tiny sensors to gateway-level modules</a:t>
            </a:r>
          </a:p>
        </p:txBody>
      </p:sp>
      <p:pic>
        <p:nvPicPr>
          <p:cNvPr id="9" name="Graphic 8">
            <a:extLst>
              <a:ext uri="{FF2B5EF4-FFF2-40B4-BE49-F238E27FC236}">
                <a16:creationId xmlns:a16="http://schemas.microsoft.com/office/drawing/2014/main" id="{E6E82D12-5268-48A8-98C5-56B5582846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42657" y="1922955"/>
            <a:ext cx="3012081" cy="3012090"/>
          </a:xfrm>
          <a:prstGeom prst="rect">
            <a:avLst/>
          </a:prstGeom>
        </p:spPr>
      </p:pic>
      <p:cxnSp>
        <p:nvCxnSpPr>
          <p:cNvPr id="11" name="Straight Connector 10">
            <a:extLst>
              <a:ext uri="{FF2B5EF4-FFF2-40B4-BE49-F238E27FC236}">
                <a16:creationId xmlns:a16="http://schemas.microsoft.com/office/drawing/2014/main" id="{B8E219C8-D7C0-444C-8A3B-7B04ECF181C8}"/>
              </a:ext>
            </a:extLst>
          </p:cNvPr>
          <p:cNvCxnSpPr>
            <a:cxnSpLocks/>
          </p:cNvCxnSpPr>
          <p:nvPr/>
        </p:nvCxnSpPr>
        <p:spPr>
          <a:xfrm>
            <a:off x="455613" y="3429000"/>
            <a:ext cx="7075487" cy="0"/>
          </a:xfrm>
          <a:prstGeom prst="line">
            <a:avLst/>
          </a:prstGeom>
          <a:ln>
            <a:gradFill flip="none" rotWithShape="1">
              <a:gsLst>
                <a:gs pos="0">
                  <a:schemeClr val="accent5"/>
                </a:gs>
                <a:gs pos="100000">
                  <a:schemeClr val="tx2"/>
                </a:gs>
              </a:gsLst>
              <a:lin ang="10800000" scaled="1"/>
              <a:tileRect/>
            </a:gradFill>
            <a:headEnd type="none"/>
            <a:tailEnd type="non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930765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 4.44444E-6 L 0 0.01898 " pathEditMode="relative" rAng="0" ptsTypes="AA">
                                      <p:cBhvr>
                                        <p:cTn id="9" dur="700" spd="-100000" fill="hold"/>
                                        <p:tgtEl>
                                          <p:spTgt spid="5"/>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nodeType="withEffect">
                                  <p:stCondLst>
                                    <p:cond delay="250"/>
                                  </p:stCondLst>
                                  <p:childTnLst>
                                    <p:animMotion origin="layout" path="M 0 4.44444E-6 L 0 0.01898 " pathEditMode="relative" rAng="0" ptsTypes="AA">
                                      <p:cBhvr>
                                        <p:cTn id="14" dur="700" spd="-100000" fill="hold"/>
                                        <p:tgtEl>
                                          <p:spTgt spid="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DCCA3C78-60DD-4EDC-9845-69443508048F}"/>
              </a:ext>
            </a:extLst>
          </p:cNvPr>
          <p:cNvSpPr/>
          <p:nvPr/>
        </p:nvSpPr>
        <p:spPr bwMode="auto">
          <a:xfrm>
            <a:off x="-1" y="0"/>
            <a:ext cx="12172256" cy="6858000"/>
          </a:xfrm>
          <a:prstGeom prst="ellipse">
            <a:avLst/>
          </a:prstGeom>
          <a:gradFill flip="none" rotWithShape="1">
            <a:gsLst>
              <a:gs pos="0">
                <a:schemeClr val="tx2">
                  <a:lumMod val="50000"/>
                  <a:alpha val="80000"/>
                </a:schemeClr>
              </a:gs>
              <a:gs pos="90000">
                <a:schemeClr val="tx1">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490C7C5A-22BC-435F-ABB1-994B44A2D967}"/>
              </a:ext>
            </a:extLst>
          </p:cNvPr>
          <p:cNvSpPr>
            <a:spLocks noGrp="1"/>
          </p:cNvSpPr>
          <p:nvPr>
            <p:ph type="title"/>
          </p:nvPr>
        </p:nvSpPr>
        <p:spPr>
          <a:xfrm>
            <a:off x="455995" y="620428"/>
            <a:ext cx="11306469" cy="403137"/>
          </a:xfrm>
        </p:spPr>
        <p:txBody>
          <a:bodyPr vert="horz" wrap="square" lIns="0" tIns="0" rIns="0" bIns="0" rtlCol="0" anchor="t">
            <a:noAutofit/>
          </a:bodyPr>
          <a:lstStyle/>
          <a:p>
            <a:r>
              <a:rPr lang="en-US" sz="3200" dirty="0">
                <a:solidFill>
                  <a:schemeClr val="accent5"/>
                </a:solidFill>
              </a:rPr>
              <a:t>Device Update for IoT Hub Robust features </a:t>
            </a:r>
            <a:br>
              <a:rPr lang="en-US" sz="3200" dirty="0">
                <a:solidFill>
                  <a:schemeClr val="bg1"/>
                </a:solidFill>
              </a:rPr>
            </a:br>
            <a:r>
              <a:rPr lang="en-US" sz="3200" dirty="0">
                <a:solidFill>
                  <a:schemeClr val="bg1"/>
                </a:solidFill>
              </a:rPr>
              <a:t>for every IoT ecosystem</a:t>
            </a:r>
          </a:p>
        </p:txBody>
      </p:sp>
      <p:grpSp>
        <p:nvGrpSpPr>
          <p:cNvPr id="21" name="Group 20">
            <a:extLst>
              <a:ext uri="{FF2B5EF4-FFF2-40B4-BE49-F238E27FC236}">
                <a16:creationId xmlns:a16="http://schemas.microsoft.com/office/drawing/2014/main" id="{0AA14418-788A-40F7-8B69-492435891D3A}"/>
              </a:ext>
            </a:extLst>
          </p:cNvPr>
          <p:cNvGrpSpPr/>
          <p:nvPr/>
        </p:nvGrpSpPr>
        <p:grpSpPr>
          <a:xfrm>
            <a:off x="455612" y="2026526"/>
            <a:ext cx="11280775" cy="1629050"/>
            <a:chOff x="455612" y="2026526"/>
            <a:chExt cx="11280775" cy="1629050"/>
          </a:xfrm>
        </p:grpSpPr>
        <p:sp>
          <p:nvSpPr>
            <p:cNvPr id="8" name="Title 1">
              <a:extLst>
                <a:ext uri="{FF2B5EF4-FFF2-40B4-BE49-F238E27FC236}">
                  <a16:creationId xmlns:a16="http://schemas.microsoft.com/office/drawing/2014/main" id="{AC7E991B-2273-43E0-A54E-2B43AE13AB98}"/>
                </a:ext>
              </a:extLst>
            </p:cNvPr>
            <p:cNvSpPr txBox="1">
              <a:spLocks/>
            </p:cNvSpPr>
            <p:nvPr/>
          </p:nvSpPr>
          <p:spPr>
            <a:xfrm>
              <a:off x="455613" y="2732246"/>
              <a:ext cx="3711653"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Segoe UI"/>
                </a:rPr>
                <a:t>APIs </a:t>
              </a:r>
              <a:r>
                <a:rPr kumimoji="0" lang="en-US" sz="2000" b="0" i="0" u="none" strike="noStrike" kern="1200" cap="none" spc="0" normalizeH="0" baseline="0" noProof="0">
                  <a:ln>
                    <a:noFill/>
                  </a:ln>
                  <a:solidFill>
                    <a:srgbClr val="FFFFFF"/>
                  </a:solidFill>
                  <a:effectLst/>
                  <a:uLnTx/>
                  <a:uFillTx/>
                  <a:latin typeface="Segoe UI"/>
                  <a:ea typeface="+mn-ea"/>
                  <a:cs typeface="Segoe UI"/>
                </a:rPr>
                <a:t>make it easy to build your own portals and clients</a:t>
              </a:r>
              <a:endParaRPr kumimoji="0" lang="en-US" sz="1800" b="0" i="0" u="none" strike="noStrike" kern="1200" cap="none" spc="-50" normalizeH="0" baseline="0" noProof="0">
                <a:ln w="3175">
                  <a:noFill/>
                </a:ln>
                <a:solidFill>
                  <a:srgbClr val="FFFFFF"/>
                </a:solidFill>
                <a:effectLst/>
                <a:uLnTx/>
                <a:uFillTx/>
                <a:latin typeface="Segoe UI"/>
                <a:ea typeface="+mn-ea"/>
                <a:cs typeface="Segoe UI"/>
              </a:endParaRPr>
            </a:p>
          </p:txBody>
        </p:sp>
        <p:sp>
          <p:nvSpPr>
            <p:cNvPr id="14" name="Title 1">
              <a:extLst>
                <a:ext uri="{FF2B5EF4-FFF2-40B4-BE49-F238E27FC236}">
                  <a16:creationId xmlns:a16="http://schemas.microsoft.com/office/drawing/2014/main" id="{B26AFE52-37A5-469F-A451-E37686603D83}"/>
                </a:ext>
              </a:extLst>
            </p:cNvPr>
            <p:cNvSpPr txBox="1">
              <a:spLocks/>
            </p:cNvSpPr>
            <p:nvPr/>
          </p:nvSpPr>
          <p:spPr>
            <a:xfrm>
              <a:off x="4952183" y="2732246"/>
              <a:ext cx="3246957"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Segoe UI" pitchFamily="34" charset="0"/>
                </a:rPr>
                <a:t>Seamless UX Integration </a:t>
              </a:r>
              <a: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t>with Azure IoT Hub</a:t>
              </a:r>
            </a:p>
          </p:txBody>
        </p:sp>
        <p:sp>
          <p:nvSpPr>
            <p:cNvPr id="15" name="Title 1">
              <a:extLst>
                <a:ext uri="{FF2B5EF4-FFF2-40B4-BE49-F238E27FC236}">
                  <a16:creationId xmlns:a16="http://schemas.microsoft.com/office/drawing/2014/main" id="{BA934765-9780-449F-B589-89740D6DB0CB}"/>
                </a:ext>
              </a:extLst>
            </p:cNvPr>
            <p:cNvSpPr txBox="1">
              <a:spLocks/>
            </p:cNvSpPr>
            <p:nvPr/>
          </p:nvSpPr>
          <p:spPr>
            <a:xfrm>
              <a:off x="8678338" y="2732246"/>
              <a:ext cx="3058049"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Segoe UI" pitchFamily="34" charset="0"/>
                </a:rPr>
                <a:t>Broad support </a:t>
              </a:r>
              <a: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t>for IoT operating systems, extensible via open source</a:t>
              </a:r>
            </a:p>
          </p:txBody>
        </p:sp>
        <p:pic>
          <p:nvPicPr>
            <p:cNvPr id="5" name="Graphic 4">
              <a:extLst>
                <a:ext uri="{FF2B5EF4-FFF2-40B4-BE49-F238E27FC236}">
                  <a16:creationId xmlns:a16="http://schemas.microsoft.com/office/drawing/2014/main" id="{BA8F744F-001B-42AB-B07E-76F8C23E82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5612" y="2105743"/>
              <a:ext cx="604280" cy="497642"/>
            </a:xfrm>
            <a:prstGeom prst="rect">
              <a:avLst/>
            </a:prstGeom>
          </p:spPr>
        </p:pic>
        <p:pic>
          <p:nvPicPr>
            <p:cNvPr id="18" name="Graphic 17">
              <a:extLst>
                <a:ext uri="{FF2B5EF4-FFF2-40B4-BE49-F238E27FC236}">
                  <a16:creationId xmlns:a16="http://schemas.microsoft.com/office/drawing/2014/main" id="{4AFD6009-E9EE-4E5C-AA2D-E3BB667408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52183" y="2026526"/>
              <a:ext cx="576859" cy="576859"/>
            </a:xfrm>
            <a:prstGeom prst="rect">
              <a:avLst/>
            </a:prstGeom>
          </p:spPr>
        </p:pic>
        <p:pic>
          <p:nvPicPr>
            <p:cNvPr id="6" name="Graphic 5">
              <a:extLst>
                <a:ext uri="{FF2B5EF4-FFF2-40B4-BE49-F238E27FC236}">
                  <a16:creationId xmlns:a16="http://schemas.microsoft.com/office/drawing/2014/main" id="{EE4B2460-61C9-4E64-9875-EDD422BC95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78338" y="2026526"/>
              <a:ext cx="570407" cy="570407"/>
            </a:xfrm>
            <a:prstGeom prst="rect">
              <a:avLst/>
            </a:prstGeom>
          </p:spPr>
        </p:pic>
      </p:grpSp>
      <p:grpSp>
        <p:nvGrpSpPr>
          <p:cNvPr id="22" name="Group 21">
            <a:extLst>
              <a:ext uri="{FF2B5EF4-FFF2-40B4-BE49-F238E27FC236}">
                <a16:creationId xmlns:a16="http://schemas.microsoft.com/office/drawing/2014/main" id="{33ACF163-C999-41D2-B07D-28F1B3E25B45}"/>
              </a:ext>
            </a:extLst>
          </p:cNvPr>
          <p:cNvGrpSpPr/>
          <p:nvPr/>
        </p:nvGrpSpPr>
        <p:grpSpPr>
          <a:xfrm>
            <a:off x="455612" y="4202727"/>
            <a:ext cx="7549136" cy="2268238"/>
            <a:chOff x="455612" y="4202727"/>
            <a:chExt cx="7549136" cy="2268238"/>
          </a:xfrm>
        </p:grpSpPr>
        <p:sp>
          <p:nvSpPr>
            <p:cNvPr id="16" name="Title 1">
              <a:extLst>
                <a:ext uri="{FF2B5EF4-FFF2-40B4-BE49-F238E27FC236}">
                  <a16:creationId xmlns:a16="http://schemas.microsoft.com/office/drawing/2014/main" id="{A3FEBD17-CF65-40F4-B25E-64FC3FA172DE}"/>
                </a:ext>
              </a:extLst>
            </p:cNvPr>
            <p:cNvSpPr txBox="1">
              <a:spLocks/>
            </p:cNvSpPr>
            <p:nvPr/>
          </p:nvSpPr>
          <p:spPr>
            <a:xfrm>
              <a:off x="455612" y="4932082"/>
              <a:ext cx="3246957" cy="153888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a:rPr>
                <a:t>Microsoft Connected Cache enables you to easily </a:t>
              </a:r>
              <a:r>
                <a:rPr kumimoji="0" lang="en-US" sz="2000" b="0" i="0" u="none" strike="noStrike" kern="1200" cap="none" spc="0" normalizeH="0" baseline="0" noProof="0" dirty="0">
                  <a:ln>
                    <a:noFill/>
                  </a:ln>
                  <a:solidFill>
                    <a:srgbClr val="50E6FF"/>
                  </a:solidFill>
                  <a:effectLst/>
                  <a:uLnTx/>
                  <a:uFillTx/>
                  <a:latin typeface="Segoe UI Semibold"/>
                  <a:ea typeface="+mn-ea"/>
                  <a:cs typeface="Segoe UI"/>
                </a:rPr>
                <a:t>update devices downstream of a gateway </a:t>
              </a:r>
              <a:r>
                <a:rPr kumimoji="0" lang="en-US" sz="2000" b="0" i="0" u="none" strike="noStrike" kern="1200" cap="none" spc="0" normalizeH="0" baseline="0" noProof="0" dirty="0">
                  <a:ln>
                    <a:noFill/>
                  </a:ln>
                  <a:solidFill>
                    <a:srgbClr val="FFFFFF"/>
                  </a:solidFill>
                  <a:effectLst/>
                  <a:uLnTx/>
                  <a:uFillTx/>
                  <a:latin typeface="Segoe UI"/>
                  <a:ea typeface="+mn-ea"/>
                  <a:cs typeface="Segoe UI"/>
                </a:rPr>
                <a:t>and in</a:t>
              </a:r>
              <a:r>
                <a:rPr kumimoji="0" lang="en-US" sz="2000" b="0" i="0" u="none" strike="noStrike" kern="1200" cap="none" spc="0" normalizeH="0" baseline="0" noProof="0" dirty="0">
                  <a:ln>
                    <a:noFill/>
                  </a:ln>
                  <a:solidFill>
                    <a:srgbClr val="FFFFFF"/>
                  </a:solidFill>
                  <a:effectLst/>
                  <a:uLnTx/>
                  <a:uFillTx/>
                  <a:latin typeface="Segoe UI Semibold"/>
                  <a:ea typeface="+mn-ea"/>
                  <a:cs typeface="Segoe UI"/>
                </a:rPr>
                <a:t> </a:t>
              </a:r>
              <a:r>
                <a:rPr kumimoji="0" lang="en-US" sz="2000" b="0" i="0" u="none" strike="noStrike" kern="1200" cap="none" spc="0" normalizeH="0" baseline="0" noProof="0" dirty="0">
                  <a:ln>
                    <a:noFill/>
                  </a:ln>
                  <a:solidFill>
                    <a:srgbClr val="50E6FF"/>
                  </a:solidFill>
                  <a:effectLst/>
                  <a:uLnTx/>
                  <a:uFillTx/>
                  <a:latin typeface="Segoe UI Semibold"/>
                  <a:ea typeface="+mn-ea"/>
                  <a:cs typeface="Segoe UI"/>
                </a:rPr>
                <a:t>nested topologies</a:t>
              </a:r>
            </a:p>
          </p:txBody>
        </p:sp>
        <p:sp>
          <p:nvSpPr>
            <p:cNvPr id="17" name="Title 1">
              <a:extLst>
                <a:ext uri="{FF2B5EF4-FFF2-40B4-BE49-F238E27FC236}">
                  <a16:creationId xmlns:a16="http://schemas.microsoft.com/office/drawing/2014/main" id="{5D40FB56-2517-4F1B-BF3B-6CDEB80A24F6}"/>
                </a:ext>
              </a:extLst>
            </p:cNvPr>
            <p:cNvSpPr txBox="1">
              <a:spLocks/>
            </p:cNvSpPr>
            <p:nvPr/>
          </p:nvSpPr>
          <p:spPr>
            <a:xfrm>
              <a:off x="4952183" y="4932082"/>
              <a:ext cx="3052565" cy="123110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Robust</a:t>
              </a:r>
              <a:r>
                <a:rPr kumimoji="0" lang="en-US" sz="2000" b="0" i="0" u="none" strike="noStrike" kern="1200" cap="none" spc="0" normalizeH="0" baseline="0" noProof="0">
                  <a:ln>
                    <a:noFill/>
                  </a:ln>
                  <a:solidFill>
                    <a:srgbClr val="50E6FF"/>
                  </a:solidFill>
                  <a:effectLst/>
                  <a:uLnTx/>
                  <a:uFillTx/>
                  <a:latin typeface="Segoe UI Semibold"/>
                  <a:ea typeface="+mn-ea"/>
                  <a:cs typeface="Segoe UI"/>
                </a:rPr>
                <a:t> scheduling, notification, and reporting tools </a:t>
              </a:r>
              <a:r>
                <a:rPr kumimoji="0" lang="en-US" sz="2000" b="0" i="0" u="none" strike="noStrike" kern="1200" cap="none" spc="0" normalizeH="0" baseline="0" noProof="0">
                  <a:ln>
                    <a:noFill/>
                  </a:ln>
                  <a:solidFill>
                    <a:srgbClr val="FFFFFF"/>
                  </a:solidFill>
                  <a:effectLst/>
                  <a:uLnTx/>
                  <a:uFillTx/>
                  <a:latin typeface="Segoe UI"/>
                  <a:ea typeface="+mn-ea"/>
                  <a:cs typeface="Segoe UI"/>
                </a:rPr>
                <a:t>help keep you informed and in control</a:t>
              </a:r>
            </a:p>
          </p:txBody>
        </p:sp>
        <p:pic>
          <p:nvPicPr>
            <p:cNvPr id="7" name="Graphic 6">
              <a:extLst>
                <a:ext uri="{FF2B5EF4-FFF2-40B4-BE49-F238E27FC236}">
                  <a16:creationId xmlns:a16="http://schemas.microsoft.com/office/drawing/2014/main" id="{0EDD99A1-C467-4C32-84CC-27B28DC870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5612" y="4202727"/>
              <a:ext cx="665345" cy="517491"/>
            </a:xfrm>
            <a:prstGeom prst="rect">
              <a:avLst/>
            </a:prstGeom>
          </p:spPr>
        </p:pic>
        <p:pic>
          <p:nvPicPr>
            <p:cNvPr id="20" name="Graphic 19">
              <a:extLst>
                <a:ext uri="{FF2B5EF4-FFF2-40B4-BE49-F238E27FC236}">
                  <a16:creationId xmlns:a16="http://schemas.microsoft.com/office/drawing/2014/main" id="{AB4469C0-4807-459B-92F2-DDC35FB678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52183" y="4202727"/>
              <a:ext cx="614554" cy="499325"/>
            </a:xfrm>
            <a:prstGeom prst="rect">
              <a:avLst/>
            </a:prstGeom>
          </p:spPr>
        </p:pic>
      </p:grpSp>
    </p:spTree>
    <p:extLst>
      <p:ext uri="{BB962C8B-B14F-4D97-AF65-F5344CB8AC3E}">
        <p14:creationId xmlns:p14="http://schemas.microsoft.com/office/powerpoint/2010/main" val="10584267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42" presetClass="path" presetSubtype="0" decel="100000" fill="hold" nodeType="withEffect">
                                  <p:stCondLst>
                                    <p:cond delay="0"/>
                                  </p:stCondLst>
                                  <p:childTnLst>
                                    <p:animMotion origin="layout" path="M -3.75E-6 4.81481E-6 L -3.75E-6 0.01898 " pathEditMode="relative" rAng="0" ptsTypes="AA">
                                      <p:cBhvr>
                                        <p:cTn id="9" dur="700" spd="-100000" fill="hold"/>
                                        <p:tgtEl>
                                          <p:spTgt spid="21"/>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nodeType="withEffect">
                                  <p:stCondLst>
                                    <p:cond delay="250"/>
                                  </p:stCondLst>
                                  <p:childTnLst>
                                    <p:animMotion origin="layout" path="M 5E-6 4.44444E-6 L 5E-6 0.01898 " pathEditMode="relative" rAng="0" ptsTypes="AA">
                                      <p:cBhvr>
                                        <p:cTn id="14" dur="700" spd="-100000" fill="hold"/>
                                        <p:tgtEl>
                                          <p:spTgt spid="2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53" name="Picture 152" descr="Sphere of mesh and nodes">
            <a:extLst>
              <a:ext uri="{FF2B5EF4-FFF2-40B4-BE49-F238E27FC236}">
                <a16:creationId xmlns:a16="http://schemas.microsoft.com/office/drawing/2014/main" id="{DA81C5CC-EDE9-4D13-B2DD-8D308C0D6C00}"/>
              </a:ext>
            </a:extLst>
          </p:cNvPr>
          <p:cNvPicPr>
            <a:picLocks noChangeAspect="1"/>
          </p:cNvPicPr>
          <p:nvPr/>
        </p:nvPicPr>
        <p:blipFill rotWithShape="1">
          <a:blip r:embed="rId3" cstate="screen">
            <a:alphaModFix amt="60000"/>
            <a:extLst>
              <a:ext uri="{28A0092B-C50C-407E-A947-70E740481C1C}">
                <a14:useLocalDpi xmlns:a14="http://schemas.microsoft.com/office/drawing/2010/main"/>
              </a:ext>
            </a:extLst>
          </a:blip>
          <a:srcRect/>
          <a:stretch/>
        </p:blipFill>
        <p:spPr>
          <a:xfrm>
            <a:off x="5426936" y="0"/>
            <a:ext cx="6745319" cy="6858000"/>
          </a:xfrm>
          <a:prstGeom prst="rect">
            <a:avLst/>
          </a:prstGeom>
        </p:spPr>
      </p:pic>
      <p:sp>
        <p:nvSpPr>
          <p:cNvPr id="7" name="Oval 6">
            <a:extLst>
              <a:ext uri="{FF2B5EF4-FFF2-40B4-BE49-F238E27FC236}">
                <a16:creationId xmlns:a16="http://schemas.microsoft.com/office/drawing/2014/main" id="{CB09E9E6-776E-4560-A6FA-569DC837CF93}"/>
              </a:ext>
            </a:extLst>
          </p:cNvPr>
          <p:cNvSpPr/>
          <p:nvPr/>
        </p:nvSpPr>
        <p:spPr bwMode="auto">
          <a:xfrm>
            <a:off x="-1" y="0"/>
            <a:ext cx="11189369" cy="6858000"/>
          </a:xfrm>
          <a:prstGeom prst="ellipse">
            <a:avLst/>
          </a:prstGeom>
          <a:gradFill flip="none" rotWithShape="1">
            <a:gsLst>
              <a:gs pos="0">
                <a:schemeClr val="tx2">
                  <a:lumMod val="50000"/>
                  <a:alpha val="80000"/>
                </a:schemeClr>
              </a:gs>
              <a:gs pos="90000">
                <a:schemeClr val="tx1">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955B71E-2142-4B84-AF3E-99785C9FB642}"/>
              </a:ext>
            </a:extLst>
          </p:cNvPr>
          <p:cNvSpPr>
            <a:spLocks noGrp="1"/>
          </p:cNvSpPr>
          <p:nvPr>
            <p:ph type="title"/>
          </p:nvPr>
        </p:nvSpPr>
        <p:spPr/>
        <p:txBody>
          <a:bodyPr vert="horz" wrap="square" lIns="0" tIns="0" rIns="0" bIns="0" rtlCol="0" anchor="t">
            <a:noAutofit/>
          </a:bodyPr>
          <a:lstStyle/>
          <a:p>
            <a:pPr>
              <a:lnSpc>
                <a:spcPct val="100000"/>
              </a:lnSpc>
            </a:pPr>
            <a:r>
              <a:rPr lang="en-US" sz="3200">
                <a:solidFill>
                  <a:schemeClr val="bg2"/>
                </a:solidFill>
              </a:rPr>
              <a:t>How </a:t>
            </a:r>
            <a:r>
              <a:rPr lang="en-US" sz="3200">
                <a:solidFill>
                  <a:schemeClr val="accent5"/>
                </a:solidFill>
              </a:rPr>
              <a:t>Device Update for IoT Hub</a:t>
            </a:r>
            <a:r>
              <a:rPr lang="en-US" sz="3200">
                <a:solidFill>
                  <a:schemeClr val="bg2"/>
                </a:solidFill>
              </a:rPr>
              <a:t> </a:t>
            </a:r>
            <a:br>
              <a:rPr lang="en-US" sz="3200">
                <a:solidFill>
                  <a:schemeClr val="bg2"/>
                </a:solidFill>
              </a:rPr>
            </a:br>
            <a:r>
              <a:rPr lang="en-US" sz="3200">
                <a:solidFill>
                  <a:schemeClr val="bg2"/>
                </a:solidFill>
              </a:rPr>
              <a:t>works in the real world</a:t>
            </a:r>
          </a:p>
        </p:txBody>
      </p:sp>
      <p:grpSp>
        <p:nvGrpSpPr>
          <p:cNvPr id="140" name="Group 139">
            <a:extLst>
              <a:ext uri="{FF2B5EF4-FFF2-40B4-BE49-F238E27FC236}">
                <a16:creationId xmlns:a16="http://schemas.microsoft.com/office/drawing/2014/main" id="{89330743-3377-43D9-B209-D43029C307C8}"/>
              </a:ext>
            </a:extLst>
          </p:cNvPr>
          <p:cNvGrpSpPr/>
          <p:nvPr/>
        </p:nvGrpSpPr>
        <p:grpSpPr>
          <a:xfrm>
            <a:off x="418970" y="4896855"/>
            <a:ext cx="962974" cy="1555996"/>
            <a:chOff x="418970" y="4896855"/>
            <a:chExt cx="962974" cy="1555996"/>
          </a:xfrm>
        </p:grpSpPr>
        <p:pic>
          <p:nvPicPr>
            <p:cNvPr id="50" name="Graphic 49">
              <a:extLst>
                <a:ext uri="{FF2B5EF4-FFF2-40B4-BE49-F238E27FC236}">
                  <a16:creationId xmlns:a16="http://schemas.microsoft.com/office/drawing/2014/main" id="{72970D36-EFDA-4474-8B2B-C720232E2B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8853" y="4896855"/>
              <a:ext cx="663210" cy="746112"/>
            </a:xfrm>
            <a:prstGeom prst="rect">
              <a:avLst/>
            </a:prstGeom>
          </p:spPr>
        </p:pic>
        <p:sp>
          <p:nvSpPr>
            <p:cNvPr id="51" name="Title 1">
              <a:extLst>
                <a:ext uri="{FF2B5EF4-FFF2-40B4-BE49-F238E27FC236}">
                  <a16:creationId xmlns:a16="http://schemas.microsoft.com/office/drawing/2014/main" id="{ACEB2BB3-DC29-46BF-AE6E-A91C3F5A22CC}"/>
                </a:ext>
              </a:extLst>
            </p:cNvPr>
            <p:cNvSpPr txBox="1">
              <a:spLocks/>
            </p:cNvSpPr>
            <p:nvPr/>
          </p:nvSpPr>
          <p:spPr>
            <a:xfrm>
              <a:off x="623362" y="5696562"/>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1.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52" name="Title 1">
              <a:extLst>
                <a:ext uri="{FF2B5EF4-FFF2-40B4-BE49-F238E27FC236}">
                  <a16:creationId xmlns:a16="http://schemas.microsoft.com/office/drawing/2014/main" id="{14C67DC2-A2B8-4398-A15E-BC4297D271E2}"/>
                </a:ext>
              </a:extLst>
            </p:cNvPr>
            <p:cNvSpPr txBox="1">
              <a:spLocks/>
            </p:cNvSpPr>
            <p:nvPr/>
          </p:nvSpPr>
          <p:spPr>
            <a:xfrm>
              <a:off x="418970" y="6237407"/>
              <a:ext cx="962974"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ubscribe</a:t>
              </a:r>
              <a:endParaRPr kumimoji="0" lang="en-US" sz="1000" b="0" i="1" u="none" strike="noStrike" kern="1200" cap="none" spc="0" normalizeH="0" baseline="0" noProof="0">
                <a:ln>
                  <a:noFill/>
                </a:ln>
                <a:solidFill>
                  <a:srgbClr val="FFFFFF"/>
                </a:solidFill>
                <a:effectLst/>
                <a:uLnTx/>
                <a:uFillTx/>
                <a:latin typeface="Segoe UI"/>
                <a:ea typeface="+mn-ea"/>
                <a:cs typeface="Segoe UI" pitchFamily="34" charset="0"/>
              </a:endParaRPr>
            </a:p>
          </p:txBody>
        </p:sp>
      </p:grpSp>
      <p:grpSp>
        <p:nvGrpSpPr>
          <p:cNvPr id="154" name="Group 153">
            <a:extLst>
              <a:ext uri="{FF2B5EF4-FFF2-40B4-BE49-F238E27FC236}">
                <a16:creationId xmlns:a16="http://schemas.microsoft.com/office/drawing/2014/main" id="{6E83F0DB-01CE-4074-98B0-B56DF5A9FF0E}"/>
              </a:ext>
            </a:extLst>
          </p:cNvPr>
          <p:cNvGrpSpPr/>
          <p:nvPr/>
        </p:nvGrpSpPr>
        <p:grpSpPr>
          <a:xfrm>
            <a:off x="1221762" y="3806033"/>
            <a:ext cx="1573782" cy="2113857"/>
            <a:chOff x="1221762" y="3806033"/>
            <a:chExt cx="1573782" cy="2113857"/>
          </a:xfrm>
        </p:grpSpPr>
        <p:grpSp>
          <p:nvGrpSpPr>
            <p:cNvPr id="141" name="Group 140">
              <a:extLst>
                <a:ext uri="{FF2B5EF4-FFF2-40B4-BE49-F238E27FC236}">
                  <a16:creationId xmlns:a16="http://schemas.microsoft.com/office/drawing/2014/main" id="{700C25FD-C1BB-4CF7-B1C0-D8CC8E6D50A5}"/>
                </a:ext>
              </a:extLst>
            </p:cNvPr>
            <p:cNvGrpSpPr/>
            <p:nvPr/>
          </p:nvGrpSpPr>
          <p:grpSpPr>
            <a:xfrm>
              <a:off x="1543816" y="3806033"/>
              <a:ext cx="1251728" cy="2113857"/>
              <a:chOff x="1731129" y="3806033"/>
              <a:chExt cx="1251728" cy="2113857"/>
            </a:xfrm>
          </p:grpSpPr>
          <p:pic>
            <p:nvPicPr>
              <p:cNvPr id="61" name="Graphic 60">
                <a:extLst>
                  <a:ext uri="{FF2B5EF4-FFF2-40B4-BE49-F238E27FC236}">
                    <a16:creationId xmlns:a16="http://schemas.microsoft.com/office/drawing/2014/main" id="{5815EB87-63BB-4E8F-953D-3C856ECCFA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21687" y="4090613"/>
                <a:ext cx="870612" cy="870615"/>
              </a:xfrm>
              <a:prstGeom prst="rect">
                <a:avLst/>
              </a:prstGeom>
            </p:spPr>
          </p:pic>
          <p:sp>
            <p:nvSpPr>
              <p:cNvPr id="66" name="Title 1">
                <a:extLst>
                  <a:ext uri="{FF2B5EF4-FFF2-40B4-BE49-F238E27FC236}">
                    <a16:creationId xmlns:a16="http://schemas.microsoft.com/office/drawing/2014/main" id="{CACF8CAA-B4FA-45B9-91BC-0B13FDFBA0CC}"/>
                  </a:ext>
                </a:extLst>
              </p:cNvPr>
              <p:cNvSpPr txBox="1">
                <a:spLocks/>
              </p:cNvSpPr>
              <p:nvPr/>
            </p:nvSpPr>
            <p:spPr>
              <a:xfrm>
                <a:off x="1731129" y="3806033"/>
                <a:ext cx="1251728" cy="16158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05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Device Update</a:t>
                </a:r>
                <a:endParaRPr kumimoji="0" lang="en-US" sz="700" b="0" i="1"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67" name="Title 1">
                <a:extLst>
                  <a:ext uri="{FF2B5EF4-FFF2-40B4-BE49-F238E27FC236}">
                    <a16:creationId xmlns:a16="http://schemas.microsoft.com/office/drawing/2014/main" id="{FAFEAD10-A132-4688-ACBB-2182AC8738C5}"/>
                  </a:ext>
                </a:extLst>
              </p:cNvPr>
              <p:cNvSpPr txBox="1">
                <a:spLocks/>
              </p:cNvSpPr>
              <p:nvPr/>
            </p:nvSpPr>
            <p:spPr>
              <a:xfrm>
                <a:off x="2079898" y="4948158"/>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2.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68" name="Title 1">
                <a:extLst>
                  <a:ext uri="{FF2B5EF4-FFF2-40B4-BE49-F238E27FC236}">
                    <a16:creationId xmlns:a16="http://schemas.microsoft.com/office/drawing/2014/main" id="{471762E4-67AC-4E7F-8316-8C64AA66003D}"/>
                  </a:ext>
                </a:extLst>
              </p:cNvPr>
              <p:cNvSpPr txBox="1">
                <a:spLocks/>
              </p:cNvSpPr>
              <p:nvPr/>
            </p:nvSpPr>
            <p:spPr>
              <a:xfrm>
                <a:off x="2025966" y="5489003"/>
                <a:ext cx="662055"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anage </a:t>
                </a:r>
                <a:b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ccess</a:t>
                </a:r>
                <a:endParaRPr kumimoji="0" lang="en-US" sz="1000" b="0" i="1" u="none" strike="noStrike" kern="1200" cap="none" spc="0" normalizeH="0" baseline="0" noProof="0">
                  <a:ln>
                    <a:noFill/>
                  </a:ln>
                  <a:solidFill>
                    <a:srgbClr val="FFFFFF"/>
                  </a:solidFill>
                  <a:effectLst/>
                  <a:uLnTx/>
                  <a:uFillTx/>
                  <a:latin typeface="Segoe UI"/>
                  <a:ea typeface="+mn-ea"/>
                  <a:cs typeface="Segoe UI" pitchFamily="34" charset="0"/>
                </a:endParaRPr>
              </a:p>
            </p:txBody>
          </p:sp>
        </p:grpSp>
        <p:cxnSp>
          <p:nvCxnSpPr>
            <p:cNvPr id="123" name="Straight Arrow Connector 122">
              <a:extLst>
                <a:ext uri="{FF2B5EF4-FFF2-40B4-BE49-F238E27FC236}">
                  <a16:creationId xmlns:a16="http://schemas.microsoft.com/office/drawing/2014/main" id="{1EB04B02-3B87-499B-BCD6-FBE51DB0A169}"/>
                </a:ext>
              </a:extLst>
            </p:cNvPr>
            <p:cNvCxnSpPr>
              <a:cxnSpLocks/>
            </p:cNvCxnSpPr>
            <p:nvPr/>
          </p:nvCxnSpPr>
          <p:spPr>
            <a:xfrm flipH="1">
              <a:off x="1221762" y="5221810"/>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grpSp>
        <p:nvGrpSpPr>
          <p:cNvPr id="155" name="Group 154">
            <a:extLst>
              <a:ext uri="{FF2B5EF4-FFF2-40B4-BE49-F238E27FC236}">
                <a16:creationId xmlns:a16="http://schemas.microsoft.com/office/drawing/2014/main" id="{1A77FD57-80BC-48E5-938B-720E9EC66470}"/>
              </a:ext>
            </a:extLst>
          </p:cNvPr>
          <p:cNvGrpSpPr/>
          <p:nvPr/>
        </p:nvGrpSpPr>
        <p:grpSpPr>
          <a:xfrm>
            <a:off x="2718771" y="3249676"/>
            <a:ext cx="1378780" cy="1988460"/>
            <a:chOff x="2718771" y="3249676"/>
            <a:chExt cx="1378780" cy="1988460"/>
          </a:xfrm>
        </p:grpSpPr>
        <p:grpSp>
          <p:nvGrpSpPr>
            <p:cNvPr id="142" name="Group 141">
              <a:extLst>
                <a:ext uri="{FF2B5EF4-FFF2-40B4-BE49-F238E27FC236}">
                  <a16:creationId xmlns:a16="http://schemas.microsoft.com/office/drawing/2014/main" id="{00D701CB-58CF-4FC7-B2C6-684D1F6F721F}"/>
                </a:ext>
              </a:extLst>
            </p:cNvPr>
            <p:cNvGrpSpPr/>
            <p:nvPr/>
          </p:nvGrpSpPr>
          <p:grpSpPr>
            <a:xfrm>
              <a:off x="3234213" y="3249676"/>
              <a:ext cx="863338" cy="1988460"/>
              <a:chOff x="3538629" y="3249676"/>
              <a:chExt cx="863338" cy="1988460"/>
            </a:xfrm>
          </p:grpSpPr>
          <p:sp>
            <p:nvSpPr>
              <p:cNvPr id="73" name="Title 1">
                <a:extLst>
                  <a:ext uri="{FF2B5EF4-FFF2-40B4-BE49-F238E27FC236}">
                    <a16:creationId xmlns:a16="http://schemas.microsoft.com/office/drawing/2014/main" id="{17A27745-D5B4-4A92-8A79-3A30BEE163DE}"/>
                  </a:ext>
                </a:extLst>
              </p:cNvPr>
              <p:cNvSpPr txBox="1">
                <a:spLocks/>
              </p:cNvSpPr>
              <p:nvPr/>
            </p:nvSpPr>
            <p:spPr>
              <a:xfrm>
                <a:off x="3538629" y="3249676"/>
                <a:ext cx="863338" cy="16158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05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IoT Hub</a:t>
                </a:r>
                <a:endParaRPr kumimoji="0" lang="en-US" sz="700" b="0" i="1"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74" name="Title 1">
                <a:extLst>
                  <a:ext uri="{FF2B5EF4-FFF2-40B4-BE49-F238E27FC236}">
                    <a16:creationId xmlns:a16="http://schemas.microsoft.com/office/drawing/2014/main" id="{E24614F3-3530-4473-9AA4-CE8FACCB5225}"/>
                  </a:ext>
                </a:extLst>
              </p:cNvPr>
              <p:cNvSpPr txBox="1">
                <a:spLocks/>
              </p:cNvSpPr>
              <p:nvPr/>
            </p:nvSpPr>
            <p:spPr>
              <a:xfrm>
                <a:off x="3693203" y="4266404"/>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3.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75" name="Title 1">
                <a:extLst>
                  <a:ext uri="{FF2B5EF4-FFF2-40B4-BE49-F238E27FC236}">
                    <a16:creationId xmlns:a16="http://schemas.microsoft.com/office/drawing/2014/main" id="{33701451-8790-4847-AFA1-8E33B6262ACA}"/>
                  </a:ext>
                </a:extLst>
              </p:cNvPr>
              <p:cNvSpPr txBox="1">
                <a:spLocks/>
              </p:cNvSpPr>
              <p:nvPr/>
            </p:nvSpPr>
            <p:spPr>
              <a:xfrm>
                <a:off x="3622393" y="4807249"/>
                <a:ext cx="69581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Easily </a:t>
                </a:r>
                <a:b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nect</a:t>
                </a:r>
                <a:endParaRPr kumimoji="0" lang="en-US" sz="1000" b="0" i="1"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28" name="Graphic 71">
                <a:extLst>
                  <a:ext uri="{FF2B5EF4-FFF2-40B4-BE49-F238E27FC236}">
                    <a16:creationId xmlns:a16="http://schemas.microsoft.com/office/drawing/2014/main" id="{5264BB15-57B8-4DE4-889A-29473DA8A080}"/>
                  </a:ext>
                </a:extLst>
              </p:cNvPr>
              <p:cNvGrpSpPr/>
              <p:nvPr/>
            </p:nvGrpSpPr>
            <p:grpSpPr>
              <a:xfrm>
                <a:off x="3637854" y="3562058"/>
                <a:ext cx="664889" cy="657158"/>
                <a:chOff x="4788695" y="3185377"/>
                <a:chExt cx="963744" cy="952538"/>
              </a:xfrm>
            </p:grpSpPr>
            <p:sp>
              <p:nvSpPr>
                <p:cNvPr id="42" name="Freeform: Shape 41">
                  <a:extLst>
                    <a:ext uri="{FF2B5EF4-FFF2-40B4-BE49-F238E27FC236}">
                      <a16:creationId xmlns:a16="http://schemas.microsoft.com/office/drawing/2014/main" id="{D6F3688B-A66F-4A82-A64B-67525DA3E7B8}"/>
                    </a:ext>
                  </a:extLst>
                </p:cNvPr>
                <p:cNvSpPr/>
                <p:nvPr/>
              </p:nvSpPr>
              <p:spPr>
                <a:xfrm>
                  <a:off x="4939980" y="3314249"/>
                  <a:ext cx="666776" cy="649967"/>
                </a:xfrm>
                <a:custGeom>
                  <a:avLst/>
                  <a:gdLst>
                    <a:gd name="connsiteX0" fmla="*/ 666777 w 666776"/>
                    <a:gd name="connsiteY0" fmla="*/ 627554 h 649967"/>
                    <a:gd name="connsiteX1" fmla="*/ 481872 w 666776"/>
                    <a:gd name="connsiteY1" fmla="*/ 302571 h 649967"/>
                    <a:gd name="connsiteX2" fmla="*/ 459459 w 666776"/>
                    <a:gd name="connsiteY2" fmla="*/ 313777 h 649967"/>
                    <a:gd name="connsiteX3" fmla="*/ 476269 w 666776"/>
                    <a:gd name="connsiteY3" fmla="*/ 296968 h 649967"/>
                    <a:gd name="connsiteX4" fmla="*/ 263349 w 666776"/>
                    <a:gd name="connsiteY4" fmla="*/ 0 h 649967"/>
                    <a:gd name="connsiteX5" fmla="*/ 224127 w 666776"/>
                    <a:gd name="connsiteY5" fmla="*/ 28016 h 649967"/>
                    <a:gd name="connsiteX6" fmla="*/ 414634 w 666776"/>
                    <a:gd name="connsiteY6" fmla="*/ 291365 h 649967"/>
                    <a:gd name="connsiteX7" fmla="*/ 0 w 666776"/>
                    <a:gd name="connsiteY7" fmla="*/ 324984 h 649967"/>
                    <a:gd name="connsiteX8" fmla="*/ 5603 w 666776"/>
                    <a:gd name="connsiteY8" fmla="*/ 375412 h 649967"/>
                    <a:gd name="connsiteX9" fmla="*/ 414634 w 666776"/>
                    <a:gd name="connsiteY9" fmla="*/ 341793 h 649967"/>
                    <a:gd name="connsiteX10" fmla="*/ 280158 w 666776"/>
                    <a:gd name="connsiteY10" fmla="*/ 565920 h 649967"/>
                    <a:gd name="connsiteX11" fmla="*/ 319380 w 666776"/>
                    <a:gd name="connsiteY11" fmla="*/ 593935 h 649967"/>
                    <a:gd name="connsiteX12" fmla="*/ 459459 w 666776"/>
                    <a:gd name="connsiteY12" fmla="*/ 358603 h 649967"/>
                    <a:gd name="connsiteX13" fmla="*/ 621951 w 666776"/>
                    <a:gd name="connsiteY13" fmla="*/ 649967 h 64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76" h="649967">
                      <a:moveTo>
                        <a:pt x="666777" y="627554"/>
                      </a:moveTo>
                      <a:lnTo>
                        <a:pt x="481872" y="302571"/>
                      </a:lnTo>
                      <a:lnTo>
                        <a:pt x="459459" y="313777"/>
                      </a:lnTo>
                      <a:lnTo>
                        <a:pt x="476269" y="296968"/>
                      </a:lnTo>
                      <a:lnTo>
                        <a:pt x="263349" y="0"/>
                      </a:lnTo>
                      <a:lnTo>
                        <a:pt x="224127" y="28016"/>
                      </a:lnTo>
                      <a:lnTo>
                        <a:pt x="414634" y="291365"/>
                      </a:lnTo>
                      <a:lnTo>
                        <a:pt x="0" y="324984"/>
                      </a:lnTo>
                      <a:lnTo>
                        <a:pt x="5603" y="375412"/>
                      </a:lnTo>
                      <a:lnTo>
                        <a:pt x="414634" y="341793"/>
                      </a:lnTo>
                      <a:lnTo>
                        <a:pt x="280158" y="565920"/>
                      </a:lnTo>
                      <a:lnTo>
                        <a:pt x="319380" y="593935"/>
                      </a:lnTo>
                      <a:lnTo>
                        <a:pt x="459459" y="358603"/>
                      </a:lnTo>
                      <a:lnTo>
                        <a:pt x="621951" y="649967"/>
                      </a:lnTo>
                      <a:close/>
                    </a:path>
                  </a:pathLst>
                </a:custGeom>
                <a:solidFill>
                  <a:srgbClr val="949494"/>
                </a:solidFill>
                <a:ln w="560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5" name="Graphic 71">
                  <a:extLst>
                    <a:ext uri="{FF2B5EF4-FFF2-40B4-BE49-F238E27FC236}">
                      <a16:creationId xmlns:a16="http://schemas.microsoft.com/office/drawing/2014/main" id="{5264BB15-57B8-4DE4-889A-29473DA8A080}"/>
                    </a:ext>
                  </a:extLst>
                </p:cNvPr>
                <p:cNvGrpSpPr/>
                <p:nvPr/>
              </p:nvGrpSpPr>
              <p:grpSpPr>
                <a:xfrm>
                  <a:off x="4788695" y="3185377"/>
                  <a:ext cx="963744" cy="952538"/>
                  <a:chOff x="4788695" y="3185377"/>
                  <a:chExt cx="963744" cy="952538"/>
                </a:xfrm>
                <a:solidFill>
                  <a:srgbClr val="949494"/>
                </a:solidFill>
              </p:grpSpPr>
              <p:sp>
                <p:nvSpPr>
                  <p:cNvPr id="86" name="Freeform: Shape 85">
                    <a:extLst>
                      <a:ext uri="{FF2B5EF4-FFF2-40B4-BE49-F238E27FC236}">
                        <a16:creationId xmlns:a16="http://schemas.microsoft.com/office/drawing/2014/main" id="{CE0C4811-80AC-4A46-A357-9D3822877534}"/>
                      </a:ext>
                    </a:extLst>
                  </p:cNvPr>
                  <p:cNvSpPr/>
                  <p:nvPr/>
                </p:nvSpPr>
                <p:spPr>
                  <a:xfrm>
                    <a:off x="5472281" y="3185377"/>
                    <a:ext cx="280158" cy="274555"/>
                  </a:xfrm>
                  <a:custGeom>
                    <a:avLst/>
                    <a:gdLst>
                      <a:gd name="connsiteX0" fmla="*/ 274555 w 280158"/>
                      <a:gd name="connsiteY0" fmla="*/ 39222 h 274555"/>
                      <a:gd name="connsiteX1" fmla="*/ 274555 w 280158"/>
                      <a:gd name="connsiteY1" fmla="*/ 39222 h 274555"/>
                      <a:gd name="connsiteX2" fmla="*/ 235333 w 280158"/>
                      <a:gd name="connsiteY2" fmla="*/ 0 h 274555"/>
                      <a:gd name="connsiteX3" fmla="*/ 235333 w 280158"/>
                      <a:gd name="connsiteY3" fmla="*/ 0 h 274555"/>
                      <a:gd name="connsiteX4" fmla="*/ 22413 w 280158"/>
                      <a:gd name="connsiteY4" fmla="*/ 0 h 274555"/>
                      <a:gd name="connsiteX5" fmla="*/ 0 w 280158"/>
                      <a:gd name="connsiteY5" fmla="*/ 22413 h 274555"/>
                      <a:gd name="connsiteX6" fmla="*/ 0 w 280158"/>
                      <a:gd name="connsiteY6" fmla="*/ 100857 h 274555"/>
                      <a:gd name="connsiteX7" fmla="*/ 22413 w 280158"/>
                      <a:gd name="connsiteY7" fmla="*/ 123270 h 274555"/>
                      <a:gd name="connsiteX8" fmla="*/ 156889 w 280158"/>
                      <a:gd name="connsiteY8" fmla="*/ 123270 h 274555"/>
                      <a:gd name="connsiteX9" fmla="*/ 156889 w 280158"/>
                      <a:gd name="connsiteY9" fmla="*/ 252142 h 274555"/>
                      <a:gd name="connsiteX10" fmla="*/ 179301 w 280158"/>
                      <a:gd name="connsiteY10" fmla="*/ 274555 h 274555"/>
                      <a:gd name="connsiteX11" fmla="*/ 257746 w 280158"/>
                      <a:gd name="connsiteY11" fmla="*/ 274555 h 274555"/>
                      <a:gd name="connsiteX12" fmla="*/ 280158 w 280158"/>
                      <a:gd name="connsiteY12" fmla="*/ 252142 h 274555"/>
                      <a:gd name="connsiteX13" fmla="*/ 274555 w 280158"/>
                      <a:gd name="connsiteY13" fmla="*/ 39222 h 274555"/>
                      <a:gd name="connsiteX14" fmla="*/ 274555 w 280158"/>
                      <a:gd name="connsiteY14" fmla="*/ 39222 h 274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158" h="274555">
                        <a:moveTo>
                          <a:pt x="274555" y="39222"/>
                        </a:moveTo>
                        <a:lnTo>
                          <a:pt x="274555" y="39222"/>
                        </a:lnTo>
                        <a:cubicBezTo>
                          <a:pt x="274555" y="16809"/>
                          <a:pt x="257746" y="0"/>
                          <a:pt x="235333" y="0"/>
                        </a:cubicBezTo>
                        <a:cubicBezTo>
                          <a:pt x="235333" y="0"/>
                          <a:pt x="235333" y="0"/>
                          <a:pt x="235333" y="0"/>
                        </a:cubicBezTo>
                        <a:lnTo>
                          <a:pt x="22413" y="0"/>
                        </a:lnTo>
                        <a:cubicBezTo>
                          <a:pt x="11206" y="0"/>
                          <a:pt x="0" y="11206"/>
                          <a:pt x="0" y="22413"/>
                        </a:cubicBezTo>
                        <a:lnTo>
                          <a:pt x="0" y="100857"/>
                        </a:lnTo>
                        <a:cubicBezTo>
                          <a:pt x="0" y="112063"/>
                          <a:pt x="11206" y="123270"/>
                          <a:pt x="22413" y="123270"/>
                        </a:cubicBezTo>
                        <a:lnTo>
                          <a:pt x="156889" y="123270"/>
                        </a:lnTo>
                        <a:lnTo>
                          <a:pt x="156889" y="252142"/>
                        </a:lnTo>
                        <a:cubicBezTo>
                          <a:pt x="156889" y="263349"/>
                          <a:pt x="168095" y="274555"/>
                          <a:pt x="179301" y="274555"/>
                        </a:cubicBezTo>
                        <a:lnTo>
                          <a:pt x="257746" y="274555"/>
                        </a:lnTo>
                        <a:cubicBezTo>
                          <a:pt x="268952" y="274555"/>
                          <a:pt x="280158" y="263349"/>
                          <a:pt x="280158" y="252142"/>
                        </a:cubicBezTo>
                        <a:lnTo>
                          <a:pt x="274555" y="39222"/>
                        </a:lnTo>
                        <a:lnTo>
                          <a:pt x="274555" y="39222"/>
                        </a:lnTo>
                        <a:close/>
                      </a:path>
                    </a:pathLst>
                  </a:custGeom>
                  <a:solidFill>
                    <a:schemeClr val="bg1"/>
                  </a:solidFill>
                  <a:ln w="560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914B1DE0-FDEC-4CE9-8637-B469B2CEED35}"/>
                      </a:ext>
                    </a:extLst>
                  </p:cNvPr>
                  <p:cNvSpPr/>
                  <p:nvPr/>
                </p:nvSpPr>
                <p:spPr>
                  <a:xfrm>
                    <a:off x="4788695" y="3868963"/>
                    <a:ext cx="274555" cy="268951"/>
                  </a:xfrm>
                  <a:custGeom>
                    <a:avLst/>
                    <a:gdLst>
                      <a:gd name="connsiteX0" fmla="*/ 252142 w 274555"/>
                      <a:gd name="connsiteY0" fmla="*/ 151285 h 268951"/>
                      <a:gd name="connsiteX1" fmla="*/ 117666 w 274555"/>
                      <a:gd name="connsiteY1" fmla="*/ 151285 h 268951"/>
                      <a:gd name="connsiteX2" fmla="*/ 117666 w 274555"/>
                      <a:gd name="connsiteY2" fmla="*/ 22413 h 268951"/>
                      <a:gd name="connsiteX3" fmla="*/ 95254 w 274555"/>
                      <a:gd name="connsiteY3" fmla="*/ 0 h 268951"/>
                      <a:gd name="connsiteX4" fmla="*/ 22413 w 274555"/>
                      <a:gd name="connsiteY4" fmla="*/ 0 h 268951"/>
                      <a:gd name="connsiteX5" fmla="*/ 0 w 274555"/>
                      <a:gd name="connsiteY5" fmla="*/ 22413 h 268951"/>
                      <a:gd name="connsiteX6" fmla="*/ 0 w 274555"/>
                      <a:gd name="connsiteY6" fmla="*/ 229730 h 268951"/>
                      <a:gd name="connsiteX7" fmla="*/ 0 w 274555"/>
                      <a:gd name="connsiteY7" fmla="*/ 229730 h 268951"/>
                      <a:gd name="connsiteX8" fmla="*/ 39222 w 274555"/>
                      <a:gd name="connsiteY8" fmla="*/ 268952 h 268951"/>
                      <a:gd name="connsiteX9" fmla="*/ 252142 w 274555"/>
                      <a:gd name="connsiteY9" fmla="*/ 268952 h 268951"/>
                      <a:gd name="connsiteX10" fmla="*/ 274555 w 274555"/>
                      <a:gd name="connsiteY10" fmla="*/ 246539 h 268951"/>
                      <a:gd name="connsiteX11" fmla="*/ 274555 w 274555"/>
                      <a:gd name="connsiteY11" fmla="*/ 246539 h 268951"/>
                      <a:gd name="connsiteX12" fmla="*/ 274555 w 274555"/>
                      <a:gd name="connsiteY12" fmla="*/ 168095 h 268951"/>
                      <a:gd name="connsiteX13" fmla="*/ 252142 w 274555"/>
                      <a:gd name="connsiteY13" fmla="*/ 151285 h 26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4555" h="268951">
                        <a:moveTo>
                          <a:pt x="252142" y="151285"/>
                        </a:moveTo>
                        <a:lnTo>
                          <a:pt x="117666" y="151285"/>
                        </a:lnTo>
                        <a:lnTo>
                          <a:pt x="117666" y="22413"/>
                        </a:lnTo>
                        <a:cubicBezTo>
                          <a:pt x="117666" y="11206"/>
                          <a:pt x="106460" y="0"/>
                          <a:pt x="95254" y="0"/>
                        </a:cubicBezTo>
                        <a:lnTo>
                          <a:pt x="22413" y="0"/>
                        </a:lnTo>
                        <a:cubicBezTo>
                          <a:pt x="11206" y="0"/>
                          <a:pt x="0" y="11206"/>
                          <a:pt x="0" y="22413"/>
                        </a:cubicBezTo>
                        <a:lnTo>
                          <a:pt x="0" y="229730"/>
                        </a:lnTo>
                        <a:lnTo>
                          <a:pt x="0" y="229730"/>
                        </a:lnTo>
                        <a:cubicBezTo>
                          <a:pt x="0" y="252142"/>
                          <a:pt x="16809" y="268952"/>
                          <a:pt x="39222" y="268952"/>
                        </a:cubicBezTo>
                        <a:lnTo>
                          <a:pt x="252142" y="268952"/>
                        </a:lnTo>
                        <a:cubicBezTo>
                          <a:pt x="263349" y="268952"/>
                          <a:pt x="274555" y="257746"/>
                          <a:pt x="274555" y="246539"/>
                        </a:cubicBezTo>
                        <a:lnTo>
                          <a:pt x="274555" y="246539"/>
                        </a:lnTo>
                        <a:lnTo>
                          <a:pt x="274555" y="168095"/>
                        </a:lnTo>
                        <a:cubicBezTo>
                          <a:pt x="274555" y="156889"/>
                          <a:pt x="263349" y="151285"/>
                          <a:pt x="252142" y="151285"/>
                        </a:cubicBezTo>
                        <a:close/>
                      </a:path>
                    </a:pathLst>
                  </a:custGeom>
                  <a:solidFill>
                    <a:schemeClr val="bg1"/>
                  </a:solidFill>
                  <a:ln w="560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8" name="Freeform: Shape 87">
                  <a:extLst>
                    <a:ext uri="{FF2B5EF4-FFF2-40B4-BE49-F238E27FC236}">
                      <a16:creationId xmlns:a16="http://schemas.microsoft.com/office/drawing/2014/main" id="{3085350C-4534-4051-AAB1-D22164BC1AA8}"/>
                    </a:ext>
                  </a:extLst>
                </p:cNvPr>
                <p:cNvSpPr/>
                <p:nvPr/>
              </p:nvSpPr>
              <p:spPr>
                <a:xfrm>
                  <a:off x="4888141" y="3241408"/>
                  <a:ext cx="806855" cy="806855"/>
                </a:xfrm>
                <a:custGeom>
                  <a:avLst/>
                  <a:gdLst>
                    <a:gd name="connsiteX0" fmla="*/ 532301 w 806855"/>
                    <a:gd name="connsiteY0" fmla="*/ 280158 h 806855"/>
                    <a:gd name="connsiteX1" fmla="*/ 644364 w 806855"/>
                    <a:gd name="connsiteY1" fmla="*/ 392222 h 806855"/>
                    <a:gd name="connsiteX2" fmla="*/ 532301 w 806855"/>
                    <a:gd name="connsiteY2" fmla="*/ 504285 h 806855"/>
                    <a:gd name="connsiteX3" fmla="*/ 420237 w 806855"/>
                    <a:gd name="connsiteY3" fmla="*/ 392222 h 806855"/>
                    <a:gd name="connsiteX4" fmla="*/ 420237 w 806855"/>
                    <a:gd name="connsiteY4" fmla="*/ 392222 h 806855"/>
                    <a:gd name="connsiteX5" fmla="*/ 532301 w 806855"/>
                    <a:gd name="connsiteY5" fmla="*/ 280158 h 806855"/>
                    <a:gd name="connsiteX6" fmla="*/ 229730 w 806855"/>
                    <a:gd name="connsiteY6" fmla="*/ 89651 h 806855"/>
                    <a:gd name="connsiteX7" fmla="*/ 324984 w 806855"/>
                    <a:gd name="connsiteY7" fmla="*/ 184904 h 806855"/>
                    <a:gd name="connsiteX8" fmla="*/ 420237 w 806855"/>
                    <a:gd name="connsiteY8" fmla="*/ 89651 h 806855"/>
                    <a:gd name="connsiteX9" fmla="*/ 324984 w 806855"/>
                    <a:gd name="connsiteY9" fmla="*/ 0 h 806855"/>
                    <a:gd name="connsiteX10" fmla="*/ 324984 w 806855"/>
                    <a:gd name="connsiteY10" fmla="*/ 0 h 806855"/>
                    <a:gd name="connsiteX11" fmla="*/ 229730 w 806855"/>
                    <a:gd name="connsiteY11" fmla="*/ 89651 h 806855"/>
                    <a:gd name="connsiteX12" fmla="*/ 0 w 806855"/>
                    <a:gd name="connsiteY12" fmla="*/ 431444 h 806855"/>
                    <a:gd name="connsiteX13" fmla="*/ 72841 w 806855"/>
                    <a:gd name="connsiteY13" fmla="*/ 504285 h 806855"/>
                    <a:gd name="connsiteX14" fmla="*/ 145682 w 806855"/>
                    <a:gd name="connsiteY14" fmla="*/ 431444 h 806855"/>
                    <a:gd name="connsiteX15" fmla="*/ 72841 w 806855"/>
                    <a:gd name="connsiteY15" fmla="*/ 358603 h 806855"/>
                    <a:gd name="connsiteX16" fmla="*/ 0 w 806855"/>
                    <a:gd name="connsiteY16" fmla="*/ 431444 h 806855"/>
                    <a:gd name="connsiteX17" fmla="*/ 0 w 806855"/>
                    <a:gd name="connsiteY17" fmla="*/ 431444 h 806855"/>
                    <a:gd name="connsiteX18" fmla="*/ 302571 w 806855"/>
                    <a:gd name="connsiteY18" fmla="*/ 655570 h 806855"/>
                    <a:gd name="connsiteX19" fmla="*/ 375412 w 806855"/>
                    <a:gd name="connsiteY19" fmla="*/ 728411 h 806855"/>
                    <a:gd name="connsiteX20" fmla="*/ 448253 w 806855"/>
                    <a:gd name="connsiteY20" fmla="*/ 655570 h 806855"/>
                    <a:gd name="connsiteX21" fmla="*/ 375412 w 806855"/>
                    <a:gd name="connsiteY21" fmla="*/ 582729 h 806855"/>
                    <a:gd name="connsiteX22" fmla="*/ 375412 w 806855"/>
                    <a:gd name="connsiteY22" fmla="*/ 582729 h 806855"/>
                    <a:gd name="connsiteX23" fmla="*/ 302571 w 806855"/>
                    <a:gd name="connsiteY23" fmla="*/ 655570 h 806855"/>
                    <a:gd name="connsiteX24" fmla="*/ 302571 w 806855"/>
                    <a:gd name="connsiteY24" fmla="*/ 655570 h 806855"/>
                    <a:gd name="connsiteX25" fmla="*/ 633158 w 806855"/>
                    <a:gd name="connsiteY25" fmla="*/ 717205 h 806855"/>
                    <a:gd name="connsiteX26" fmla="*/ 717205 w 806855"/>
                    <a:gd name="connsiteY26" fmla="*/ 806856 h 806855"/>
                    <a:gd name="connsiteX27" fmla="*/ 806856 w 806855"/>
                    <a:gd name="connsiteY27" fmla="*/ 722808 h 806855"/>
                    <a:gd name="connsiteX28" fmla="*/ 722808 w 806855"/>
                    <a:gd name="connsiteY28" fmla="*/ 633158 h 806855"/>
                    <a:gd name="connsiteX29" fmla="*/ 722808 w 806855"/>
                    <a:gd name="connsiteY29" fmla="*/ 633158 h 806855"/>
                    <a:gd name="connsiteX30" fmla="*/ 633158 w 806855"/>
                    <a:gd name="connsiteY30" fmla="*/ 717205 h 806855"/>
                    <a:gd name="connsiteX31" fmla="*/ 633158 w 806855"/>
                    <a:gd name="connsiteY31" fmla="*/ 717205 h 80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6855" h="806855">
                      <a:moveTo>
                        <a:pt x="532301" y="280158"/>
                      </a:moveTo>
                      <a:cubicBezTo>
                        <a:pt x="593935" y="280158"/>
                        <a:pt x="644364" y="330587"/>
                        <a:pt x="644364" y="392222"/>
                      </a:cubicBezTo>
                      <a:cubicBezTo>
                        <a:pt x="644364" y="453856"/>
                        <a:pt x="593935" y="504285"/>
                        <a:pt x="532301" y="504285"/>
                      </a:cubicBezTo>
                      <a:cubicBezTo>
                        <a:pt x="470666" y="504285"/>
                        <a:pt x="420237" y="453856"/>
                        <a:pt x="420237" y="392222"/>
                      </a:cubicBezTo>
                      <a:cubicBezTo>
                        <a:pt x="420237" y="392222"/>
                        <a:pt x="420237" y="392222"/>
                        <a:pt x="420237" y="392222"/>
                      </a:cubicBezTo>
                      <a:cubicBezTo>
                        <a:pt x="425841" y="330587"/>
                        <a:pt x="470666" y="280158"/>
                        <a:pt x="532301" y="280158"/>
                      </a:cubicBezTo>
                      <a:close/>
                      <a:moveTo>
                        <a:pt x="229730" y="89651"/>
                      </a:moveTo>
                      <a:cubicBezTo>
                        <a:pt x="229730" y="140079"/>
                        <a:pt x="268952" y="184904"/>
                        <a:pt x="324984" y="184904"/>
                      </a:cubicBezTo>
                      <a:cubicBezTo>
                        <a:pt x="375412" y="184904"/>
                        <a:pt x="420237" y="145682"/>
                        <a:pt x="420237" y="89651"/>
                      </a:cubicBezTo>
                      <a:cubicBezTo>
                        <a:pt x="420237" y="33619"/>
                        <a:pt x="375412" y="0"/>
                        <a:pt x="324984" y="0"/>
                      </a:cubicBezTo>
                      <a:cubicBezTo>
                        <a:pt x="324984" y="0"/>
                        <a:pt x="324984" y="0"/>
                        <a:pt x="324984" y="0"/>
                      </a:cubicBezTo>
                      <a:cubicBezTo>
                        <a:pt x="274555" y="0"/>
                        <a:pt x="229730" y="39222"/>
                        <a:pt x="229730" y="89651"/>
                      </a:cubicBezTo>
                      <a:close/>
                      <a:moveTo>
                        <a:pt x="0" y="431444"/>
                      </a:moveTo>
                      <a:cubicBezTo>
                        <a:pt x="0" y="470666"/>
                        <a:pt x="33619" y="504285"/>
                        <a:pt x="72841" y="504285"/>
                      </a:cubicBezTo>
                      <a:cubicBezTo>
                        <a:pt x="112063" y="504285"/>
                        <a:pt x="145682" y="470666"/>
                        <a:pt x="145682" y="431444"/>
                      </a:cubicBezTo>
                      <a:cubicBezTo>
                        <a:pt x="145682" y="392222"/>
                        <a:pt x="112063" y="358603"/>
                        <a:pt x="72841" y="358603"/>
                      </a:cubicBezTo>
                      <a:cubicBezTo>
                        <a:pt x="33619" y="358603"/>
                        <a:pt x="0" y="386618"/>
                        <a:pt x="0" y="431444"/>
                      </a:cubicBezTo>
                      <a:lnTo>
                        <a:pt x="0" y="431444"/>
                      </a:lnTo>
                      <a:close/>
                      <a:moveTo>
                        <a:pt x="302571" y="655570"/>
                      </a:moveTo>
                      <a:cubicBezTo>
                        <a:pt x="302571" y="694792"/>
                        <a:pt x="336190" y="728411"/>
                        <a:pt x="375412" y="728411"/>
                      </a:cubicBezTo>
                      <a:cubicBezTo>
                        <a:pt x="414634" y="728411"/>
                        <a:pt x="448253" y="694792"/>
                        <a:pt x="448253" y="655570"/>
                      </a:cubicBezTo>
                      <a:cubicBezTo>
                        <a:pt x="448253" y="616348"/>
                        <a:pt x="414634" y="582729"/>
                        <a:pt x="375412" y="582729"/>
                      </a:cubicBezTo>
                      <a:cubicBezTo>
                        <a:pt x="375412" y="582729"/>
                        <a:pt x="375412" y="582729"/>
                        <a:pt x="375412" y="582729"/>
                      </a:cubicBezTo>
                      <a:cubicBezTo>
                        <a:pt x="336190" y="582729"/>
                        <a:pt x="302571" y="616348"/>
                        <a:pt x="302571" y="655570"/>
                      </a:cubicBezTo>
                      <a:cubicBezTo>
                        <a:pt x="302571" y="655570"/>
                        <a:pt x="302571" y="655570"/>
                        <a:pt x="302571" y="655570"/>
                      </a:cubicBezTo>
                      <a:close/>
                      <a:moveTo>
                        <a:pt x="633158" y="717205"/>
                      </a:moveTo>
                      <a:cubicBezTo>
                        <a:pt x="633158" y="767634"/>
                        <a:pt x="672380" y="806856"/>
                        <a:pt x="717205" y="806856"/>
                      </a:cubicBezTo>
                      <a:cubicBezTo>
                        <a:pt x="762030" y="806856"/>
                        <a:pt x="806856" y="767634"/>
                        <a:pt x="806856" y="722808"/>
                      </a:cubicBezTo>
                      <a:cubicBezTo>
                        <a:pt x="806856" y="672380"/>
                        <a:pt x="767634" y="633158"/>
                        <a:pt x="722808" y="633158"/>
                      </a:cubicBezTo>
                      <a:cubicBezTo>
                        <a:pt x="722808" y="633158"/>
                        <a:pt x="722808" y="633158"/>
                        <a:pt x="722808" y="633158"/>
                      </a:cubicBezTo>
                      <a:cubicBezTo>
                        <a:pt x="672380" y="627554"/>
                        <a:pt x="633158" y="666777"/>
                        <a:pt x="633158" y="717205"/>
                      </a:cubicBezTo>
                      <a:cubicBezTo>
                        <a:pt x="633158" y="717205"/>
                        <a:pt x="633158" y="717205"/>
                        <a:pt x="633158" y="717205"/>
                      </a:cubicBezTo>
                      <a:close/>
                    </a:path>
                  </a:pathLst>
                </a:custGeom>
                <a:solidFill>
                  <a:schemeClr val="accent5"/>
                </a:solidFill>
                <a:ln w="560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125" name="Straight Arrow Connector 124">
              <a:extLst>
                <a:ext uri="{FF2B5EF4-FFF2-40B4-BE49-F238E27FC236}">
                  <a16:creationId xmlns:a16="http://schemas.microsoft.com/office/drawing/2014/main" id="{1EBD8156-CA6F-45F7-BC63-53DE6A04C2D9}"/>
                </a:ext>
              </a:extLst>
            </p:cNvPr>
            <p:cNvCxnSpPr>
              <a:cxnSpLocks/>
            </p:cNvCxnSpPr>
            <p:nvPr/>
          </p:nvCxnSpPr>
          <p:spPr>
            <a:xfrm flipH="1">
              <a:off x="2718771" y="4525735"/>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grpSp>
        <p:nvGrpSpPr>
          <p:cNvPr id="156" name="Group 155">
            <a:extLst>
              <a:ext uri="{FF2B5EF4-FFF2-40B4-BE49-F238E27FC236}">
                <a16:creationId xmlns:a16="http://schemas.microsoft.com/office/drawing/2014/main" id="{9401FC30-C91F-4D28-BC22-FC1589E7D92F}"/>
              </a:ext>
            </a:extLst>
          </p:cNvPr>
          <p:cNvGrpSpPr/>
          <p:nvPr/>
        </p:nvGrpSpPr>
        <p:grpSpPr>
          <a:xfrm>
            <a:off x="4142439" y="2970900"/>
            <a:ext cx="1716800" cy="1841886"/>
            <a:chOff x="4142439" y="2970900"/>
            <a:chExt cx="1716800" cy="1841886"/>
          </a:xfrm>
        </p:grpSpPr>
        <p:grpSp>
          <p:nvGrpSpPr>
            <p:cNvPr id="143" name="Group 142">
              <a:extLst>
                <a:ext uri="{FF2B5EF4-FFF2-40B4-BE49-F238E27FC236}">
                  <a16:creationId xmlns:a16="http://schemas.microsoft.com/office/drawing/2014/main" id="{00FB0384-9AD6-4DA2-992B-C92A00064742}"/>
                </a:ext>
              </a:extLst>
            </p:cNvPr>
            <p:cNvGrpSpPr/>
            <p:nvPr/>
          </p:nvGrpSpPr>
          <p:grpSpPr>
            <a:xfrm>
              <a:off x="4480377" y="2970900"/>
              <a:ext cx="1378862" cy="1841886"/>
              <a:chOff x="4715842" y="2970900"/>
              <a:chExt cx="1378862" cy="1841886"/>
            </a:xfrm>
          </p:grpSpPr>
          <p:sp>
            <p:nvSpPr>
              <p:cNvPr id="77" name="Title 1">
                <a:extLst>
                  <a:ext uri="{FF2B5EF4-FFF2-40B4-BE49-F238E27FC236}">
                    <a16:creationId xmlns:a16="http://schemas.microsoft.com/office/drawing/2014/main" id="{BA230181-F547-45C7-B59E-26A76BB39512}"/>
                  </a:ext>
                </a:extLst>
              </p:cNvPr>
              <p:cNvSpPr txBox="1">
                <a:spLocks/>
              </p:cNvSpPr>
              <p:nvPr/>
            </p:nvSpPr>
            <p:spPr>
              <a:xfrm>
                <a:off x="5128178" y="3625610"/>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4.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78" name="Title 1">
                <a:extLst>
                  <a:ext uri="{FF2B5EF4-FFF2-40B4-BE49-F238E27FC236}">
                    <a16:creationId xmlns:a16="http://schemas.microsoft.com/office/drawing/2014/main" id="{E9A730B6-5C57-4825-993E-82D1C24EE20A}"/>
                  </a:ext>
                </a:extLst>
              </p:cNvPr>
              <p:cNvSpPr txBox="1">
                <a:spLocks/>
              </p:cNvSpPr>
              <p:nvPr/>
            </p:nvSpPr>
            <p:spPr>
              <a:xfrm>
                <a:off x="4715842" y="4166455"/>
                <a:ext cx="1378862" cy="64633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ovision devices with D</a:t>
                </a:r>
                <a:r>
                  <a:rPr kumimoji="0" lang="en-US" sz="1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rPr>
                  <a:t>evice</a:t>
                </a: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Update agent</a:t>
                </a:r>
              </a:p>
            </p:txBody>
          </p:sp>
          <p:grpSp>
            <p:nvGrpSpPr>
              <p:cNvPr id="89" name="Graphic 17">
                <a:extLst>
                  <a:ext uri="{FF2B5EF4-FFF2-40B4-BE49-F238E27FC236}">
                    <a16:creationId xmlns:a16="http://schemas.microsoft.com/office/drawing/2014/main" id="{ED37C981-7D3B-4C68-8B80-0B0E5CE01137}"/>
                  </a:ext>
                </a:extLst>
              </p:cNvPr>
              <p:cNvGrpSpPr/>
              <p:nvPr/>
            </p:nvGrpSpPr>
            <p:grpSpPr>
              <a:xfrm>
                <a:off x="5079078" y="2970900"/>
                <a:ext cx="652391" cy="690767"/>
                <a:chOff x="6355434" y="1306815"/>
                <a:chExt cx="877315" cy="928922"/>
              </a:xfrm>
            </p:grpSpPr>
            <p:grpSp>
              <p:nvGrpSpPr>
                <p:cNvPr id="90" name="Graphic 17">
                  <a:extLst>
                    <a:ext uri="{FF2B5EF4-FFF2-40B4-BE49-F238E27FC236}">
                      <a16:creationId xmlns:a16="http://schemas.microsoft.com/office/drawing/2014/main" id="{ED37C981-7D3B-4C68-8B80-0B0E5CE01137}"/>
                    </a:ext>
                  </a:extLst>
                </p:cNvPr>
                <p:cNvGrpSpPr/>
                <p:nvPr/>
              </p:nvGrpSpPr>
              <p:grpSpPr>
                <a:xfrm>
                  <a:off x="6489611" y="1446153"/>
                  <a:ext cx="541871" cy="541871"/>
                  <a:chOff x="6489611" y="1446153"/>
                  <a:chExt cx="541871" cy="541871"/>
                </a:xfrm>
                <a:solidFill>
                  <a:srgbClr val="FFFFFF"/>
                </a:solidFill>
              </p:grpSpPr>
              <p:sp>
                <p:nvSpPr>
                  <p:cNvPr id="91" name="Freeform: Shape 90">
                    <a:extLst>
                      <a:ext uri="{FF2B5EF4-FFF2-40B4-BE49-F238E27FC236}">
                        <a16:creationId xmlns:a16="http://schemas.microsoft.com/office/drawing/2014/main" id="{50B8917B-4E4C-4EF0-AB63-4046695C5ECB}"/>
                      </a:ext>
                    </a:extLst>
                  </p:cNvPr>
                  <p:cNvSpPr/>
                  <p:nvPr/>
                </p:nvSpPr>
                <p:spPr>
                  <a:xfrm>
                    <a:off x="6778609" y="1637098"/>
                    <a:ext cx="144498" cy="144498"/>
                  </a:xfrm>
                  <a:custGeom>
                    <a:avLst/>
                    <a:gdLst>
                      <a:gd name="connsiteX0" fmla="*/ 144499 w 144498"/>
                      <a:gd name="connsiteY0" fmla="*/ 72250 h 144498"/>
                      <a:gd name="connsiteX1" fmla="*/ 72249 w 144498"/>
                      <a:gd name="connsiteY1" fmla="*/ 144499 h 144498"/>
                      <a:gd name="connsiteX2" fmla="*/ 0 w 144498"/>
                      <a:gd name="connsiteY2" fmla="*/ 72249 h 144498"/>
                      <a:gd name="connsiteX3" fmla="*/ 72249 w 144498"/>
                      <a:gd name="connsiteY3" fmla="*/ 0 h 144498"/>
                      <a:gd name="connsiteX4" fmla="*/ 144499 w 144498"/>
                      <a:gd name="connsiteY4" fmla="*/ 72250 h 14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8" h="144498">
                        <a:moveTo>
                          <a:pt x="144499" y="72250"/>
                        </a:moveTo>
                        <a:cubicBezTo>
                          <a:pt x="144499" y="112152"/>
                          <a:pt x="112152" y="144499"/>
                          <a:pt x="72249" y="144499"/>
                        </a:cubicBezTo>
                        <a:cubicBezTo>
                          <a:pt x="32347" y="144499"/>
                          <a:pt x="0" y="112152"/>
                          <a:pt x="0" y="72249"/>
                        </a:cubicBezTo>
                        <a:cubicBezTo>
                          <a:pt x="0" y="32347"/>
                          <a:pt x="32347" y="0"/>
                          <a:pt x="72249" y="0"/>
                        </a:cubicBezTo>
                        <a:cubicBezTo>
                          <a:pt x="112152" y="0"/>
                          <a:pt x="144499" y="32347"/>
                          <a:pt x="144499" y="72250"/>
                        </a:cubicBezTo>
                        <a:close/>
                      </a:path>
                    </a:pathLst>
                  </a:custGeom>
                  <a:solidFill>
                    <a:srgbClr val="FFFFFF"/>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DAB02DB1-E709-4F26-9DBD-8454B7505A77}"/>
                      </a:ext>
                    </a:extLst>
                  </p:cNvPr>
                  <p:cNvSpPr/>
                  <p:nvPr/>
                </p:nvSpPr>
                <p:spPr>
                  <a:xfrm>
                    <a:off x="6917947" y="1874489"/>
                    <a:ext cx="113534" cy="113534"/>
                  </a:xfrm>
                  <a:custGeom>
                    <a:avLst/>
                    <a:gdLst>
                      <a:gd name="connsiteX0" fmla="*/ 113535 w 113534"/>
                      <a:gd name="connsiteY0" fmla="*/ 56767 h 113534"/>
                      <a:gd name="connsiteX1" fmla="*/ 56767 w 113534"/>
                      <a:gd name="connsiteY1" fmla="*/ 113535 h 113534"/>
                      <a:gd name="connsiteX2" fmla="*/ 0 w 113534"/>
                      <a:gd name="connsiteY2" fmla="*/ 56767 h 113534"/>
                      <a:gd name="connsiteX3" fmla="*/ 56767 w 113534"/>
                      <a:gd name="connsiteY3" fmla="*/ 0 h 113534"/>
                      <a:gd name="connsiteX4" fmla="*/ 113535 w 113534"/>
                      <a:gd name="connsiteY4" fmla="*/ 56767 h 11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34" h="113534">
                        <a:moveTo>
                          <a:pt x="113535" y="56767"/>
                        </a:moveTo>
                        <a:cubicBezTo>
                          <a:pt x="113535" y="88119"/>
                          <a:pt x="88119" y="113535"/>
                          <a:pt x="56767" y="113535"/>
                        </a:cubicBezTo>
                        <a:cubicBezTo>
                          <a:pt x="25416" y="113535"/>
                          <a:pt x="0" y="88119"/>
                          <a:pt x="0" y="56767"/>
                        </a:cubicBezTo>
                        <a:cubicBezTo>
                          <a:pt x="0" y="25416"/>
                          <a:pt x="25416" y="0"/>
                          <a:pt x="56767" y="0"/>
                        </a:cubicBezTo>
                        <a:cubicBezTo>
                          <a:pt x="88119" y="0"/>
                          <a:pt x="113535" y="25416"/>
                          <a:pt x="113535" y="56767"/>
                        </a:cubicBezTo>
                        <a:close/>
                      </a:path>
                    </a:pathLst>
                  </a:custGeom>
                  <a:solidFill>
                    <a:srgbClr val="FFFFFF"/>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5F8BFF7C-2E69-4E68-A2F7-98341B0C05A1}"/>
                      </a:ext>
                    </a:extLst>
                  </p:cNvPr>
                  <p:cNvSpPr/>
                  <p:nvPr/>
                </p:nvSpPr>
                <p:spPr>
                  <a:xfrm>
                    <a:off x="6690877" y="1838364"/>
                    <a:ext cx="103213" cy="103213"/>
                  </a:xfrm>
                  <a:custGeom>
                    <a:avLst/>
                    <a:gdLst>
                      <a:gd name="connsiteX0" fmla="*/ 103214 w 103213"/>
                      <a:gd name="connsiteY0" fmla="*/ 51607 h 103213"/>
                      <a:gd name="connsiteX1" fmla="*/ 51607 w 103213"/>
                      <a:gd name="connsiteY1" fmla="*/ 103214 h 103213"/>
                      <a:gd name="connsiteX2" fmla="*/ 0 w 103213"/>
                      <a:gd name="connsiteY2" fmla="*/ 51607 h 103213"/>
                      <a:gd name="connsiteX3" fmla="*/ 51607 w 103213"/>
                      <a:gd name="connsiteY3" fmla="*/ 0 h 103213"/>
                      <a:gd name="connsiteX4" fmla="*/ 103214 w 103213"/>
                      <a:gd name="connsiteY4" fmla="*/ 51607 h 103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3" h="103213">
                        <a:moveTo>
                          <a:pt x="103214" y="51607"/>
                        </a:moveTo>
                        <a:cubicBezTo>
                          <a:pt x="103214" y="80108"/>
                          <a:pt x="80108" y="103214"/>
                          <a:pt x="51607" y="103214"/>
                        </a:cubicBezTo>
                        <a:cubicBezTo>
                          <a:pt x="23105" y="103214"/>
                          <a:pt x="0" y="80108"/>
                          <a:pt x="0" y="51607"/>
                        </a:cubicBezTo>
                        <a:cubicBezTo>
                          <a:pt x="0" y="23105"/>
                          <a:pt x="23105" y="0"/>
                          <a:pt x="51607" y="0"/>
                        </a:cubicBezTo>
                        <a:cubicBezTo>
                          <a:pt x="80108" y="0"/>
                          <a:pt x="103214" y="23105"/>
                          <a:pt x="103214" y="51607"/>
                        </a:cubicBezTo>
                        <a:close/>
                      </a:path>
                    </a:pathLst>
                  </a:custGeom>
                  <a:solidFill>
                    <a:srgbClr val="FFFFFF"/>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B748E3CA-60BE-4068-8E92-A0C1D08D61E1}"/>
                      </a:ext>
                    </a:extLst>
                  </p:cNvPr>
                  <p:cNvSpPr/>
                  <p:nvPr/>
                </p:nvSpPr>
                <p:spPr>
                  <a:xfrm>
                    <a:off x="6644431" y="1446153"/>
                    <a:ext cx="123856" cy="123856"/>
                  </a:xfrm>
                  <a:custGeom>
                    <a:avLst/>
                    <a:gdLst>
                      <a:gd name="connsiteX0" fmla="*/ 123856 w 123856"/>
                      <a:gd name="connsiteY0" fmla="*/ 61928 h 123856"/>
                      <a:gd name="connsiteX1" fmla="*/ 61928 w 123856"/>
                      <a:gd name="connsiteY1" fmla="*/ 123856 h 123856"/>
                      <a:gd name="connsiteX2" fmla="*/ 0 w 123856"/>
                      <a:gd name="connsiteY2" fmla="*/ 61928 h 123856"/>
                      <a:gd name="connsiteX3" fmla="*/ 61928 w 123856"/>
                      <a:gd name="connsiteY3" fmla="*/ 0 h 123856"/>
                      <a:gd name="connsiteX4" fmla="*/ 123856 w 123856"/>
                      <a:gd name="connsiteY4" fmla="*/ 61928 h 123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56" h="123856">
                        <a:moveTo>
                          <a:pt x="123856" y="61928"/>
                        </a:moveTo>
                        <a:cubicBezTo>
                          <a:pt x="123856" y="96130"/>
                          <a:pt x="96130" y="123856"/>
                          <a:pt x="61928" y="123856"/>
                        </a:cubicBezTo>
                        <a:cubicBezTo>
                          <a:pt x="27726" y="123856"/>
                          <a:pt x="0" y="96130"/>
                          <a:pt x="0" y="61928"/>
                        </a:cubicBezTo>
                        <a:cubicBezTo>
                          <a:pt x="0" y="27726"/>
                          <a:pt x="27726" y="0"/>
                          <a:pt x="61928" y="0"/>
                        </a:cubicBezTo>
                        <a:cubicBezTo>
                          <a:pt x="96130" y="0"/>
                          <a:pt x="123856" y="27726"/>
                          <a:pt x="123856" y="61928"/>
                        </a:cubicBezTo>
                        <a:close/>
                      </a:path>
                    </a:pathLst>
                  </a:custGeom>
                  <a:solidFill>
                    <a:srgbClr val="FFFFFF"/>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521663DD-34C9-4CA5-B5E9-B2D3E709F313}"/>
                      </a:ext>
                    </a:extLst>
                  </p:cNvPr>
                  <p:cNvSpPr/>
                  <p:nvPr/>
                </p:nvSpPr>
                <p:spPr>
                  <a:xfrm>
                    <a:off x="6489611" y="1683544"/>
                    <a:ext cx="103213" cy="103213"/>
                  </a:xfrm>
                  <a:custGeom>
                    <a:avLst/>
                    <a:gdLst>
                      <a:gd name="connsiteX0" fmla="*/ 103214 w 103213"/>
                      <a:gd name="connsiteY0" fmla="*/ 51607 h 103213"/>
                      <a:gd name="connsiteX1" fmla="*/ 51607 w 103213"/>
                      <a:gd name="connsiteY1" fmla="*/ 103214 h 103213"/>
                      <a:gd name="connsiteX2" fmla="*/ 0 w 103213"/>
                      <a:gd name="connsiteY2" fmla="*/ 51607 h 103213"/>
                      <a:gd name="connsiteX3" fmla="*/ 51607 w 103213"/>
                      <a:gd name="connsiteY3" fmla="*/ 0 h 103213"/>
                      <a:gd name="connsiteX4" fmla="*/ 103214 w 103213"/>
                      <a:gd name="connsiteY4" fmla="*/ 51607 h 103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3" h="103213">
                        <a:moveTo>
                          <a:pt x="103214" y="51607"/>
                        </a:moveTo>
                        <a:cubicBezTo>
                          <a:pt x="103214" y="80108"/>
                          <a:pt x="80108" y="103214"/>
                          <a:pt x="51607" y="103214"/>
                        </a:cubicBezTo>
                        <a:cubicBezTo>
                          <a:pt x="23105" y="103214"/>
                          <a:pt x="0" y="80108"/>
                          <a:pt x="0" y="51607"/>
                        </a:cubicBezTo>
                        <a:cubicBezTo>
                          <a:pt x="0" y="23105"/>
                          <a:pt x="23105" y="0"/>
                          <a:pt x="51607" y="0"/>
                        </a:cubicBezTo>
                        <a:cubicBezTo>
                          <a:pt x="80108" y="0"/>
                          <a:pt x="103214" y="23105"/>
                          <a:pt x="103214" y="51607"/>
                        </a:cubicBezTo>
                        <a:close/>
                      </a:path>
                    </a:pathLst>
                  </a:custGeom>
                  <a:solidFill>
                    <a:srgbClr val="FFFFFF"/>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6" name="Freeform: Shape 95">
                  <a:extLst>
                    <a:ext uri="{FF2B5EF4-FFF2-40B4-BE49-F238E27FC236}">
                      <a16:creationId xmlns:a16="http://schemas.microsoft.com/office/drawing/2014/main" id="{FE9FFF4A-E7C8-4A5E-B5BE-11BE746F3249}"/>
                    </a:ext>
                  </a:extLst>
                </p:cNvPr>
                <p:cNvSpPr/>
                <p:nvPr/>
              </p:nvSpPr>
              <p:spPr>
                <a:xfrm>
                  <a:off x="6541218" y="1497760"/>
                  <a:ext cx="448978" cy="433496"/>
                </a:xfrm>
                <a:custGeom>
                  <a:avLst/>
                  <a:gdLst>
                    <a:gd name="connsiteX0" fmla="*/ 448979 w 448978"/>
                    <a:gd name="connsiteY0" fmla="*/ 418015 h 433496"/>
                    <a:gd name="connsiteX1" fmla="*/ 319962 w 448978"/>
                    <a:gd name="connsiteY1" fmla="*/ 201266 h 433496"/>
                    <a:gd name="connsiteX2" fmla="*/ 309641 w 448978"/>
                    <a:gd name="connsiteY2" fmla="*/ 206427 h 433496"/>
                    <a:gd name="connsiteX3" fmla="*/ 319962 w 448978"/>
                    <a:gd name="connsiteY3" fmla="*/ 201266 h 433496"/>
                    <a:gd name="connsiteX4" fmla="*/ 180624 w 448978"/>
                    <a:gd name="connsiteY4" fmla="*/ 0 h 433496"/>
                    <a:gd name="connsiteX5" fmla="*/ 154820 w 448978"/>
                    <a:gd name="connsiteY5" fmla="*/ 20643 h 433496"/>
                    <a:gd name="connsiteX6" fmla="*/ 278677 w 448978"/>
                    <a:gd name="connsiteY6" fmla="*/ 196106 h 433496"/>
                    <a:gd name="connsiteX7" fmla="*/ 0 w 448978"/>
                    <a:gd name="connsiteY7" fmla="*/ 221909 h 433496"/>
                    <a:gd name="connsiteX8" fmla="*/ 5161 w 448978"/>
                    <a:gd name="connsiteY8" fmla="*/ 252873 h 433496"/>
                    <a:gd name="connsiteX9" fmla="*/ 278677 w 448978"/>
                    <a:gd name="connsiteY9" fmla="*/ 227070 h 433496"/>
                    <a:gd name="connsiteX10" fmla="*/ 185784 w 448978"/>
                    <a:gd name="connsiteY10" fmla="*/ 376729 h 433496"/>
                    <a:gd name="connsiteX11" fmla="*/ 211588 w 448978"/>
                    <a:gd name="connsiteY11" fmla="*/ 392212 h 433496"/>
                    <a:gd name="connsiteX12" fmla="*/ 304480 w 448978"/>
                    <a:gd name="connsiteY12" fmla="*/ 237391 h 433496"/>
                    <a:gd name="connsiteX13" fmla="*/ 418015 w 448978"/>
                    <a:gd name="connsiteY13" fmla="*/ 433497 h 433496"/>
                    <a:gd name="connsiteX14" fmla="*/ 448979 w 448978"/>
                    <a:gd name="connsiteY14" fmla="*/ 418015 h 433496"/>
                    <a:gd name="connsiteX15" fmla="*/ 448979 w 448978"/>
                    <a:gd name="connsiteY15" fmla="*/ 418015 h 433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78" h="433496">
                      <a:moveTo>
                        <a:pt x="448979" y="418015"/>
                      </a:moveTo>
                      <a:lnTo>
                        <a:pt x="319962" y="201266"/>
                      </a:lnTo>
                      <a:lnTo>
                        <a:pt x="309641" y="206427"/>
                      </a:lnTo>
                      <a:lnTo>
                        <a:pt x="319962" y="201266"/>
                      </a:lnTo>
                      <a:lnTo>
                        <a:pt x="180624" y="0"/>
                      </a:lnTo>
                      <a:lnTo>
                        <a:pt x="154820" y="20643"/>
                      </a:lnTo>
                      <a:lnTo>
                        <a:pt x="278677" y="196106"/>
                      </a:lnTo>
                      <a:lnTo>
                        <a:pt x="0" y="221909"/>
                      </a:lnTo>
                      <a:lnTo>
                        <a:pt x="5161" y="252873"/>
                      </a:lnTo>
                      <a:lnTo>
                        <a:pt x="278677" y="227070"/>
                      </a:lnTo>
                      <a:lnTo>
                        <a:pt x="185784" y="376729"/>
                      </a:lnTo>
                      <a:lnTo>
                        <a:pt x="211588" y="392212"/>
                      </a:lnTo>
                      <a:lnTo>
                        <a:pt x="304480" y="237391"/>
                      </a:lnTo>
                      <a:lnTo>
                        <a:pt x="418015" y="433497"/>
                      </a:lnTo>
                      <a:lnTo>
                        <a:pt x="448979" y="418015"/>
                      </a:lnTo>
                      <a:lnTo>
                        <a:pt x="448979" y="418015"/>
                      </a:lnTo>
                      <a:close/>
                    </a:path>
                  </a:pathLst>
                </a:custGeom>
                <a:solidFill>
                  <a:srgbClr val="989898"/>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7" name="Graphic 17">
                  <a:extLst>
                    <a:ext uri="{FF2B5EF4-FFF2-40B4-BE49-F238E27FC236}">
                      <a16:creationId xmlns:a16="http://schemas.microsoft.com/office/drawing/2014/main" id="{ED37C981-7D3B-4C68-8B80-0B0E5CE01137}"/>
                    </a:ext>
                  </a:extLst>
                </p:cNvPr>
                <p:cNvGrpSpPr/>
                <p:nvPr/>
              </p:nvGrpSpPr>
              <p:grpSpPr>
                <a:xfrm>
                  <a:off x="6489611" y="1446153"/>
                  <a:ext cx="541871" cy="541871"/>
                  <a:chOff x="6489611" y="1446153"/>
                  <a:chExt cx="541871" cy="541871"/>
                </a:xfrm>
                <a:solidFill>
                  <a:srgbClr val="32BEDD"/>
                </a:solidFill>
              </p:grpSpPr>
              <p:sp>
                <p:nvSpPr>
                  <p:cNvPr id="98" name="Freeform: Shape 97">
                    <a:extLst>
                      <a:ext uri="{FF2B5EF4-FFF2-40B4-BE49-F238E27FC236}">
                        <a16:creationId xmlns:a16="http://schemas.microsoft.com/office/drawing/2014/main" id="{E38BCF06-BB53-472E-B9C2-11C618F313C0}"/>
                      </a:ext>
                    </a:extLst>
                  </p:cNvPr>
                  <p:cNvSpPr/>
                  <p:nvPr/>
                </p:nvSpPr>
                <p:spPr>
                  <a:xfrm>
                    <a:off x="6778609" y="1637098"/>
                    <a:ext cx="144498" cy="144498"/>
                  </a:xfrm>
                  <a:custGeom>
                    <a:avLst/>
                    <a:gdLst>
                      <a:gd name="connsiteX0" fmla="*/ 144499 w 144498"/>
                      <a:gd name="connsiteY0" fmla="*/ 72250 h 144498"/>
                      <a:gd name="connsiteX1" fmla="*/ 72249 w 144498"/>
                      <a:gd name="connsiteY1" fmla="*/ 144499 h 144498"/>
                      <a:gd name="connsiteX2" fmla="*/ 0 w 144498"/>
                      <a:gd name="connsiteY2" fmla="*/ 72249 h 144498"/>
                      <a:gd name="connsiteX3" fmla="*/ 72249 w 144498"/>
                      <a:gd name="connsiteY3" fmla="*/ 0 h 144498"/>
                      <a:gd name="connsiteX4" fmla="*/ 144499 w 144498"/>
                      <a:gd name="connsiteY4" fmla="*/ 72250 h 14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8" h="144498">
                        <a:moveTo>
                          <a:pt x="144499" y="72250"/>
                        </a:moveTo>
                        <a:cubicBezTo>
                          <a:pt x="144499" y="112152"/>
                          <a:pt x="112152" y="144499"/>
                          <a:pt x="72249" y="144499"/>
                        </a:cubicBezTo>
                        <a:cubicBezTo>
                          <a:pt x="32347" y="144499"/>
                          <a:pt x="0" y="112152"/>
                          <a:pt x="0" y="72249"/>
                        </a:cubicBezTo>
                        <a:cubicBezTo>
                          <a:pt x="0" y="32347"/>
                          <a:pt x="32347" y="0"/>
                          <a:pt x="72249" y="0"/>
                        </a:cubicBezTo>
                        <a:cubicBezTo>
                          <a:pt x="112152" y="0"/>
                          <a:pt x="144499" y="32347"/>
                          <a:pt x="144499" y="72250"/>
                        </a:cubicBezTo>
                        <a:close/>
                      </a:path>
                    </a:pathLst>
                  </a:custGeom>
                  <a:solidFill>
                    <a:schemeClr val="accent5"/>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F59F44B6-C942-44DE-9CA2-F03BEF4CE160}"/>
                      </a:ext>
                    </a:extLst>
                  </p:cNvPr>
                  <p:cNvSpPr/>
                  <p:nvPr/>
                </p:nvSpPr>
                <p:spPr>
                  <a:xfrm>
                    <a:off x="6644431" y="1446153"/>
                    <a:ext cx="123856" cy="123856"/>
                  </a:xfrm>
                  <a:custGeom>
                    <a:avLst/>
                    <a:gdLst>
                      <a:gd name="connsiteX0" fmla="*/ 123856 w 123856"/>
                      <a:gd name="connsiteY0" fmla="*/ 61928 h 123856"/>
                      <a:gd name="connsiteX1" fmla="*/ 61928 w 123856"/>
                      <a:gd name="connsiteY1" fmla="*/ 123856 h 123856"/>
                      <a:gd name="connsiteX2" fmla="*/ 0 w 123856"/>
                      <a:gd name="connsiteY2" fmla="*/ 61928 h 123856"/>
                      <a:gd name="connsiteX3" fmla="*/ 61928 w 123856"/>
                      <a:gd name="connsiteY3" fmla="*/ 0 h 123856"/>
                      <a:gd name="connsiteX4" fmla="*/ 123856 w 123856"/>
                      <a:gd name="connsiteY4" fmla="*/ 61928 h 123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56" h="123856">
                        <a:moveTo>
                          <a:pt x="123856" y="61928"/>
                        </a:moveTo>
                        <a:cubicBezTo>
                          <a:pt x="123856" y="96130"/>
                          <a:pt x="96130" y="123856"/>
                          <a:pt x="61928" y="123856"/>
                        </a:cubicBezTo>
                        <a:cubicBezTo>
                          <a:pt x="27726" y="123856"/>
                          <a:pt x="0" y="96130"/>
                          <a:pt x="0" y="61928"/>
                        </a:cubicBezTo>
                        <a:cubicBezTo>
                          <a:pt x="0" y="27726"/>
                          <a:pt x="27726" y="0"/>
                          <a:pt x="61928" y="0"/>
                        </a:cubicBezTo>
                        <a:cubicBezTo>
                          <a:pt x="96130" y="0"/>
                          <a:pt x="123856" y="27726"/>
                          <a:pt x="123856" y="61928"/>
                        </a:cubicBezTo>
                        <a:close/>
                      </a:path>
                    </a:pathLst>
                  </a:custGeom>
                  <a:solidFill>
                    <a:schemeClr val="accent5"/>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B09CBCC0-7AF8-4630-B244-21F6E09E4490}"/>
                      </a:ext>
                    </a:extLst>
                  </p:cNvPr>
                  <p:cNvSpPr/>
                  <p:nvPr/>
                </p:nvSpPr>
                <p:spPr>
                  <a:xfrm>
                    <a:off x="6489611" y="1683544"/>
                    <a:ext cx="103213" cy="103213"/>
                  </a:xfrm>
                  <a:custGeom>
                    <a:avLst/>
                    <a:gdLst>
                      <a:gd name="connsiteX0" fmla="*/ 103214 w 103213"/>
                      <a:gd name="connsiteY0" fmla="*/ 51607 h 103213"/>
                      <a:gd name="connsiteX1" fmla="*/ 51607 w 103213"/>
                      <a:gd name="connsiteY1" fmla="*/ 103214 h 103213"/>
                      <a:gd name="connsiteX2" fmla="*/ 0 w 103213"/>
                      <a:gd name="connsiteY2" fmla="*/ 51607 h 103213"/>
                      <a:gd name="connsiteX3" fmla="*/ 51607 w 103213"/>
                      <a:gd name="connsiteY3" fmla="*/ 0 h 103213"/>
                      <a:gd name="connsiteX4" fmla="*/ 103214 w 103213"/>
                      <a:gd name="connsiteY4" fmla="*/ 51607 h 103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3" h="103213">
                        <a:moveTo>
                          <a:pt x="103214" y="51607"/>
                        </a:moveTo>
                        <a:cubicBezTo>
                          <a:pt x="103214" y="80108"/>
                          <a:pt x="80108" y="103214"/>
                          <a:pt x="51607" y="103214"/>
                        </a:cubicBezTo>
                        <a:cubicBezTo>
                          <a:pt x="23105" y="103214"/>
                          <a:pt x="0" y="80108"/>
                          <a:pt x="0" y="51607"/>
                        </a:cubicBezTo>
                        <a:cubicBezTo>
                          <a:pt x="0" y="23105"/>
                          <a:pt x="23105" y="0"/>
                          <a:pt x="51607" y="0"/>
                        </a:cubicBezTo>
                        <a:cubicBezTo>
                          <a:pt x="80108" y="0"/>
                          <a:pt x="103214" y="23105"/>
                          <a:pt x="103214" y="51607"/>
                        </a:cubicBezTo>
                        <a:close/>
                      </a:path>
                    </a:pathLst>
                  </a:custGeom>
                  <a:solidFill>
                    <a:schemeClr val="accent5"/>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B3CA3115-2F01-4940-9AF2-423ACF9667BD}"/>
                      </a:ext>
                    </a:extLst>
                  </p:cNvPr>
                  <p:cNvSpPr/>
                  <p:nvPr/>
                </p:nvSpPr>
                <p:spPr>
                  <a:xfrm>
                    <a:off x="6690877" y="1838364"/>
                    <a:ext cx="103213" cy="103213"/>
                  </a:xfrm>
                  <a:custGeom>
                    <a:avLst/>
                    <a:gdLst>
                      <a:gd name="connsiteX0" fmla="*/ 103214 w 103213"/>
                      <a:gd name="connsiteY0" fmla="*/ 51607 h 103213"/>
                      <a:gd name="connsiteX1" fmla="*/ 51607 w 103213"/>
                      <a:gd name="connsiteY1" fmla="*/ 103214 h 103213"/>
                      <a:gd name="connsiteX2" fmla="*/ 0 w 103213"/>
                      <a:gd name="connsiteY2" fmla="*/ 51607 h 103213"/>
                      <a:gd name="connsiteX3" fmla="*/ 51607 w 103213"/>
                      <a:gd name="connsiteY3" fmla="*/ 0 h 103213"/>
                      <a:gd name="connsiteX4" fmla="*/ 103214 w 103213"/>
                      <a:gd name="connsiteY4" fmla="*/ 51607 h 103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3" h="103213">
                        <a:moveTo>
                          <a:pt x="103214" y="51607"/>
                        </a:moveTo>
                        <a:cubicBezTo>
                          <a:pt x="103214" y="80108"/>
                          <a:pt x="80108" y="103214"/>
                          <a:pt x="51607" y="103214"/>
                        </a:cubicBezTo>
                        <a:cubicBezTo>
                          <a:pt x="23105" y="103214"/>
                          <a:pt x="0" y="80108"/>
                          <a:pt x="0" y="51607"/>
                        </a:cubicBezTo>
                        <a:cubicBezTo>
                          <a:pt x="0" y="23105"/>
                          <a:pt x="23105" y="0"/>
                          <a:pt x="51607" y="0"/>
                        </a:cubicBezTo>
                        <a:cubicBezTo>
                          <a:pt x="80108" y="0"/>
                          <a:pt x="103214" y="23105"/>
                          <a:pt x="103214" y="51607"/>
                        </a:cubicBezTo>
                        <a:close/>
                      </a:path>
                    </a:pathLst>
                  </a:custGeom>
                  <a:solidFill>
                    <a:schemeClr val="accent5"/>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D89F3206-3E5B-4B38-990B-38376B22922C}"/>
                      </a:ext>
                    </a:extLst>
                  </p:cNvPr>
                  <p:cNvSpPr/>
                  <p:nvPr/>
                </p:nvSpPr>
                <p:spPr>
                  <a:xfrm>
                    <a:off x="6917947" y="1874489"/>
                    <a:ext cx="113534" cy="113534"/>
                  </a:xfrm>
                  <a:custGeom>
                    <a:avLst/>
                    <a:gdLst>
                      <a:gd name="connsiteX0" fmla="*/ 113535 w 113534"/>
                      <a:gd name="connsiteY0" fmla="*/ 56767 h 113534"/>
                      <a:gd name="connsiteX1" fmla="*/ 56767 w 113534"/>
                      <a:gd name="connsiteY1" fmla="*/ 113535 h 113534"/>
                      <a:gd name="connsiteX2" fmla="*/ 0 w 113534"/>
                      <a:gd name="connsiteY2" fmla="*/ 56767 h 113534"/>
                      <a:gd name="connsiteX3" fmla="*/ 56767 w 113534"/>
                      <a:gd name="connsiteY3" fmla="*/ 0 h 113534"/>
                      <a:gd name="connsiteX4" fmla="*/ 113535 w 113534"/>
                      <a:gd name="connsiteY4" fmla="*/ 56767 h 113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34" h="113534">
                        <a:moveTo>
                          <a:pt x="113535" y="56767"/>
                        </a:moveTo>
                        <a:cubicBezTo>
                          <a:pt x="113535" y="88119"/>
                          <a:pt x="88119" y="113535"/>
                          <a:pt x="56767" y="113535"/>
                        </a:cubicBezTo>
                        <a:cubicBezTo>
                          <a:pt x="25416" y="113535"/>
                          <a:pt x="0" y="88119"/>
                          <a:pt x="0" y="56767"/>
                        </a:cubicBezTo>
                        <a:cubicBezTo>
                          <a:pt x="0" y="25416"/>
                          <a:pt x="25416" y="0"/>
                          <a:pt x="56767" y="0"/>
                        </a:cubicBezTo>
                        <a:cubicBezTo>
                          <a:pt x="88119" y="0"/>
                          <a:pt x="113535" y="25416"/>
                          <a:pt x="113535" y="56767"/>
                        </a:cubicBezTo>
                        <a:close/>
                      </a:path>
                    </a:pathLst>
                  </a:custGeom>
                  <a:solidFill>
                    <a:schemeClr val="accent5"/>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3" name="Freeform: Shape 102">
                  <a:extLst>
                    <a:ext uri="{FF2B5EF4-FFF2-40B4-BE49-F238E27FC236}">
                      <a16:creationId xmlns:a16="http://schemas.microsoft.com/office/drawing/2014/main" id="{ED940413-B0D2-47D0-AD30-44018E98FBF7}"/>
                    </a:ext>
                  </a:extLst>
                </p:cNvPr>
                <p:cNvSpPr/>
                <p:nvPr/>
              </p:nvSpPr>
              <p:spPr>
                <a:xfrm>
                  <a:off x="7031482" y="1420349"/>
                  <a:ext cx="144498" cy="144498"/>
                </a:xfrm>
                <a:custGeom>
                  <a:avLst/>
                  <a:gdLst>
                    <a:gd name="connsiteX0" fmla="*/ 144499 w 144498"/>
                    <a:gd name="connsiteY0" fmla="*/ 72249 h 144498"/>
                    <a:gd name="connsiteX1" fmla="*/ 72249 w 144498"/>
                    <a:gd name="connsiteY1" fmla="*/ 144499 h 144498"/>
                    <a:gd name="connsiteX2" fmla="*/ 0 w 144498"/>
                    <a:gd name="connsiteY2" fmla="*/ 72249 h 144498"/>
                    <a:gd name="connsiteX3" fmla="*/ 72249 w 144498"/>
                    <a:gd name="connsiteY3" fmla="*/ 0 h 144498"/>
                    <a:gd name="connsiteX4" fmla="*/ 144499 w 144498"/>
                    <a:gd name="connsiteY4" fmla="*/ 72249 h 14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8" h="144498">
                      <a:moveTo>
                        <a:pt x="144499" y="72249"/>
                      </a:moveTo>
                      <a:cubicBezTo>
                        <a:pt x="144499" y="112152"/>
                        <a:pt x="112152" y="144499"/>
                        <a:pt x="72249" y="144499"/>
                      </a:cubicBezTo>
                      <a:cubicBezTo>
                        <a:pt x="32347" y="144499"/>
                        <a:pt x="0" y="112152"/>
                        <a:pt x="0" y="72249"/>
                      </a:cubicBezTo>
                      <a:cubicBezTo>
                        <a:pt x="0" y="32347"/>
                        <a:pt x="32347" y="0"/>
                        <a:pt x="72249" y="0"/>
                      </a:cubicBezTo>
                      <a:cubicBezTo>
                        <a:pt x="112152" y="0"/>
                        <a:pt x="144499" y="32347"/>
                        <a:pt x="144499" y="72249"/>
                      </a:cubicBezTo>
                      <a:close/>
                    </a:path>
                  </a:pathLst>
                </a:custGeom>
                <a:solidFill>
                  <a:schemeClr val="tx2"/>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658027B2-17E0-4468-A27C-C2E09DA9265E}"/>
                    </a:ext>
                  </a:extLst>
                </p:cNvPr>
                <p:cNvSpPr/>
                <p:nvPr/>
              </p:nvSpPr>
              <p:spPr>
                <a:xfrm>
                  <a:off x="6422522" y="1420349"/>
                  <a:ext cx="144498" cy="144498"/>
                </a:xfrm>
                <a:custGeom>
                  <a:avLst/>
                  <a:gdLst>
                    <a:gd name="connsiteX0" fmla="*/ 144499 w 144498"/>
                    <a:gd name="connsiteY0" fmla="*/ 72249 h 144498"/>
                    <a:gd name="connsiteX1" fmla="*/ 72249 w 144498"/>
                    <a:gd name="connsiteY1" fmla="*/ 144499 h 144498"/>
                    <a:gd name="connsiteX2" fmla="*/ 0 w 144498"/>
                    <a:gd name="connsiteY2" fmla="*/ 72249 h 144498"/>
                    <a:gd name="connsiteX3" fmla="*/ 72249 w 144498"/>
                    <a:gd name="connsiteY3" fmla="*/ 0 h 144498"/>
                    <a:gd name="connsiteX4" fmla="*/ 144499 w 144498"/>
                    <a:gd name="connsiteY4" fmla="*/ 72249 h 14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8" h="144498">
                      <a:moveTo>
                        <a:pt x="144499" y="72249"/>
                      </a:moveTo>
                      <a:cubicBezTo>
                        <a:pt x="144499" y="112152"/>
                        <a:pt x="112152" y="144499"/>
                        <a:pt x="72249" y="144499"/>
                      </a:cubicBezTo>
                      <a:cubicBezTo>
                        <a:pt x="32347" y="144499"/>
                        <a:pt x="0" y="112152"/>
                        <a:pt x="0" y="72249"/>
                      </a:cubicBezTo>
                      <a:cubicBezTo>
                        <a:pt x="0" y="32347"/>
                        <a:pt x="32347" y="0"/>
                        <a:pt x="72249" y="0"/>
                      </a:cubicBezTo>
                      <a:cubicBezTo>
                        <a:pt x="112152" y="0"/>
                        <a:pt x="144499" y="32347"/>
                        <a:pt x="144499" y="72249"/>
                      </a:cubicBezTo>
                      <a:close/>
                    </a:path>
                  </a:pathLst>
                </a:custGeom>
                <a:solidFill>
                  <a:schemeClr val="tx2"/>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D171BE5E-7AF1-4AF0-96E6-16EF11B3CB88}"/>
                    </a:ext>
                  </a:extLst>
                </p:cNvPr>
                <p:cNvSpPr/>
                <p:nvPr/>
              </p:nvSpPr>
              <p:spPr>
                <a:xfrm>
                  <a:off x="6721842" y="2065434"/>
                  <a:ext cx="144498" cy="144498"/>
                </a:xfrm>
                <a:custGeom>
                  <a:avLst/>
                  <a:gdLst>
                    <a:gd name="connsiteX0" fmla="*/ 144499 w 144498"/>
                    <a:gd name="connsiteY0" fmla="*/ 72250 h 144498"/>
                    <a:gd name="connsiteX1" fmla="*/ 72249 w 144498"/>
                    <a:gd name="connsiteY1" fmla="*/ 144499 h 144498"/>
                    <a:gd name="connsiteX2" fmla="*/ 0 w 144498"/>
                    <a:gd name="connsiteY2" fmla="*/ 72250 h 144498"/>
                    <a:gd name="connsiteX3" fmla="*/ 72249 w 144498"/>
                    <a:gd name="connsiteY3" fmla="*/ 0 h 144498"/>
                    <a:gd name="connsiteX4" fmla="*/ 144499 w 144498"/>
                    <a:gd name="connsiteY4" fmla="*/ 72250 h 14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8" h="144498">
                      <a:moveTo>
                        <a:pt x="144499" y="72250"/>
                      </a:moveTo>
                      <a:cubicBezTo>
                        <a:pt x="144499" y="112152"/>
                        <a:pt x="112152" y="144499"/>
                        <a:pt x="72249" y="144499"/>
                      </a:cubicBezTo>
                      <a:cubicBezTo>
                        <a:pt x="32347" y="144499"/>
                        <a:pt x="0" y="112152"/>
                        <a:pt x="0" y="72250"/>
                      </a:cubicBezTo>
                      <a:cubicBezTo>
                        <a:pt x="0" y="32347"/>
                        <a:pt x="32347" y="0"/>
                        <a:pt x="72249" y="0"/>
                      </a:cubicBezTo>
                      <a:cubicBezTo>
                        <a:pt x="112152" y="0"/>
                        <a:pt x="144499" y="32347"/>
                        <a:pt x="144499" y="72250"/>
                      </a:cubicBezTo>
                      <a:close/>
                    </a:path>
                  </a:pathLst>
                </a:custGeom>
                <a:solidFill>
                  <a:schemeClr val="tx2"/>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B9FDEE9-0F55-4D54-9FFF-473E7846CF55}"/>
                    </a:ext>
                  </a:extLst>
                </p:cNvPr>
                <p:cNvSpPr/>
                <p:nvPr/>
              </p:nvSpPr>
              <p:spPr>
                <a:xfrm>
                  <a:off x="6356127" y="1304194"/>
                  <a:ext cx="881638" cy="869614"/>
                </a:xfrm>
                <a:custGeom>
                  <a:avLst/>
                  <a:gdLst>
                    <a:gd name="connsiteX0" fmla="*/ 226377 w 881638"/>
                    <a:gd name="connsiteY0" fmla="*/ 152280 h 869614"/>
                    <a:gd name="connsiteX1" fmla="*/ 654713 w 881638"/>
                    <a:gd name="connsiteY1" fmla="*/ 157441 h 869614"/>
                    <a:gd name="connsiteX2" fmla="*/ 706320 w 881638"/>
                    <a:gd name="connsiteY2" fmla="*/ 95513 h 869614"/>
                    <a:gd name="connsiteX3" fmla="*/ 169609 w 881638"/>
                    <a:gd name="connsiteY3" fmla="*/ 90352 h 869614"/>
                    <a:gd name="connsiteX4" fmla="*/ 226377 w 881638"/>
                    <a:gd name="connsiteY4" fmla="*/ 152280 h 869614"/>
                    <a:gd name="connsiteX5" fmla="*/ 830176 w 881638"/>
                    <a:gd name="connsiteY5" fmla="*/ 250333 h 869614"/>
                    <a:gd name="connsiteX6" fmla="*/ 763087 w 881638"/>
                    <a:gd name="connsiteY6" fmla="*/ 291619 h 869614"/>
                    <a:gd name="connsiteX7" fmla="*/ 799212 w 881638"/>
                    <a:gd name="connsiteY7" fmla="*/ 446439 h 869614"/>
                    <a:gd name="connsiteX8" fmla="*/ 530857 w 881638"/>
                    <a:gd name="connsiteY8" fmla="*/ 792204 h 869614"/>
                    <a:gd name="connsiteX9" fmla="*/ 541178 w 881638"/>
                    <a:gd name="connsiteY9" fmla="*/ 838651 h 869614"/>
                    <a:gd name="connsiteX10" fmla="*/ 536017 w 881638"/>
                    <a:gd name="connsiteY10" fmla="*/ 869615 h 869614"/>
                    <a:gd name="connsiteX11" fmla="*/ 871461 w 881638"/>
                    <a:gd name="connsiteY11" fmla="*/ 348386 h 869614"/>
                    <a:gd name="connsiteX12" fmla="*/ 830176 w 881638"/>
                    <a:gd name="connsiteY12" fmla="*/ 250333 h 869614"/>
                    <a:gd name="connsiteX13" fmla="*/ 830176 w 881638"/>
                    <a:gd name="connsiteY13" fmla="*/ 250333 h 869614"/>
                    <a:gd name="connsiteX14" fmla="*/ 339912 w 881638"/>
                    <a:gd name="connsiteY14" fmla="*/ 833490 h 869614"/>
                    <a:gd name="connsiteX15" fmla="*/ 350233 w 881638"/>
                    <a:gd name="connsiteY15" fmla="*/ 787044 h 869614"/>
                    <a:gd name="connsiteX16" fmla="*/ 92199 w 881638"/>
                    <a:gd name="connsiteY16" fmla="*/ 353547 h 869614"/>
                    <a:gd name="connsiteX17" fmla="*/ 118003 w 881638"/>
                    <a:gd name="connsiteY17" fmla="*/ 286458 h 869614"/>
                    <a:gd name="connsiteX18" fmla="*/ 66396 w 881638"/>
                    <a:gd name="connsiteY18" fmla="*/ 260655 h 869614"/>
                    <a:gd name="connsiteX19" fmla="*/ 50914 w 881638"/>
                    <a:gd name="connsiteY19" fmla="*/ 240012 h 869614"/>
                    <a:gd name="connsiteX20" fmla="*/ 236698 w 881638"/>
                    <a:gd name="connsiteY20" fmla="*/ 828329 h 869614"/>
                    <a:gd name="connsiteX21" fmla="*/ 345072 w 881638"/>
                    <a:gd name="connsiteY21" fmla="*/ 869615 h 869614"/>
                    <a:gd name="connsiteX22" fmla="*/ 339912 w 881638"/>
                    <a:gd name="connsiteY22" fmla="*/ 833490 h 869614"/>
                    <a:gd name="connsiteX23" fmla="*/ 339912 w 881638"/>
                    <a:gd name="connsiteY23" fmla="*/ 833490 h 8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1638" h="869614">
                      <a:moveTo>
                        <a:pt x="226377" y="152280"/>
                      </a:moveTo>
                      <a:cubicBezTo>
                        <a:pt x="355394" y="59388"/>
                        <a:pt x="530857" y="59388"/>
                        <a:pt x="654713" y="157441"/>
                      </a:cubicBezTo>
                      <a:cubicBezTo>
                        <a:pt x="665034" y="131638"/>
                        <a:pt x="680516" y="110995"/>
                        <a:pt x="706320" y="95513"/>
                      </a:cubicBezTo>
                      <a:cubicBezTo>
                        <a:pt x="551499" y="-28343"/>
                        <a:pt x="329590" y="-33504"/>
                        <a:pt x="169609" y="90352"/>
                      </a:cubicBezTo>
                      <a:cubicBezTo>
                        <a:pt x="195413" y="105834"/>
                        <a:pt x="216055" y="126477"/>
                        <a:pt x="226377" y="152280"/>
                      </a:cubicBezTo>
                      <a:close/>
                      <a:moveTo>
                        <a:pt x="830176" y="250333"/>
                      </a:moveTo>
                      <a:cubicBezTo>
                        <a:pt x="814694" y="270976"/>
                        <a:pt x="788891" y="286458"/>
                        <a:pt x="763087" y="291619"/>
                      </a:cubicBezTo>
                      <a:cubicBezTo>
                        <a:pt x="783730" y="338065"/>
                        <a:pt x="799212" y="394832"/>
                        <a:pt x="799212" y="446439"/>
                      </a:cubicBezTo>
                      <a:cubicBezTo>
                        <a:pt x="799212" y="611581"/>
                        <a:pt x="685677" y="750919"/>
                        <a:pt x="530857" y="792204"/>
                      </a:cubicBezTo>
                      <a:cubicBezTo>
                        <a:pt x="541178" y="807686"/>
                        <a:pt x="541178" y="823168"/>
                        <a:pt x="541178" y="838651"/>
                      </a:cubicBezTo>
                      <a:cubicBezTo>
                        <a:pt x="541178" y="848972"/>
                        <a:pt x="541178" y="859293"/>
                        <a:pt x="536017" y="869615"/>
                      </a:cubicBezTo>
                      <a:cubicBezTo>
                        <a:pt x="773408" y="818008"/>
                        <a:pt x="923068" y="585777"/>
                        <a:pt x="871461" y="348386"/>
                      </a:cubicBezTo>
                      <a:cubicBezTo>
                        <a:pt x="855979" y="312261"/>
                        <a:pt x="845658" y="281297"/>
                        <a:pt x="830176" y="250333"/>
                      </a:cubicBezTo>
                      <a:lnTo>
                        <a:pt x="830176" y="250333"/>
                      </a:lnTo>
                      <a:close/>
                      <a:moveTo>
                        <a:pt x="339912" y="833490"/>
                      </a:moveTo>
                      <a:cubicBezTo>
                        <a:pt x="339912" y="818008"/>
                        <a:pt x="345072" y="802526"/>
                        <a:pt x="350233" y="787044"/>
                      </a:cubicBezTo>
                      <a:cubicBezTo>
                        <a:pt x="159288" y="740598"/>
                        <a:pt x="40592" y="544492"/>
                        <a:pt x="92199" y="353547"/>
                      </a:cubicBezTo>
                      <a:cubicBezTo>
                        <a:pt x="97360" y="327743"/>
                        <a:pt x="107681" y="307101"/>
                        <a:pt x="118003" y="286458"/>
                      </a:cubicBezTo>
                      <a:cubicBezTo>
                        <a:pt x="97360" y="281297"/>
                        <a:pt x="76717" y="270976"/>
                        <a:pt x="66396" y="260655"/>
                      </a:cubicBezTo>
                      <a:cubicBezTo>
                        <a:pt x="56074" y="250333"/>
                        <a:pt x="50914" y="245172"/>
                        <a:pt x="50914" y="240012"/>
                      </a:cubicBezTo>
                      <a:cubicBezTo>
                        <a:pt x="-62621" y="451600"/>
                        <a:pt x="19950" y="714794"/>
                        <a:pt x="236698" y="828329"/>
                      </a:cubicBezTo>
                      <a:cubicBezTo>
                        <a:pt x="272823" y="848972"/>
                        <a:pt x="308948" y="859293"/>
                        <a:pt x="345072" y="869615"/>
                      </a:cubicBezTo>
                      <a:cubicBezTo>
                        <a:pt x="339912" y="854133"/>
                        <a:pt x="339912" y="843811"/>
                        <a:pt x="339912" y="833490"/>
                      </a:cubicBezTo>
                      <a:lnTo>
                        <a:pt x="339912" y="833490"/>
                      </a:lnTo>
                      <a:close/>
                    </a:path>
                  </a:pathLst>
                </a:custGeom>
                <a:solidFill>
                  <a:schemeClr val="bg1"/>
                </a:solidFill>
                <a:ln w="515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126" name="Straight Arrow Connector 125">
              <a:extLst>
                <a:ext uri="{FF2B5EF4-FFF2-40B4-BE49-F238E27FC236}">
                  <a16:creationId xmlns:a16="http://schemas.microsoft.com/office/drawing/2014/main" id="{677AA576-151B-4E0A-8F85-10ACB6D34890}"/>
                </a:ext>
              </a:extLst>
            </p:cNvPr>
            <p:cNvCxnSpPr>
              <a:cxnSpLocks/>
            </p:cNvCxnSpPr>
            <p:nvPr/>
          </p:nvCxnSpPr>
          <p:spPr>
            <a:xfrm flipH="1">
              <a:off x="4142439" y="3896315"/>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grpSp>
        <p:nvGrpSpPr>
          <p:cNvPr id="157" name="Group 156">
            <a:extLst>
              <a:ext uri="{FF2B5EF4-FFF2-40B4-BE49-F238E27FC236}">
                <a16:creationId xmlns:a16="http://schemas.microsoft.com/office/drawing/2014/main" id="{5949BDE9-7FCD-49B9-800D-16E528E5A05D}"/>
              </a:ext>
            </a:extLst>
          </p:cNvPr>
          <p:cNvGrpSpPr/>
          <p:nvPr/>
        </p:nvGrpSpPr>
        <p:grpSpPr>
          <a:xfrm>
            <a:off x="5625524" y="2453404"/>
            <a:ext cx="1606590" cy="1538895"/>
            <a:chOff x="5625524" y="2453404"/>
            <a:chExt cx="1606590" cy="1538895"/>
          </a:xfrm>
        </p:grpSpPr>
        <p:cxnSp>
          <p:nvCxnSpPr>
            <p:cNvPr id="127" name="Straight Arrow Connector 126">
              <a:extLst>
                <a:ext uri="{FF2B5EF4-FFF2-40B4-BE49-F238E27FC236}">
                  <a16:creationId xmlns:a16="http://schemas.microsoft.com/office/drawing/2014/main" id="{D3C45184-E346-4AE2-806A-6DC0A8B78469}"/>
                </a:ext>
              </a:extLst>
            </p:cNvPr>
            <p:cNvCxnSpPr>
              <a:cxnSpLocks/>
            </p:cNvCxnSpPr>
            <p:nvPr/>
          </p:nvCxnSpPr>
          <p:spPr>
            <a:xfrm flipH="1">
              <a:off x="5625524" y="3313703"/>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nvGrpSpPr>
            <p:cNvPr id="152" name="Group 151">
              <a:extLst>
                <a:ext uri="{FF2B5EF4-FFF2-40B4-BE49-F238E27FC236}">
                  <a16:creationId xmlns:a16="http://schemas.microsoft.com/office/drawing/2014/main" id="{A6A07736-CCFE-40F8-B8B8-09AEFCC30FE3}"/>
                </a:ext>
              </a:extLst>
            </p:cNvPr>
            <p:cNvGrpSpPr/>
            <p:nvPr/>
          </p:nvGrpSpPr>
          <p:grpSpPr>
            <a:xfrm>
              <a:off x="6204539" y="2453404"/>
              <a:ext cx="1027575" cy="1538895"/>
              <a:chOff x="6048126" y="2453404"/>
              <a:chExt cx="1027575" cy="1538895"/>
            </a:xfrm>
          </p:grpSpPr>
          <p:sp>
            <p:nvSpPr>
              <p:cNvPr id="83" name="Title 1">
                <a:extLst>
                  <a:ext uri="{FF2B5EF4-FFF2-40B4-BE49-F238E27FC236}">
                    <a16:creationId xmlns:a16="http://schemas.microsoft.com/office/drawing/2014/main" id="{FD6AD64F-589F-4AA5-801D-5E383EFA51E2}"/>
                  </a:ext>
                </a:extLst>
              </p:cNvPr>
              <p:cNvSpPr txBox="1">
                <a:spLocks/>
              </p:cNvSpPr>
              <p:nvPr/>
            </p:nvSpPr>
            <p:spPr>
              <a:xfrm>
                <a:off x="6174648" y="3020567"/>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5.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84" name="Title 1">
                <a:extLst>
                  <a:ext uri="{FF2B5EF4-FFF2-40B4-BE49-F238E27FC236}">
                    <a16:creationId xmlns:a16="http://schemas.microsoft.com/office/drawing/2014/main" id="{B9D98044-55A8-405F-AFD8-F8B4D82ED437}"/>
                  </a:ext>
                </a:extLst>
              </p:cNvPr>
              <p:cNvSpPr txBox="1">
                <a:spLocks/>
              </p:cNvSpPr>
              <p:nvPr/>
            </p:nvSpPr>
            <p:spPr>
              <a:xfrm>
                <a:off x="6090581" y="3561412"/>
                <a:ext cx="72232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roup </a:t>
                </a:r>
                <a:b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devices </a:t>
                </a:r>
              </a:p>
            </p:txBody>
          </p:sp>
          <p:grpSp>
            <p:nvGrpSpPr>
              <p:cNvPr id="137" name="Group 136">
                <a:extLst>
                  <a:ext uri="{FF2B5EF4-FFF2-40B4-BE49-F238E27FC236}">
                    <a16:creationId xmlns:a16="http://schemas.microsoft.com/office/drawing/2014/main" id="{D6C93FB0-FA76-4B12-9827-41115C250DE9}"/>
                  </a:ext>
                </a:extLst>
              </p:cNvPr>
              <p:cNvGrpSpPr/>
              <p:nvPr/>
            </p:nvGrpSpPr>
            <p:grpSpPr>
              <a:xfrm>
                <a:off x="6048126" y="2453404"/>
                <a:ext cx="1027575" cy="517088"/>
                <a:chOff x="6685651" y="2398319"/>
                <a:chExt cx="1027575" cy="517088"/>
              </a:xfrm>
            </p:grpSpPr>
            <p:grpSp>
              <p:nvGrpSpPr>
                <p:cNvPr id="128" name="Graphic 80">
                  <a:extLst>
                    <a:ext uri="{FF2B5EF4-FFF2-40B4-BE49-F238E27FC236}">
                      <a16:creationId xmlns:a16="http://schemas.microsoft.com/office/drawing/2014/main" id="{E885331D-6110-44A8-A89B-E1839573E206}"/>
                    </a:ext>
                  </a:extLst>
                </p:cNvPr>
                <p:cNvGrpSpPr/>
                <p:nvPr/>
              </p:nvGrpSpPr>
              <p:grpSpPr>
                <a:xfrm>
                  <a:off x="6685651" y="2398319"/>
                  <a:ext cx="247621" cy="517088"/>
                  <a:chOff x="6685651" y="2398319"/>
                  <a:chExt cx="247621" cy="517088"/>
                </a:xfrm>
              </p:grpSpPr>
              <p:sp>
                <p:nvSpPr>
                  <p:cNvPr id="129" name="Freeform: Shape 128">
                    <a:extLst>
                      <a:ext uri="{FF2B5EF4-FFF2-40B4-BE49-F238E27FC236}">
                        <a16:creationId xmlns:a16="http://schemas.microsoft.com/office/drawing/2014/main" id="{8C8C6144-D48E-4C90-AE7A-040D3A9F4F53}"/>
                      </a:ext>
                    </a:extLst>
                  </p:cNvPr>
                  <p:cNvSpPr/>
                  <p:nvPr/>
                </p:nvSpPr>
                <p:spPr>
                  <a:xfrm>
                    <a:off x="6685903" y="2398319"/>
                    <a:ext cx="203670" cy="517088"/>
                  </a:xfrm>
                  <a:custGeom>
                    <a:avLst/>
                    <a:gdLst>
                      <a:gd name="connsiteX0" fmla="*/ 90056 w 203670"/>
                      <a:gd name="connsiteY0" fmla="*/ 516360 h 517088"/>
                      <a:gd name="connsiteX1" fmla="*/ 101709 w 203670"/>
                      <a:gd name="connsiteY1" fmla="*/ 517088 h 517088"/>
                      <a:gd name="connsiteX2" fmla="*/ 170169 w 203670"/>
                      <a:gd name="connsiteY2" fmla="*/ 490869 h 517088"/>
                      <a:gd name="connsiteX3" fmla="*/ 203671 w 203670"/>
                      <a:gd name="connsiteY3" fmla="*/ 415127 h 517088"/>
                      <a:gd name="connsiteX4" fmla="*/ 157788 w 203670"/>
                      <a:gd name="connsiteY4" fmla="*/ 329917 h 517088"/>
                      <a:gd name="connsiteX5" fmla="*/ 157788 w 203670"/>
                      <a:gd name="connsiteY5" fmla="*/ 56079 h 517088"/>
                      <a:gd name="connsiteX6" fmla="*/ 101709 w 203670"/>
                      <a:gd name="connsiteY6" fmla="*/ 0 h 517088"/>
                      <a:gd name="connsiteX7" fmla="*/ 45630 w 203670"/>
                      <a:gd name="connsiteY7" fmla="*/ 56079 h 517088"/>
                      <a:gd name="connsiteX8" fmla="*/ 45630 w 203670"/>
                      <a:gd name="connsiteY8" fmla="*/ 329917 h 517088"/>
                      <a:gd name="connsiteX9" fmla="*/ 476 w 203670"/>
                      <a:gd name="connsiteY9" fmla="*/ 425323 h 517088"/>
                      <a:gd name="connsiteX10" fmla="*/ 90056 w 203670"/>
                      <a:gd name="connsiteY10" fmla="*/ 516360 h 517088"/>
                      <a:gd name="connsiteX11" fmla="*/ 60924 w 203670"/>
                      <a:gd name="connsiteY11" fmla="*/ 345211 h 517088"/>
                      <a:gd name="connsiteX12" fmla="*/ 66022 w 203670"/>
                      <a:gd name="connsiteY12" fmla="*/ 336471 h 517088"/>
                      <a:gd name="connsiteX13" fmla="*/ 66022 w 203670"/>
                      <a:gd name="connsiteY13" fmla="*/ 56079 h 517088"/>
                      <a:gd name="connsiteX14" fmla="*/ 101709 w 203670"/>
                      <a:gd name="connsiteY14" fmla="*/ 20392 h 517088"/>
                      <a:gd name="connsiteX15" fmla="*/ 137396 w 203670"/>
                      <a:gd name="connsiteY15" fmla="*/ 56079 h 517088"/>
                      <a:gd name="connsiteX16" fmla="*/ 137396 w 203670"/>
                      <a:gd name="connsiteY16" fmla="*/ 335743 h 517088"/>
                      <a:gd name="connsiteX17" fmla="*/ 142494 w 203670"/>
                      <a:gd name="connsiteY17" fmla="*/ 344483 h 517088"/>
                      <a:gd name="connsiteX18" fmla="*/ 183278 w 203670"/>
                      <a:gd name="connsiteY18" fmla="*/ 415127 h 517088"/>
                      <a:gd name="connsiteX19" fmla="*/ 156331 w 203670"/>
                      <a:gd name="connsiteY19" fmla="*/ 475575 h 517088"/>
                      <a:gd name="connsiteX20" fmla="*/ 92969 w 203670"/>
                      <a:gd name="connsiteY20" fmla="*/ 495968 h 517088"/>
                      <a:gd name="connsiteX21" fmla="*/ 21596 w 203670"/>
                      <a:gd name="connsiteY21" fmla="*/ 423138 h 517088"/>
                      <a:gd name="connsiteX22" fmla="*/ 60924 w 203670"/>
                      <a:gd name="connsiteY22" fmla="*/ 345211 h 517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3670" h="517088">
                        <a:moveTo>
                          <a:pt x="90056" y="516360"/>
                        </a:moveTo>
                        <a:cubicBezTo>
                          <a:pt x="93698" y="517088"/>
                          <a:pt x="97339" y="517088"/>
                          <a:pt x="101709" y="517088"/>
                        </a:cubicBezTo>
                        <a:cubicBezTo>
                          <a:pt x="126471" y="517088"/>
                          <a:pt x="151233" y="507620"/>
                          <a:pt x="170169" y="490869"/>
                        </a:cubicBezTo>
                        <a:cubicBezTo>
                          <a:pt x="191289" y="471934"/>
                          <a:pt x="203671" y="444259"/>
                          <a:pt x="203671" y="415127"/>
                        </a:cubicBezTo>
                        <a:cubicBezTo>
                          <a:pt x="203671" y="380897"/>
                          <a:pt x="186191" y="348852"/>
                          <a:pt x="157788" y="329917"/>
                        </a:cubicBezTo>
                        <a:lnTo>
                          <a:pt x="157788" y="56079"/>
                        </a:lnTo>
                        <a:cubicBezTo>
                          <a:pt x="157788" y="25490"/>
                          <a:pt x="133026" y="0"/>
                          <a:pt x="101709" y="0"/>
                        </a:cubicBezTo>
                        <a:cubicBezTo>
                          <a:pt x="70392" y="0"/>
                          <a:pt x="45630" y="25490"/>
                          <a:pt x="45630" y="56079"/>
                        </a:cubicBezTo>
                        <a:lnTo>
                          <a:pt x="45630" y="329917"/>
                        </a:lnTo>
                        <a:cubicBezTo>
                          <a:pt x="14313" y="351037"/>
                          <a:pt x="-3166" y="387452"/>
                          <a:pt x="476" y="425323"/>
                        </a:cubicBezTo>
                        <a:cubicBezTo>
                          <a:pt x="4845" y="472662"/>
                          <a:pt x="42717" y="511262"/>
                          <a:pt x="90056" y="516360"/>
                        </a:cubicBezTo>
                        <a:close/>
                        <a:moveTo>
                          <a:pt x="60924" y="345211"/>
                        </a:moveTo>
                        <a:cubicBezTo>
                          <a:pt x="63838" y="343026"/>
                          <a:pt x="66022" y="340113"/>
                          <a:pt x="66022" y="336471"/>
                        </a:cubicBezTo>
                        <a:lnTo>
                          <a:pt x="66022" y="56079"/>
                        </a:lnTo>
                        <a:cubicBezTo>
                          <a:pt x="66022" y="36415"/>
                          <a:pt x="82045" y="20392"/>
                          <a:pt x="101709" y="20392"/>
                        </a:cubicBezTo>
                        <a:cubicBezTo>
                          <a:pt x="121373" y="20392"/>
                          <a:pt x="137396" y="36415"/>
                          <a:pt x="137396" y="56079"/>
                        </a:cubicBezTo>
                        <a:lnTo>
                          <a:pt x="137396" y="335743"/>
                        </a:lnTo>
                        <a:cubicBezTo>
                          <a:pt x="137396" y="339385"/>
                          <a:pt x="139580" y="343026"/>
                          <a:pt x="142494" y="344483"/>
                        </a:cubicBezTo>
                        <a:cubicBezTo>
                          <a:pt x="167256" y="359048"/>
                          <a:pt x="183278" y="385995"/>
                          <a:pt x="183278" y="415127"/>
                        </a:cubicBezTo>
                        <a:cubicBezTo>
                          <a:pt x="183278" y="438432"/>
                          <a:pt x="173082" y="460281"/>
                          <a:pt x="156331" y="475575"/>
                        </a:cubicBezTo>
                        <a:cubicBezTo>
                          <a:pt x="138852" y="490869"/>
                          <a:pt x="116275" y="498152"/>
                          <a:pt x="92969" y="495968"/>
                        </a:cubicBezTo>
                        <a:cubicBezTo>
                          <a:pt x="55098" y="491598"/>
                          <a:pt x="25238" y="461009"/>
                          <a:pt x="21596" y="423138"/>
                        </a:cubicBezTo>
                        <a:cubicBezTo>
                          <a:pt x="17955" y="391093"/>
                          <a:pt x="33249" y="361233"/>
                          <a:pt x="60924" y="345211"/>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EB627CB8-7943-4680-B47A-0CE55D1DAF35}"/>
                      </a:ext>
                    </a:extLst>
                  </p:cNvPr>
                  <p:cNvSpPr/>
                  <p:nvPr/>
                </p:nvSpPr>
                <p:spPr>
                  <a:xfrm>
                    <a:off x="6732990" y="2483529"/>
                    <a:ext cx="109244" cy="385266"/>
                  </a:xfrm>
                  <a:custGeom>
                    <a:avLst/>
                    <a:gdLst>
                      <a:gd name="connsiteX0" fmla="*/ 54622 w 109244"/>
                      <a:gd name="connsiteY0" fmla="*/ 385267 h 385266"/>
                      <a:gd name="connsiteX1" fmla="*/ 109245 w 109244"/>
                      <a:gd name="connsiteY1" fmla="*/ 330645 h 385266"/>
                      <a:gd name="connsiteX2" fmla="*/ 64818 w 109244"/>
                      <a:gd name="connsiteY2" fmla="*/ 276751 h 385266"/>
                      <a:gd name="connsiteX3" fmla="*/ 64818 w 109244"/>
                      <a:gd name="connsiteY3" fmla="*/ 10196 h 385266"/>
                      <a:gd name="connsiteX4" fmla="*/ 54622 w 109244"/>
                      <a:gd name="connsiteY4" fmla="*/ 0 h 385266"/>
                      <a:gd name="connsiteX5" fmla="*/ 44426 w 109244"/>
                      <a:gd name="connsiteY5" fmla="*/ 10196 h 385266"/>
                      <a:gd name="connsiteX6" fmla="*/ 44426 w 109244"/>
                      <a:gd name="connsiteY6" fmla="*/ 276023 h 385266"/>
                      <a:gd name="connsiteX7" fmla="*/ 0 w 109244"/>
                      <a:gd name="connsiteY7" fmla="*/ 329917 h 385266"/>
                      <a:gd name="connsiteX8" fmla="*/ 54622 w 109244"/>
                      <a:gd name="connsiteY8" fmla="*/ 385267 h 38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244" h="385266">
                        <a:moveTo>
                          <a:pt x="54622" y="385267"/>
                        </a:moveTo>
                        <a:cubicBezTo>
                          <a:pt x="85211" y="385267"/>
                          <a:pt x="109245" y="360505"/>
                          <a:pt x="109245" y="330645"/>
                        </a:cubicBezTo>
                        <a:cubicBezTo>
                          <a:pt x="109245" y="303698"/>
                          <a:pt x="90309" y="281849"/>
                          <a:pt x="64818" y="276751"/>
                        </a:cubicBezTo>
                        <a:lnTo>
                          <a:pt x="64818" y="10196"/>
                        </a:lnTo>
                        <a:cubicBezTo>
                          <a:pt x="64818" y="4370"/>
                          <a:pt x="60449" y="0"/>
                          <a:pt x="54622" y="0"/>
                        </a:cubicBezTo>
                        <a:cubicBezTo>
                          <a:pt x="48796" y="0"/>
                          <a:pt x="44426" y="4370"/>
                          <a:pt x="44426" y="10196"/>
                        </a:cubicBezTo>
                        <a:lnTo>
                          <a:pt x="44426" y="276023"/>
                        </a:lnTo>
                        <a:cubicBezTo>
                          <a:pt x="18936" y="281121"/>
                          <a:pt x="0" y="302970"/>
                          <a:pt x="0" y="329917"/>
                        </a:cubicBezTo>
                        <a:cubicBezTo>
                          <a:pt x="0" y="360505"/>
                          <a:pt x="24034" y="385267"/>
                          <a:pt x="54622" y="385267"/>
                        </a:cubicBezTo>
                        <a:close/>
                      </a:path>
                    </a:pathLst>
                  </a:custGeom>
                  <a:solidFill>
                    <a:schemeClr val="accent5"/>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F9A0073D-CDB4-4231-B7ED-CC50A1032B2D}"/>
                      </a:ext>
                    </a:extLst>
                  </p:cNvPr>
                  <p:cNvSpPr/>
                  <p:nvPr/>
                </p:nvSpPr>
                <p:spPr>
                  <a:xfrm>
                    <a:off x="6869181" y="2436190"/>
                    <a:ext cx="64818" cy="20392"/>
                  </a:xfrm>
                  <a:custGeom>
                    <a:avLst/>
                    <a:gdLst>
                      <a:gd name="connsiteX0" fmla="*/ 54622 w 64818"/>
                      <a:gd name="connsiteY0" fmla="*/ 0 h 20392"/>
                      <a:gd name="connsiteX1" fmla="*/ 10196 w 64818"/>
                      <a:gd name="connsiteY1" fmla="*/ 0 h 20392"/>
                      <a:gd name="connsiteX2" fmla="*/ 0 w 64818"/>
                      <a:gd name="connsiteY2" fmla="*/ 10196 h 20392"/>
                      <a:gd name="connsiteX3" fmla="*/ 10196 w 64818"/>
                      <a:gd name="connsiteY3" fmla="*/ 20392 h 20392"/>
                      <a:gd name="connsiteX4" fmla="*/ 54622 w 64818"/>
                      <a:gd name="connsiteY4" fmla="*/ 20392 h 20392"/>
                      <a:gd name="connsiteX5" fmla="*/ 64818 w 64818"/>
                      <a:gd name="connsiteY5" fmla="*/ 10196 h 20392"/>
                      <a:gd name="connsiteX6" fmla="*/ 54622 w 64818"/>
                      <a:gd name="connsiteY6" fmla="*/ 0 h 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18" h="20392">
                        <a:moveTo>
                          <a:pt x="54622" y="0"/>
                        </a:moveTo>
                        <a:lnTo>
                          <a:pt x="10196" y="0"/>
                        </a:lnTo>
                        <a:cubicBezTo>
                          <a:pt x="4370" y="0"/>
                          <a:pt x="0" y="4370"/>
                          <a:pt x="0" y="10196"/>
                        </a:cubicBezTo>
                        <a:cubicBezTo>
                          <a:pt x="0" y="16022"/>
                          <a:pt x="4370" y="20392"/>
                          <a:pt x="10196" y="20392"/>
                        </a:cubicBezTo>
                        <a:lnTo>
                          <a:pt x="54622" y="20392"/>
                        </a:lnTo>
                        <a:cubicBezTo>
                          <a:pt x="60449" y="20392"/>
                          <a:pt x="64818" y="16022"/>
                          <a:pt x="64818" y="10196"/>
                        </a:cubicBezTo>
                        <a:cubicBezTo>
                          <a:pt x="64818" y="4370"/>
                          <a:pt x="60449" y="0"/>
                          <a:pt x="54622" y="0"/>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44D0E3AF-F47E-4614-A1A3-83C3FF7987E3}"/>
                      </a:ext>
                    </a:extLst>
                  </p:cNvPr>
                  <p:cNvSpPr/>
                  <p:nvPr/>
                </p:nvSpPr>
                <p:spPr>
                  <a:xfrm>
                    <a:off x="6869181" y="2492268"/>
                    <a:ext cx="47339" cy="20392"/>
                  </a:xfrm>
                  <a:custGeom>
                    <a:avLst/>
                    <a:gdLst>
                      <a:gd name="connsiteX0" fmla="*/ 10196 w 47339"/>
                      <a:gd name="connsiteY0" fmla="*/ 20392 h 20392"/>
                      <a:gd name="connsiteX1" fmla="*/ 37143 w 47339"/>
                      <a:gd name="connsiteY1" fmla="*/ 20392 h 20392"/>
                      <a:gd name="connsiteX2" fmla="*/ 47339 w 47339"/>
                      <a:gd name="connsiteY2" fmla="*/ 10196 h 20392"/>
                      <a:gd name="connsiteX3" fmla="*/ 37143 w 47339"/>
                      <a:gd name="connsiteY3" fmla="*/ 0 h 20392"/>
                      <a:gd name="connsiteX4" fmla="*/ 10196 w 47339"/>
                      <a:gd name="connsiteY4" fmla="*/ 0 h 20392"/>
                      <a:gd name="connsiteX5" fmla="*/ 0 w 47339"/>
                      <a:gd name="connsiteY5" fmla="*/ 10196 h 20392"/>
                      <a:gd name="connsiteX6" fmla="*/ 10196 w 47339"/>
                      <a:gd name="connsiteY6" fmla="*/ 20392 h 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39" h="20392">
                        <a:moveTo>
                          <a:pt x="10196" y="20392"/>
                        </a:moveTo>
                        <a:lnTo>
                          <a:pt x="37143" y="20392"/>
                        </a:lnTo>
                        <a:cubicBezTo>
                          <a:pt x="42970" y="20392"/>
                          <a:pt x="47339" y="16022"/>
                          <a:pt x="47339" y="10196"/>
                        </a:cubicBezTo>
                        <a:cubicBezTo>
                          <a:pt x="47339" y="4370"/>
                          <a:pt x="42970" y="0"/>
                          <a:pt x="37143" y="0"/>
                        </a:cubicBezTo>
                        <a:lnTo>
                          <a:pt x="10196" y="0"/>
                        </a:lnTo>
                        <a:cubicBezTo>
                          <a:pt x="4370" y="0"/>
                          <a:pt x="0" y="4370"/>
                          <a:pt x="0" y="10196"/>
                        </a:cubicBezTo>
                        <a:cubicBezTo>
                          <a:pt x="0" y="15294"/>
                          <a:pt x="4370" y="20392"/>
                          <a:pt x="10196" y="20392"/>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99B90927-8535-49AB-A7BC-7259EB22401D}"/>
                      </a:ext>
                    </a:extLst>
                  </p:cNvPr>
                  <p:cNvSpPr/>
                  <p:nvPr/>
                </p:nvSpPr>
                <p:spPr>
                  <a:xfrm>
                    <a:off x="6869181" y="2546890"/>
                    <a:ext cx="64818" cy="20392"/>
                  </a:xfrm>
                  <a:custGeom>
                    <a:avLst/>
                    <a:gdLst>
                      <a:gd name="connsiteX0" fmla="*/ 54622 w 64818"/>
                      <a:gd name="connsiteY0" fmla="*/ 0 h 20392"/>
                      <a:gd name="connsiteX1" fmla="*/ 10196 w 64818"/>
                      <a:gd name="connsiteY1" fmla="*/ 0 h 20392"/>
                      <a:gd name="connsiteX2" fmla="*/ 0 w 64818"/>
                      <a:gd name="connsiteY2" fmla="*/ 10196 h 20392"/>
                      <a:gd name="connsiteX3" fmla="*/ 10196 w 64818"/>
                      <a:gd name="connsiteY3" fmla="*/ 20392 h 20392"/>
                      <a:gd name="connsiteX4" fmla="*/ 54622 w 64818"/>
                      <a:gd name="connsiteY4" fmla="*/ 20392 h 20392"/>
                      <a:gd name="connsiteX5" fmla="*/ 64818 w 64818"/>
                      <a:gd name="connsiteY5" fmla="*/ 10196 h 20392"/>
                      <a:gd name="connsiteX6" fmla="*/ 54622 w 64818"/>
                      <a:gd name="connsiteY6" fmla="*/ 0 h 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18" h="20392">
                        <a:moveTo>
                          <a:pt x="54622" y="0"/>
                        </a:moveTo>
                        <a:lnTo>
                          <a:pt x="10196" y="0"/>
                        </a:lnTo>
                        <a:cubicBezTo>
                          <a:pt x="4370" y="0"/>
                          <a:pt x="0" y="4370"/>
                          <a:pt x="0" y="10196"/>
                        </a:cubicBezTo>
                        <a:cubicBezTo>
                          <a:pt x="0" y="16022"/>
                          <a:pt x="4370" y="20392"/>
                          <a:pt x="10196" y="20392"/>
                        </a:cubicBezTo>
                        <a:lnTo>
                          <a:pt x="54622" y="20392"/>
                        </a:lnTo>
                        <a:cubicBezTo>
                          <a:pt x="60449" y="20392"/>
                          <a:pt x="64818" y="16022"/>
                          <a:pt x="64818" y="10196"/>
                        </a:cubicBezTo>
                        <a:cubicBezTo>
                          <a:pt x="64818" y="5098"/>
                          <a:pt x="60449" y="0"/>
                          <a:pt x="54622" y="0"/>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E79B552A-6462-4532-9D27-FE1DF8C20584}"/>
                      </a:ext>
                    </a:extLst>
                  </p:cNvPr>
                  <p:cNvSpPr/>
                  <p:nvPr/>
                </p:nvSpPr>
                <p:spPr>
                  <a:xfrm>
                    <a:off x="6869181" y="2602969"/>
                    <a:ext cx="47339" cy="20392"/>
                  </a:xfrm>
                  <a:custGeom>
                    <a:avLst/>
                    <a:gdLst>
                      <a:gd name="connsiteX0" fmla="*/ 10196 w 47339"/>
                      <a:gd name="connsiteY0" fmla="*/ 20392 h 20392"/>
                      <a:gd name="connsiteX1" fmla="*/ 37143 w 47339"/>
                      <a:gd name="connsiteY1" fmla="*/ 20392 h 20392"/>
                      <a:gd name="connsiteX2" fmla="*/ 47339 w 47339"/>
                      <a:gd name="connsiteY2" fmla="*/ 10196 h 20392"/>
                      <a:gd name="connsiteX3" fmla="*/ 37143 w 47339"/>
                      <a:gd name="connsiteY3" fmla="*/ 0 h 20392"/>
                      <a:gd name="connsiteX4" fmla="*/ 10196 w 47339"/>
                      <a:gd name="connsiteY4" fmla="*/ 0 h 20392"/>
                      <a:gd name="connsiteX5" fmla="*/ 0 w 47339"/>
                      <a:gd name="connsiteY5" fmla="*/ 10196 h 20392"/>
                      <a:gd name="connsiteX6" fmla="*/ 10196 w 47339"/>
                      <a:gd name="connsiteY6" fmla="*/ 20392 h 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39" h="20392">
                        <a:moveTo>
                          <a:pt x="10196" y="20392"/>
                        </a:moveTo>
                        <a:lnTo>
                          <a:pt x="37143" y="20392"/>
                        </a:lnTo>
                        <a:cubicBezTo>
                          <a:pt x="42970" y="20392"/>
                          <a:pt x="47339" y="16022"/>
                          <a:pt x="47339" y="10196"/>
                        </a:cubicBezTo>
                        <a:cubicBezTo>
                          <a:pt x="47339" y="4370"/>
                          <a:pt x="42970" y="0"/>
                          <a:pt x="37143" y="0"/>
                        </a:cubicBezTo>
                        <a:lnTo>
                          <a:pt x="10196" y="0"/>
                        </a:lnTo>
                        <a:cubicBezTo>
                          <a:pt x="4370" y="0"/>
                          <a:pt x="0" y="4370"/>
                          <a:pt x="0" y="10196"/>
                        </a:cubicBezTo>
                        <a:cubicBezTo>
                          <a:pt x="0" y="15294"/>
                          <a:pt x="4370" y="20392"/>
                          <a:pt x="10196" y="20392"/>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3FBD17C4-B331-4610-AAF6-92E8FC5B958D}"/>
                      </a:ext>
                    </a:extLst>
                  </p:cNvPr>
                  <p:cNvSpPr/>
                  <p:nvPr/>
                </p:nvSpPr>
                <p:spPr>
                  <a:xfrm>
                    <a:off x="6869181" y="2658319"/>
                    <a:ext cx="64818" cy="20392"/>
                  </a:xfrm>
                  <a:custGeom>
                    <a:avLst/>
                    <a:gdLst>
                      <a:gd name="connsiteX0" fmla="*/ 64818 w 64818"/>
                      <a:gd name="connsiteY0" fmla="*/ 10196 h 20392"/>
                      <a:gd name="connsiteX1" fmla="*/ 54622 w 64818"/>
                      <a:gd name="connsiteY1" fmla="*/ 0 h 20392"/>
                      <a:gd name="connsiteX2" fmla="*/ 10196 w 64818"/>
                      <a:gd name="connsiteY2" fmla="*/ 0 h 20392"/>
                      <a:gd name="connsiteX3" fmla="*/ 0 w 64818"/>
                      <a:gd name="connsiteY3" fmla="*/ 10196 h 20392"/>
                      <a:gd name="connsiteX4" fmla="*/ 10196 w 64818"/>
                      <a:gd name="connsiteY4" fmla="*/ 20392 h 20392"/>
                      <a:gd name="connsiteX5" fmla="*/ 54622 w 64818"/>
                      <a:gd name="connsiteY5" fmla="*/ 20392 h 20392"/>
                      <a:gd name="connsiteX6" fmla="*/ 64818 w 64818"/>
                      <a:gd name="connsiteY6" fmla="*/ 10196 h 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18" h="20392">
                        <a:moveTo>
                          <a:pt x="64818" y="10196"/>
                        </a:moveTo>
                        <a:cubicBezTo>
                          <a:pt x="64818" y="4370"/>
                          <a:pt x="60449" y="0"/>
                          <a:pt x="54622" y="0"/>
                        </a:cubicBezTo>
                        <a:lnTo>
                          <a:pt x="10196" y="0"/>
                        </a:lnTo>
                        <a:cubicBezTo>
                          <a:pt x="4370" y="0"/>
                          <a:pt x="0" y="4370"/>
                          <a:pt x="0" y="10196"/>
                        </a:cubicBezTo>
                        <a:cubicBezTo>
                          <a:pt x="0" y="16022"/>
                          <a:pt x="4370" y="20392"/>
                          <a:pt x="10196" y="20392"/>
                        </a:cubicBezTo>
                        <a:lnTo>
                          <a:pt x="54622" y="20392"/>
                        </a:lnTo>
                        <a:cubicBezTo>
                          <a:pt x="60449" y="20392"/>
                          <a:pt x="64818" y="15294"/>
                          <a:pt x="64818" y="10196"/>
                        </a:cubicBezTo>
                        <a:close/>
                      </a:path>
                    </a:pathLst>
                  </a:custGeom>
                  <a:solidFill>
                    <a:srgbClr val="FFFFFF"/>
                  </a:solidFill>
                  <a:ln w="70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6" name="Rectangle 135">
                  <a:extLst>
                    <a:ext uri="{FF2B5EF4-FFF2-40B4-BE49-F238E27FC236}">
                      <a16:creationId xmlns:a16="http://schemas.microsoft.com/office/drawing/2014/main" id="{924EA4B9-5285-4279-AD67-AC93BD268FC4}"/>
                    </a:ext>
                  </a:extLst>
                </p:cNvPr>
                <p:cNvSpPr/>
                <p:nvPr/>
              </p:nvSpPr>
              <p:spPr bwMode="auto">
                <a:xfrm>
                  <a:off x="7230366" y="2415557"/>
                  <a:ext cx="482860" cy="204459"/>
                </a:xfrm>
                <a:custGeom>
                  <a:avLst/>
                  <a:gdLst>
                    <a:gd name="connsiteX0" fmla="*/ 0 w 482811"/>
                    <a:gd name="connsiteY0" fmla="*/ 0 h 80543"/>
                    <a:gd name="connsiteX1" fmla="*/ 482811 w 482811"/>
                    <a:gd name="connsiteY1" fmla="*/ 0 h 80543"/>
                    <a:gd name="connsiteX2" fmla="*/ 482811 w 482811"/>
                    <a:gd name="connsiteY2" fmla="*/ 80543 h 80543"/>
                    <a:gd name="connsiteX3" fmla="*/ 0 w 482811"/>
                    <a:gd name="connsiteY3" fmla="*/ 80543 h 80543"/>
                    <a:gd name="connsiteX4" fmla="*/ 0 w 482811"/>
                    <a:gd name="connsiteY4" fmla="*/ 0 h 80543"/>
                    <a:gd name="connsiteX0" fmla="*/ 0 w 482811"/>
                    <a:gd name="connsiteY0" fmla="*/ 0 h 345861"/>
                    <a:gd name="connsiteX1" fmla="*/ 482811 w 482811"/>
                    <a:gd name="connsiteY1" fmla="*/ 0 h 345861"/>
                    <a:gd name="connsiteX2" fmla="*/ 435433 w 482811"/>
                    <a:gd name="connsiteY2" fmla="*/ 345861 h 345861"/>
                    <a:gd name="connsiteX3" fmla="*/ 0 w 482811"/>
                    <a:gd name="connsiteY3" fmla="*/ 80543 h 345861"/>
                    <a:gd name="connsiteX4" fmla="*/ 0 w 482811"/>
                    <a:gd name="connsiteY4" fmla="*/ 0 h 345861"/>
                    <a:gd name="connsiteX0" fmla="*/ 9476 w 492287"/>
                    <a:gd name="connsiteY0" fmla="*/ 0 h 345861"/>
                    <a:gd name="connsiteX1" fmla="*/ 492287 w 492287"/>
                    <a:gd name="connsiteY1" fmla="*/ 0 h 345861"/>
                    <a:gd name="connsiteX2" fmla="*/ 444909 w 492287"/>
                    <a:gd name="connsiteY2" fmla="*/ 345861 h 345861"/>
                    <a:gd name="connsiteX3" fmla="*/ 0 w 492287"/>
                    <a:gd name="connsiteY3" fmla="*/ 213202 h 345861"/>
                    <a:gd name="connsiteX4" fmla="*/ 9476 w 492287"/>
                    <a:gd name="connsiteY4" fmla="*/ 0 h 345861"/>
                    <a:gd name="connsiteX0" fmla="*/ 9476 w 482860"/>
                    <a:gd name="connsiteY0" fmla="*/ 0 h 345861"/>
                    <a:gd name="connsiteX1" fmla="*/ 482860 w 482860"/>
                    <a:gd name="connsiteY1" fmla="*/ 260808 h 345861"/>
                    <a:gd name="connsiteX2" fmla="*/ 444909 w 482860"/>
                    <a:gd name="connsiteY2" fmla="*/ 345861 h 345861"/>
                    <a:gd name="connsiteX3" fmla="*/ 0 w 482860"/>
                    <a:gd name="connsiteY3" fmla="*/ 213202 h 345861"/>
                    <a:gd name="connsiteX4" fmla="*/ 9476 w 482860"/>
                    <a:gd name="connsiteY4" fmla="*/ 0 h 345861"/>
                    <a:gd name="connsiteX0" fmla="*/ 40898 w 482860"/>
                    <a:gd name="connsiteY0" fmla="*/ 0 h 191890"/>
                    <a:gd name="connsiteX1" fmla="*/ 482860 w 482860"/>
                    <a:gd name="connsiteY1" fmla="*/ 106837 h 191890"/>
                    <a:gd name="connsiteX2" fmla="*/ 444909 w 482860"/>
                    <a:gd name="connsiteY2" fmla="*/ 191890 h 191890"/>
                    <a:gd name="connsiteX3" fmla="*/ 0 w 482860"/>
                    <a:gd name="connsiteY3" fmla="*/ 59231 h 191890"/>
                    <a:gd name="connsiteX4" fmla="*/ 40898 w 482860"/>
                    <a:gd name="connsiteY4" fmla="*/ 0 h 191890"/>
                    <a:gd name="connsiteX0" fmla="*/ 18902 w 482860"/>
                    <a:gd name="connsiteY0" fmla="*/ 0 h 204459"/>
                    <a:gd name="connsiteX1" fmla="*/ 482860 w 482860"/>
                    <a:gd name="connsiteY1" fmla="*/ 119406 h 204459"/>
                    <a:gd name="connsiteX2" fmla="*/ 444909 w 482860"/>
                    <a:gd name="connsiteY2" fmla="*/ 204459 h 204459"/>
                    <a:gd name="connsiteX3" fmla="*/ 0 w 482860"/>
                    <a:gd name="connsiteY3" fmla="*/ 71800 h 204459"/>
                    <a:gd name="connsiteX4" fmla="*/ 18902 w 482860"/>
                    <a:gd name="connsiteY4" fmla="*/ 0 h 20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60" h="204459">
                      <a:moveTo>
                        <a:pt x="18902" y="0"/>
                      </a:moveTo>
                      <a:lnTo>
                        <a:pt x="482860" y="119406"/>
                      </a:lnTo>
                      <a:lnTo>
                        <a:pt x="444909" y="204459"/>
                      </a:lnTo>
                      <a:lnTo>
                        <a:pt x="0" y="71800"/>
                      </a:lnTo>
                      <a:lnTo>
                        <a:pt x="18902"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SecurityCamera_EB35" title="Icon of a security camera">
                  <a:extLst>
                    <a:ext uri="{FF2B5EF4-FFF2-40B4-BE49-F238E27FC236}">
                      <a16:creationId xmlns:a16="http://schemas.microsoft.com/office/drawing/2014/main" id="{9F1C12AC-E6C1-4793-A670-CAEA2718723B}"/>
                    </a:ext>
                  </a:extLst>
                </p:cNvPr>
                <p:cNvSpPr>
                  <a:spLocks noChangeAspect="1" noEditPoints="1"/>
                </p:cNvSpPr>
                <p:nvPr/>
              </p:nvSpPr>
              <p:spPr bwMode="auto">
                <a:xfrm>
                  <a:off x="7153392" y="2415310"/>
                  <a:ext cx="559588" cy="483107"/>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58" name="Group 157">
            <a:extLst>
              <a:ext uri="{FF2B5EF4-FFF2-40B4-BE49-F238E27FC236}">
                <a16:creationId xmlns:a16="http://schemas.microsoft.com/office/drawing/2014/main" id="{6AF46B1D-CC71-4316-A28E-479B64381C9F}"/>
              </a:ext>
            </a:extLst>
          </p:cNvPr>
          <p:cNvGrpSpPr/>
          <p:nvPr/>
        </p:nvGrpSpPr>
        <p:grpSpPr>
          <a:xfrm>
            <a:off x="7225342" y="1840952"/>
            <a:ext cx="1301662" cy="1664450"/>
            <a:chOff x="7225342" y="1840952"/>
            <a:chExt cx="1301662" cy="1664450"/>
          </a:xfrm>
        </p:grpSpPr>
        <p:grpSp>
          <p:nvGrpSpPr>
            <p:cNvPr id="145" name="Group 144">
              <a:extLst>
                <a:ext uri="{FF2B5EF4-FFF2-40B4-BE49-F238E27FC236}">
                  <a16:creationId xmlns:a16="http://schemas.microsoft.com/office/drawing/2014/main" id="{F3621809-C7E7-4E97-AD75-A22D47D19713}"/>
                </a:ext>
              </a:extLst>
            </p:cNvPr>
            <p:cNvGrpSpPr/>
            <p:nvPr/>
          </p:nvGrpSpPr>
          <p:grpSpPr>
            <a:xfrm>
              <a:off x="7852654" y="1840952"/>
              <a:ext cx="674350" cy="1664450"/>
              <a:chOff x="7900781" y="1840952"/>
              <a:chExt cx="674350" cy="1664450"/>
            </a:xfrm>
          </p:grpSpPr>
          <p:pic>
            <p:nvPicPr>
              <p:cNvPr id="116" name="Graphic 115">
                <a:extLst>
                  <a:ext uri="{FF2B5EF4-FFF2-40B4-BE49-F238E27FC236}">
                    <a16:creationId xmlns:a16="http://schemas.microsoft.com/office/drawing/2014/main" id="{0FDB4F8C-9792-4E19-8D4B-1050DBFE49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00781" y="1840952"/>
                <a:ext cx="674350" cy="716497"/>
              </a:xfrm>
              <a:prstGeom prst="rect">
                <a:avLst/>
              </a:prstGeom>
            </p:spPr>
          </p:pic>
          <p:sp>
            <p:nvSpPr>
              <p:cNvPr id="117" name="Title 1">
                <a:extLst>
                  <a:ext uri="{FF2B5EF4-FFF2-40B4-BE49-F238E27FC236}">
                    <a16:creationId xmlns:a16="http://schemas.microsoft.com/office/drawing/2014/main" id="{93E1C83D-EE88-4B12-8DF0-48C78DC7D760}"/>
                  </a:ext>
                </a:extLst>
              </p:cNvPr>
              <p:cNvSpPr txBox="1">
                <a:spLocks/>
              </p:cNvSpPr>
              <p:nvPr/>
            </p:nvSpPr>
            <p:spPr>
              <a:xfrm>
                <a:off x="7960861" y="2533670"/>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6.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18" name="Title 1">
                <a:extLst>
                  <a:ext uri="{FF2B5EF4-FFF2-40B4-BE49-F238E27FC236}">
                    <a16:creationId xmlns:a16="http://schemas.microsoft.com/office/drawing/2014/main" id="{4ADADB28-B601-4EC3-A5FD-B4711B7EBF3B}"/>
                  </a:ext>
                </a:extLst>
              </p:cNvPr>
              <p:cNvSpPr txBox="1">
                <a:spLocks/>
              </p:cNvSpPr>
              <p:nvPr/>
            </p:nvSpPr>
            <p:spPr>
              <a:xfrm>
                <a:off x="7902423" y="3074515"/>
                <a:ext cx="671067"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mport </a:t>
                </a:r>
                <a:b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updates</a:t>
                </a:r>
              </a:p>
            </p:txBody>
          </p:sp>
        </p:grpSp>
        <p:cxnSp>
          <p:nvCxnSpPr>
            <p:cNvPr id="138" name="Straight Arrow Connector 137">
              <a:extLst>
                <a:ext uri="{FF2B5EF4-FFF2-40B4-BE49-F238E27FC236}">
                  <a16:creationId xmlns:a16="http://schemas.microsoft.com/office/drawing/2014/main" id="{3DF702B6-48DA-47DE-8678-3E758F2FF8D2}"/>
                </a:ext>
              </a:extLst>
            </p:cNvPr>
            <p:cNvCxnSpPr>
              <a:cxnSpLocks/>
            </p:cNvCxnSpPr>
            <p:nvPr/>
          </p:nvCxnSpPr>
          <p:spPr>
            <a:xfrm flipH="1">
              <a:off x="7225342" y="2817944"/>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grpSp>
        <p:nvGrpSpPr>
          <p:cNvPr id="159" name="Group 158">
            <a:extLst>
              <a:ext uri="{FF2B5EF4-FFF2-40B4-BE49-F238E27FC236}">
                <a16:creationId xmlns:a16="http://schemas.microsoft.com/office/drawing/2014/main" id="{A2E19B68-5BFC-417C-A8E1-B4F999AF35FB}"/>
              </a:ext>
            </a:extLst>
          </p:cNvPr>
          <p:cNvGrpSpPr/>
          <p:nvPr/>
        </p:nvGrpSpPr>
        <p:grpSpPr>
          <a:xfrm>
            <a:off x="8645839" y="1233697"/>
            <a:ext cx="1508816" cy="1903909"/>
            <a:chOff x="8645839" y="1233697"/>
            <a:chExt cx="1508816" cy="1903909"/>
          </a:xfrm>
        </p:grpSpPr>
        <p:grpSp>
          <p:nvGrpSpPr>
            <p:cNvPr id="146" name="Group 145">
              <a:extLst>
                <a:ext uri="{FF2B5EF4-FFF2-40B4-BE49-F238E27FC236}">
                  <a16:creationId xmlns:a16="http://schemas.microsoft.com/office/drawing/2014/main" id="{42F10535-D1BA-4184-9B0E-51035D53A563}"/>
                </a:ext>
              </a:extLst>
            </p:cNvPr>
            <p:cNvGrpSpPr/>
            <p:nvPr/>
          </p:nvGrpSpPr>
          <p:grpSpPr>
            <a:xfrm>
              <a:off x="9123845" y="1233697"/>
              <a:ext cx="1030810" cy="1903909"/>
              <a:chOff x="9027590" y="1233697"/>
              <a:chExt cx="1030810" cy="1903909"/>
            </a:xfrm>
          </p:grpSpPr>
          <p:pic>
            <p:nvPicPr>
              <p:cNvPr id="115" name="Graphic 114">
                <a:extLst>
                  <a:ext uri="{FF2B5EF4-FFF2-40B4-BE49-F238E27FC236}">
                    <a16:creationId xmlns:a16="http://schemas.microsoft.com/office/drawing/2014/main" id="{331634E5-8D91-4663-BD6C-9CC5EEDD8E0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187187" y="1233697"/>
                <a:ext cx="639423" cy="719349"/>
              </a:xfrm>
              <a:prstGeom prst="rect">
                <a:avLst/>
              </a:prstGeom>
            </p:spPr>
          </p:pic>
          <p:sp>
            <p:nvSpPr>
              <p:cNvPr id="121" name="Title 1">
                <a:extLst>
                  <a:ext uri="{FF2B5EF4-FFF2-40B4-BE49-F238E27FC236}">
                    <a16:creationId xmlns:a16="http://schemas.microsoft.com/office/drawing/2014/main" id="{964E84BD-70D9-4CC7-BC4D-58BB09612179}"/>
                  </a:ext>
                </a:extLst>
              </p:cNvPr>
              <p:cNvSpPr txBox="1">
                <a:spLocks/>
              </p:cNvSpPr>
              <p:nvPr/>
            </p:nvSpPr>
            <p:spPr>
              <a:xfrm>
                <a:off x="9265899" y="1950430"/>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7.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22" name="Title 1">
                <a:extLst>
                  <a:ext uri="{FF2B5EF4-FFF2-40B4-BE49-F238E27FC236}">
                    <a16:creationId xmlns:a16="http://schemas.microsoft.com/office/drawing/2014/main" id="{A310D193-C048-41A7-BC48-99BD3C0EFE20}"/>
                  </a:ext>
                </a:extLst>
              </p:cNvPr>
              <p:cNvSpPr txBox="1">
                <a:spLocks/>
              </p:cNvSpPr>
              <p:nvPr/>
            </p:nvSpPr>
            <p:spPr>
              <a:xfrm>
                <a:off x="9027590" y="2491275"/>
                <a:ext cx="1030810" cy="64633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Deploy and </a:t>
                </a:r>
                <a:b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onitor updates </a:t>
                </a:r>
              </a:p>
            </p:txBody>
          </p:sp>
        </p:grpSp>
        <p:cxnSp>
          <p:nvCxnSpPr>
            <p:cNvPr id="139" name="Straight Arrow Connector 138">
              <a:extLst>
                <a:ext uri="{FF2B5EF4-FFF2-40B4-BE49-F238E27FC236}">
                  <a16:creationId xmlns:a16="http://schemas.microsoft.com/office/drawing/2014/main" id="{0237B98B-E142-4745-AB9D-89E80F51DFDD}"/>
                </a:ext>
              </a:extLst>
            </p:cNvPr>
            <p:cNvCxnSpPr>
              <a:cxnSpLocks/>
            </p:cNvCxnSpPr>
            <p:nvPr/>
          </p:nvCxnSpPr>
          <p:spPr>
            <a:xfrm flipH="1">
              <a:off x="8645839" y="2196826"/>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grpSp>
        <p:nvGrpSpPr>
          <p:cNvPr id="160" name="Group 159">
            <a:extLst>
              <a:ext uri="{FF2B5EF4-FFF2-40B4-BE49-F238E27FC236}">
                <a16:creationId xmlns:a16="http://schemas.microsoft.com/office/drawing/2014/main" id="{734F4C95-DCC7-4E0A-AC42-B144A05CBD6A}"/>
              </a:ext>
            </a:extLst>
          </p:cNvPr>
          <p:cNvGrpSpPr/>
          <p:nvPr/>
        </p:nvGrpSpPr>
        <p:grpSpPr>
          <a:xfrm>
            <a:off x="10145099" y="733926"/>
            <a:ext cx="1588552" cy="1509053"/>
            <a:chOff x="10145099" y="733926"/>
            <a:chExt cx="1588552" cy="1509053"/>
          </a:xfrm>
        </p:grpSpPr>
        <p:cxnSp>
          <p:nvCxnSpPr>
            <p:cNvPr id="147" name="Straight Arrow Connector 146">
              <a:extLst>
                <a:ext uri="{FF2B5EF4-FFF2-40B4-BE49-F238E27FC236}">
                  <a16:creationId xmlns:a16="http://schemas.microsoft.com/office/drawing/2014/main" id="{5A54256F-AC89-47B7-9757-0AC895347E24}"/>
                </a:ext>
              </a:extLst>
            </p:cNvPr>
            <p:cNvCxnSpPr>
              <a:cxnSpLocks/>
            </p:cNvCxnSpPr>
            <p:nvPr/>
          </p:nvCxnSpPr>
          <p:spPr>
            <a:xfrm flipH="1">
              <a:off x="10145099" y="1571184"/>
              <a:ext cx="653997" cy="0"/>
            </a:xfrm>
            <a:prstGeom prst="straightConnector1">
              <a:avLst/>
            </a:prstGeom>
            <a:ln w="19050">
              <a:gradFill flip="none" rotWithShape="1">
                <a:gsLst>
                  <a:gs pos="0">
                    <a:schemeClr val="accent5"/>
                  </a:gs>
                  <a:gs pos="100000">
                    <a:schemeClr val="tx2"/>
                  </a:gs>
                </a:gsLst>
                <a:lin ang="10800000" scaled="1"/>
                <a:tileRect/>
              </a:gradFill>
              <a:headEnd type="triangle" w="sm" len="med"/>
              <a:tailEnd type="none" w="sm" len="med"/>
            </a:ln>
          </p:spPr>
          <p:style>
            <a:lnRef idx="1">
              <a:schemeClr val="accent5"/>
            </a:lnRef>
            <a:fillRef idx="0">
              <a:schemeClr val="accent5"/>
            </a:fillRef>
            <a:effectRef idx="0">
              <a:schemeClr val="accent5"/>
            </a:effectRef>
            <a:fontRef idx="minor">
              <a:schemeClr val="tx1"/>
            </a:fontRef>
          </p:style>
        </p:cxnSp>
        <p:grpSp>
          <p:nvGrpSpPr>
            <p:cNvPr id="151" name="Group 150">
              <a:extLst>
                <a:ext uri="{FF2B5EF4-FFF2-40B4-BE49-F238E27FC236}">
                  <a16:creationId xmlns:a16="http://schemas.microsoft.com/office/drawing/2014/main" id="{654567DA-7AB5-4C19-B495-7B83712F278C}"/>
                </a:ext>
              </a:extLst>
            </p:cNvPr>
            <p:cNvGrpSpPr/>
            <p:nvPr/>
          </p:nvGrpSpPr>
          <p:grpSpPr>
            <a:xfrm>
              <a:off x="10702841" y="733926"/>
              <a:ext cx="1030810" cy="1509053"/>
              <a:chOff x="10498297" y="733926"/>
              <a:chExt cx="1030810" cy="1509053"/>
            </a:xfrm>
          </p:grpSpPr>
          <p:sp>
            <p:nvSpPr>
              <p:cNvPr id="148" name="Title 1">
                <a:extLst>
                  <a:ext uri="{FF2B5EF4-FFF2-40B4-BE49-F238E27FC236}">
                    <a16:creationId xmlns:a16="http://schemas.microsoft.com/office/drawing/2014/main" id="{F5039EDC-94A3-48CE-8EE4-36624A74F297}"/>
                  </a:ext>
                </a:extLst>
              </p:cNvPr>
              <p:cNvSpPr txBox="1">
                <a:spLocks/>
              </p:cNvSpPr>
              <p:nvPr/>
            </p:nvSpPr>
            <p:spPr>
              <a:xfrm>
                <a:off x="10736607" y="1271247"/>
                <a:ext cx="55419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8. </a:t>
                </a:r>
                <a:endParaRPr kumimoji="0" lang="en-US" sz="2000" b="0" i="1"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49" name="Title 1">
                <a:extLst>
                  <a:ext uri="{FF2B5EF4-FFF2-40B4-BE49-F238E27FC236}">
                    <a16:creationId xmlns:a16="http://schemas.microsoft.com/office/drawing/2014/main" id="{6610FDD4-1D46-4BEC-B52F-6D2EF4EDF297}"/>
                  </a:ext>
                </a:extLst>
              </p:cNvPr>
              <p:cNvSpPr txBox="1">
                <a:spLocks/>
              </p:cNvSpPr>
              <p:nvPr/>
            </p:nvSpPr>
            <p:spPr>
              <a:xfrm>
                <a:off x="10498297" y="1812092"/>
                <a:ext cx="103081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View reporting</a:t>
                </a:r>
              </a:p>
            </p:txBody>
          </p:sp>
          <p:pic>
            <p:nvPicPr>
              <p:cNvPr id="150" name="Graphic 149">
                <a:extLst>
                  <a:ext uri="{FF2B5EF4-FFF2-40B4-BE49-F238E27FC236}">
                    <a16:creationId xmlns:a16="http://schemas.microsoft.com/office/drawing/2014/main" id="{61E8BE2D-E20C-41ED-B0D4-82A85FB8D66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80929" y="733926"/>
                <a:ext cx="665546" cy="499160"/>
              </a:xfrm>
              <a:prstGeom prst="rect">
                <a:avLst/>
              </a:prstGeom>
            </p:spPr>
          </p:pic>
        </p:grpSp>
      </p:grpSp>
    </p:spTree>
    <p:extLst>
      <p:ext uri="{BB962C8B-B14F-4D97-AF65-F5344CB8AC3E}">
        <p14:creationId xmlns:p14="http://schemas.microsoft.com/office/powerpoint/2010/main" val="3731221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par>
                                <p:cTn id="8" presetID="42" presetClass="path" presetSubtype="0" decel="100000" fill="hold" nodeType="withEffect">
                                  <p:stCondLst>
                                    <p:cond delay="0"/>
                                  </p:stCondLst>
                                  <p:childTnLst>
                                    <p:animMotion origin="layout" path="M 0 4.44444E-6 L 0 0.01898 " pathEditMode="relative" rAng="0" ptsTypes="AA">
                                      <p:cBhvr>
                                        <p:cTn id="9" dur="700" spd="-100000" fill="hold"/>
                                        <p:tgtEl>
                                          <p:spTgt spid="140"/>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154"/>
                                        </p:tgtEl>
                                        <p:attrNameLst>
                                          <p:attrName>style.visibility</p:attrName>
                                        </p:attrNameLst>
                                      </p:cBhvr>
                                      <p:to>
                                        <p:strVal val="visible"/>
                                      </p:to>
                                    </p:set>
                                    <p:animEffect transition="in" filter="fade">
                                      <p:cBhvr>
                                        <p:cTn id="12" dur="500"/>
                                        <p:tgtEl>
                                          <p:spTgt spid="154"/>
                                        </p:tgtEl>
                                      </p:cBhvr>
                                    </p:animEffect>
                                  </p:childTnLst>
                                </p:cTn>
                              </p:par>
                              <p:par>
                                <p:cTn id="13" presetID="42" presetClass="path" presetSubtype="0" decel="100000" fill="hold" nodeType="withEffect">
                                  <p:stCondLst>
                                    <p:cond delay="250"/>
                                  </p:stCondLst>
                                  <p:childTnLst>
                                    <p:animMotion origin="layout" path="M 0 4.44444E-6 L 0 0.01898 " pathEditMode="relative" rAng="0" ptsTypes="AA">
                                      <p:cBhvr>
                                        <p:cTn id="14" dur="700" spd="-100000" fill="hold"/>
                                        <p:tgtEl>
                                          <p:spTgt spid="154"/>
                                        </p:tgtEl>
                                        <p:attrNameLst>
                                          <p:attrName>ppt_x</p:attrName>
                                          <p:attrName>ppt_y</p:attrName>
                                        </p:attrNameLst>
                                      </p:cBhvr>
                                      <p:rCtr x="0" y="949"/>
                                    </p:animMotion>
                                  </p:childTnLst>
                                </p:cTn>
                              </p:par>
                              <p:par>
                                <p:cTn id="15" presetID="10" presetClass="entr" presetSubtype="0" fill="hold" nodeType="withEffect">
                                  <p:stCondLst>
                                    <p:cond delay="500"/>
                                  </p:stCondLst>
                                  <p:childTnLst>
                                    <p:set>
                                      <p:cBhvr>
                                        <p:cTn id="16" dur="1" fill="hold">
                                          <p:stCondLst>
                                            <p:cond delay="0"/>
                                          </p:stCondLst>
                                        </p:cTn>
                                        <p:tgtEl>
                                          <p:spTgt spid="155"/>
                                        </p:tgtEl>
                                        <p:attrNameLst>
                                          <p:attrName>style.visibility</p:attrName>
                                        </p:attrNameLst>
                                      </p:cBhvr>
                                      <p:to>
                                        <p:strVal val="visible"/>
                                      </p:to>
                                    </p:set>
                                    <p:animEffect transition="in" filter="fade">
                                      <p:cBhvr>
                                        <p:cTn id="17" dur="500"/>
                                        <p:tgtEl>
                                          <p:spTgt spid="155"/>
                                        </p:tgtEl>
                                      </p:cBhvr>
                                    </p:animEffect>
                                  </p:childTnLst>
                                </p:cTn>
                              </p:par>
                              <p:par>
                                <p:cTn id="18" presetID="42" presetClass="path" presetSubtype="0" decel="100000" fill="hold" nodeType="withEffect">
                                  <p:stCondLst>
                                    <p:cond delay="500"/>
                                  </p:stCondLst>
                                  <p:childTnLst>
                                    <p:animMotion origin="layout" path="M 0 4.44444E-6 L 0 0.01898 " pathEditMode="relative" rAng="0" ptsTypes="AA">
                                      <p:cBhvr>
                                        <p:cTn id="19" dur="700" spd="-100000" fill="hold"/>
                                        <p:tgtEl>
                                          <p:spTgt spid="155"/>
                                        </p:tgtEl>
                                        <p:attrNameLst>
                                          <p:attrName>ppt_x</p:attrName>
                                          <p:attrName>ppt_y</p:attrName>
                                        </p:attrNameLst>
                                      </p:cBhvr>
                                      <p:rCtr x="0" y="949"/>
                                    </p:animMotion>
                                  </p:childTnLst>
                                </p:cTn>
                              </p:par>
                              <p:par>
                                <p:cTn id="20" presetID="10" presetClass="entr" presetSubtype="0" fill="hold" nodeType="withEffect">
                                  <p:stCondLst>
                                    <p:cond delay="750"/>
                                  </p:stCondLst>
                                  <p:childTnLst>
                                    <p:set>
                                      <p:cBhvr>
                                        <p:cTn id="21" dur="1" fill="hold">
                                          <p:stCondLst>
                                            <p:cond delay="0"/>
                                          </p:stCondLst>
                                        </p:cTn>
                                        <p:tgtEl>
                                          <p:spTgt spid="156"/>
                                        </p:tgtEl>
                                        <p:attrNameLst>
                                          <p:attrName>style.visibility</p:attrName>
                                        </p:attrNameLst>
                                      </p:cBhvr>
                                      <p:to>
                                        <p:strVal val="visible"/>
                                      </p:to>
                                    </p:set>
                                    <p:animEffect transition="in" filter="fade">
                                      <p:cBhvr>
                                        <p:cTn id="22" dur="500"/>
                                        <p:tgtEl>
                                          <p:spTgt spid="156"/>
                                        </p:tgtEl>
                                      </p:cBhvr>
                                    </p:animEffect>
                                  </p:childTnLst>
                                </p:cTn>
                              </p:par>
                              <p:par>
                                <p:cTn id="23" presetID="42" presetClass="path" presetSubtype="0" decel="100000" fill="hold" nodeType="withEffect">
                                  <p:stCondLst>
                                    <p:cond delay="750"/>
                                  </p:stCondLst>
                                  <p:childTnLst>
                                    <p:animMotion origin="layout" path="M 0 4.44444E-6 L 0 0.01898 " pathEditMode="relative" rAng="0" ptsTypes="AA">
                                      <p:cBhvr>
                                        <p:cTn id="24" dur="700" spd="-100000" fill="hold"/>
                                        <p:tgtEl>
                                          <p:spTgt spid="156"/>
                                        </p:tgtEl>
                                        <p:attrNameLst>
                                          <p:attrName>ppt_x</p:attrName>
                                          <p:attrName>ppt_y</p:attrName>
                                        </p:attrNameLst>
                                      </p:cBhvr>
                                      <p:rCtr x="0" y="949"/>
                                    </p:animMotion>
                                  </p:childTnLst>
                                </p:cTn>
                              </p:par>
                              <p:par>
                                <p:cTn id="25" presetID="10" presetClass="entr" presetSubtype="0" fill="hold" nodeType="withEffect">
                                  <p:stCondLst>
                                    <p:cond delay="1000"/>
                                  </p:stCondLst>
                                  <p:childTnLst>
                                    <p:set>
                                      <p:cBhvr>
                                        <p:cTn id="26" dur="1" fill="hold">
                                          <p:stCondLst>
                                            <p:cond delay="0"/>
                                          </p:stCondLst>
                                        </p:cTn>
                                        <p:tgtEl>
                                          <p:spTgt spid="157"/>
                                        </p:tgtEl>
                                        <p:attrNameLst>
                                          <p:attrName>style.visibility</p:attrName>
                                        </p:attrNameLst>
                                      </p:cBhvr>
                                      <p:to>
                                        <p:strVal val="visible"/>
                                      </p:to>
                                    </p:set>
                                    <p:animEffect transition="in" filter="fade">
                                      <p:cBhvr>
                                        <p:cTn id="27" dur="500"/>
                                        <p:tgtEl>
                                          <p:spTgt spid="157"/>
                                        </p:tgtEl>
                                      </p:cBhvr>
                                    </p:animEffect>
                                  </p:childTnLst>
                                </p:cTn>
                              </p:par>
                              <p:par>
                                <p:cTn id="28" presetID="42" presetClass="path" presetSubtype="0" decel="100000" fill="hold" nodeType="withEffect">
                                  <p:stCondLst>
                                    <p:cond delay="1000"/>
                                  </p:stCondLst>
                                  <p:childTnLst>
                                    <p:animMotion origin="layout" path="M 0 4.44444E-6 L 0 0.01898 " pathEditMode="relative" rAng="0" ptsTypes="AA">
                                      <p:cBhvr>
                                        <p:cTn id="29" dur="700" spd="-100000" fill="hold"/>
                                        <p:tgtEl>
                                          <p:spTgt spid="157"/>
                                        </p:tgtEl>
                                        <p:attrNameLst>
                                          <p:attrName>ppt_x</p:attrName>
                                          <p:attrName>ppt_y</p:attrName>
                                        </p:attrNameLst>
                                      </p:cBhvr>
                                      <p:rCtr x="0" y="949"/>
                                    </p:animMotion>
                                  </p:childTnLst>
                                </p:cTn>
                              </p:par>
                              <p:par>
                                <p:cTn id="30" presetID="10" presetClass="entr" presetSubtype="0" fill="hold" nodeType="withEffect">
                                  <p:stCondLst>
                                    <p:cond delay="1250"/>
                                  </p:stCondLst>
                                  <p:childTnLst>
                                    <p:set>
                                      <p:cBhvr>
                                        <p:cTn id="31" dur="1" fill="hold">
                                          <p:stCondLst>
                                            <p:cond delay="0"/>
                                          </p:stCondLst>
                                        </p:cTn>
                                        <p:tgtEl>
                                          <p:spTgt spid="158"/>
                                        </p:tgtEl>
                                        <p:attrNameLst>
                                          <p:attrName>style.visibility</p:attrName>
                                        </p:attrNameLst>
                                      </p:cBhvr>
                                      <p:to>
                                        <p:strVal val="visible"/>
                                      </p:to>
                                    </p:set>
                                    <p:animEffect transition="in" filter="fade">
                                      <p:cBhvr>
                                        <p:cTn id="32" dur="500"/>
                                        <p:tgtEl>
                                          <p:spTgt spid="158"/>
                                        </p:tgtEl>
                                      </p:cBhvr>
                                    </p:animEffect>
                                  </p:childTnLst>
                                </p:cTn>
                              </p:par>
                              <p:par>
                                <p:cTn id="33" presetID="42" presetClass="path" presetSubtype="0" decel="100000" fill="hold" nodeType="withEffect">
                                  <p:stCondLst>
                                    <p:cond delay="1250"/>
                                  </p:stCondLst>
                                  <p:childTnLst>
                                    <p:animMotion origin="layout" path="M 0 4.44444E-6 L 0 0.01898 " pathEditMode="relative" rAng="0" ptsTypes="AA">
                                      <p:cBhvr>
                                        <p:cTn id="34" dur="700" spd="-100000" fill="hold"/>
                                        <p:tgtEl>
                                          <p:spTgt spid="158"/>
                                        </p:tgtEl>
                                        <p:attrNameLst>
                                          <p:attrName>ppt_x</p:attrName>
                                          <p:attrName>ppt_y</p:attrName>
                                        </p:attrNameLst>
                                      </p:cBhvr>
                                      <p:rCtr x="0" y="949"/>
                                    </p:animMotion>
                                  </p:childTnLst>
                                </p:cTn>
                              </p:par>
                              <p:par>
                                <p:cTn id="35" presetID="10" presetClass="entr" presetSubtype="0" fill="hold" nodeType="withEffect">
                                  <p:stCondLst>
                                    <p:cond delay="1500"/>
                                  </p:stCondLst>
                                  <p:childTnLst>
                                    <p:set>
                                      <p:cBhvr>
                                        <p:cTn id="36" dur="1" fill="hold">
                                          <p:stCondLst>
                                            <p:cond delay="0"/>
                                          </p:stCondLst>
                                        </p:cTn>
                                        <p:tgtEl>
                                          <p:spTgt spid="159"/>
                                        </p:tgtEl>
                                        <p:attrNameLst>
                                          <p:attrName>style.visibility</p:attrName>
                                        </p:attrNameLst>
                                      </p:cBhvr>
                                      <p:to>
                                        <p:strVal val="visible"/>
                                      </p:to>
                                    </p:set>
                                    <p:animEffect transition="in" filter="fade">
                                      <p:cBhvr>
                                        <p:cTn id="37" dur="500"/>
                                        <p:tgtEl>
                                          <p:spTgt spid="159"/>
                                        </p:tgtEl>
                                      </p:cBhvr>
                                    </p:animEffect>
                                  </p:childTnLst>
                                </p:cTn>
                              </p:par>
                              <p:par>
                                <p:cTn id="38" presetID="42" presetClass="path" presetSubtype="0" decel="100000" fill="hold" nodeType="withEffect">
                                  <p:stCondLst>
                                    <p:cond delay="1500"/>
                                  </p:stCondLst>
                                  <p:childTnLst>
                                    <p:animMotion origin="layout" path="M 0 4.44444E-6 L 0 0.01898 " pathEditMode="relative" rAng="0" ptsTypes="AA">
                                      <p:cBhvr>
                                        <p:cTn id="39" dur="700" spd="-100000" fill="hold"/>
                                        <p:tgtEl>
                                          <p:spTgt spid="159"/>
                                        </p:tgtEl>
                                        <p:attrNameLst>
                                          <p:attrName>ppt_x</p:attrName>
                                          <p:attrName>ppt_y</p:attrName>
                                        </p:attrNameLst>
                                      </p:cBhvr>
                                      <p:rCtr x="0" y="949"/>
                                    </p:animMotion>
                                  </p:childTnLst>
                                </p:cTn>
                              </p:par>
                              <p:par>
                                <p:cTn id="40" presetID="10" presetClass="entr" presetSubtype="0" fill="hold" nodeType="withEffect">
                                  <p:stCondLst>
                                    <p:cond delay="1750"/>
                                  </p:stCondLst>
                                  <p:childTnLst>
                                    <p:set>
                                      <p:cBhvr>
                                        <p:cTn id="41" dur="1" fill="hold">
                                          <p:stCondLst>
                                            <p:cond delay="0"/>
                                          </p:stCondLst>
                                        </p:cTn>
                                        <p:tgtEl>
                                          <p:spTgt spid="160"/>
                                        </p:tgtEl>
                                        <p:attrNameLst>
                                          <p:attrName>style.visibility</p:attrName>
                                        </p:attrNameLst>
                                      </p:cBhvr>
                                      <p:to>
                                        <p:strVal val="visible"/>
                                      </p:to>
                                    </p:set>
                                    <p:animEffect transition="in" filter="fade">
                                      <p:cBhvr>
                                        <p:cTn id="42" dur="500"/>
                                        <p:tgtEl>
                                          <p:spTgt spid="160"/>
                                        </p:tgtEl>
                                      </p:cBhvr>
                                    </p:animEffect>
                                  </p:childTnLst>
                                </p:cTn>
                              </p:par>
                              <p:par>
                                <p:cTn id="43" presetID="42" presetClass="path" presetSubtype="0" decel="100000" fill="hold" nodeType="withEffect">
                                  <p:stCondLst>
                                    <p:cond delay="1750"/>
                                  </p:stCondLst>
                                  <p:childTnLst>
                                    <p:animMotion origin="layout" path="M 0 4.44444E-6 L 0 0.01898 " pathEditMode="relative" rAng="0" ptsTypes="AA">
                                      <p:cBhvr>
                                        <p:cTn id="44" dur="700" spd="-100000" fill="hold"/>
                                        <p:tgtEl>
                                          <p:spTgt spid="160"/>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0"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2">
            <a:extLst>
              <a:ext uri="{FF2B5EF4-FFF2-40B4-BE49-F238E27FC236}">
                <a16:creationId xmlns:a16="http://schemas.microsoft.com/office/drawing/2014/main" id="{29A868D5-116B-48F8-A7CB-9AFEF1E36C9D}"/>
              </a:ext>
            </a:extLst>
          </p:cNvPr>
          <p:cNvSpPr txBox="1">
            <a:spLocks/>
          </p:cNvSpPr>
          <p:nvPr/>
        </p:nvSpPr>
        <p:spPr>
          <a:xfrm>
            <a:off x="525091" y="3111335"/>
            <a:ext cx="10492313" cy="3412128"/>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4705" b="0" kern="1200" cap="none" spc="-49" baseline="0" dirty="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en-US" sz="3600" dirty="0">
                <a:gradFill>
                  <a:gsLst>
                    <a:gs pos="0">
                      <a:schemeClr val="accent5"/>
                    </a:gs>
                    <a:gs pos="100000">
                      <a:schemeClr val="accent4"/>
                    </a:gs>
                  </a:gsLst>
                  <a:lin ang="2700000" scaled="1"/>
                </a:gradFill>
              </a:rPr>
              <a:t>Demo</a:t>
            </a:r>
          </a:p>
          <a:p>
            <a:pPr marL="742950" indent="-742950">
              <a:buAutoNum type="arabicPeriod"/>
            </a:pPr>
            <a:endParaRPr lang="en-US" sz="3600" dirty="0">
              <a:gradFill>
                <a:gsLst>
                  <a:gs pos="0">
                    <a:schemeClr val="accent5"/>
                  </a:gs>
                  <a:gs pos="100000">
                    <a:schemeClr val="accent4"/>
                  </a:gs>
                </a:gsLst>
                <a:lin ang="2700000" scaled="1"/>
              </a:gradFill>
            </a:endParaRPr>
          </a:p>
          <a:p>
            <a:pPr marL="742950" indent="-742950">
              <a:buAutoNum type="arabicPeriod"/>
            </a:pPr>
            <a:endParaRPr lang="en-US" sz="3600" dirty="0">
              <a:gradFill>
                <a:gsLst>
                  <a:gs pos="0">
                    <a:schemeClr val="accent5"/>
                  </a:gs>
                  <a:gs pos="100000">
                    <a:schemeClr val="accent4"/>
                  </a:gs>
                </a:gsLst>
                <a:lin ang="2700000" scaled="1"/>
              </a:gradFill>
            </a:endParaRPr>
          </a:p>
          <a:p>
            <a:pPr marL="742950" indent="-742950">
              <a:buAutoNum type="arabicPeriod"/>
            </a:pPr>
            <a:endParaRPr lang="en-US" sz="3600" dirty="0">
              <a:gradFill>
                <a:gsLst>
                  <a:gs pos="0">
                    <a:schemeClr val="accent5"/>
                  </a:gs>
                  <a:gs pos="100000">
                    <a:schemeClr val="accent4"/>
                  </a:gs>
                </a:gsLst>
                <a:lin ang="2700000" scaled="1"/>
              </a:gradFill>
            </a:endParaRPr>
          </a:p>
          <a:p>
            <a:endParaRPr lang="en-US" sz="3600" dirty="0">
              <a:gradFill>
                <a:gsLst>
                  <a:gs pos="0">
                    <a:schemeClr val="accent5"/>
                  </a:gs>
                  <a:gs pos="100000">
                    <a:schemeClr val="accent4"/>
                  </a:gs>
                </a:gsLst>
                <a:lin ang="2700000" scaled="1"/>
              </a:gradFill>
            </a:endParaRPr>
          </a:p>
        </p:txBody>
      </p:sp>
    </p:spTree>
    <p:extLst>
      <p:ext uri="{BB962C8B-B14F-4D97-AF65-F5344CB8AC3E}">
        <p14:creationId xmlns:p14="http://schemas.microsoft.com/office/powerpoint/2010/main" val="3412495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2.70833E-6 -4.81481E-6 L 2.70833E-6 0.01899 " pathEditMode="relative" rAng="0" ptsTypes="AA">
                                      <p:cBhvr>
                                        <p:cTn id="9" dur="700" spd="-100000" fill="hold"/>
                                        <p:tgtEl>
                                          <p:spTgt spid="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9F1EFC2B-2135-4305-8F39-C1841A60B954}"/>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912621F7-19CD-6B4A-8900-FB4BCB77EC8A}"/>
              </a:ext>
            </a:extLst>
          </p:cNvPr>
          <p:cNvSpPr>
            <a:spLocks noGrp="1"/>
          </p:cNvSpPr>
          <p:nvPr>
            <p:ph type="title"/>
          </p:nvPr>
        </p:nvSpPr>
        <p:spPr/>
        <p:txBody>
          <a:bodyPr/>
          <a:lstStyle/>
          <a:p>
            <a:r>
              <a:rPr lang="en-US"/>
              <a:t>Using IoT as an operational Data Source</a:t>
            </a:r>
          </a:p>
        </p:txBody>
      </p:sp>
      <p:sp>
        <p:nvSpPr>
          <p:cNvPr id="50" name="Rectangle 49">
            <a:extLst>
              <a:ext uri="{FF2B5EF4-FFF2-40B4-BE49-F238E27FC236}">
                <a16:creationId xmlns:a16="http://schemas.microsoft.com/office/drawing/2014/main" id="{908E8CE3-58BA-479A-96E7-A5E5823D85DA}"/>
              </a:ext>
            </a:extLst>
          </p:cNvPr>
          <p:cNvSpPr/>
          <p:nvPr/>
        </p:nvSpPr>
        <p:spPr bwMode="auto">
          <a:xfrm>
            <a:off x="688094" y="1468438"/>
            <a:ext cx="1430084" cy="3529351"/>
          </a:xfrm>
          <a:prstGeom prst="rect">
            <a:avLst/>
          </a:prstGeom>
          <a:solidFill>
            <a:schemeClr val="tx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12" name="Group 11">
            <a:extLst>
              <a:ext uri="{FF2B5EF4-FFF2-40B4-BE49-F238E27FC236}">
                <a16:creationId xmlns:a16="http://schemas.microsoft.com/office/drawing/2014/main" id="{591E005E-A937-42D5-BD02-53B35F544AFC}"/>
              </a:ext>
            </a:extLst>
          </p:cNvPr>
          <p:cNvGrpSpPr/>
          <p:nvPr/>
        </p:nvGrpSpPr>
        <p:grpSpPr>
          <a:xfrm>
            <a:off x="843491" y="2888789"/>
            <a:ext cx="1459797" cy="360000"/>
            <a:chOff x="4051094" y="3143895"/>
            <a:chExt cx="1459797" cy="360000"/>
          </a:xfrm>
        </p:grpSpPr>
        <p:sp>
          <p:nvSpPr>
            <p:cNvPr id="53" name="TextBox 52">
              <a:extLst>
                <a:ext uri="{FF2B5EF4-FFF2-40B4-BE49-F238E27FC236}">
                  <a16:creationId xmlns:a16="http://schemas.microsoft.com/office/drawing/2014/main" id="{0E30BD84-8BF0-4944-88C0-C34DAE64AD03}"/>
                </a:ext>
              </a:extLst>
            </p:cNvPr>
            <p:cNvSpPr txBox="1"/>
            <p:nvPr/>
          </p:nvSpPr>
          <p:spPr>
            <a:xfrm>
              <a:off x="4632938" y="3157739"/>
              <a:ext cx="877953" cy="332312"/>
            </a:xfrm>
            <a:prstGeom prst="rect">
              <a:avLst/>
            </a:prstGeom>
            <a:noFill/>
          </p:spPr>
          <p:txBody>
            <a:bodyPr wrap="square" lIns="0" tIns="0" rIns="0" bIns="0" rtlCol="0">
              <a:spAutoFit/>
            </a:bodyPr>
            <a:lstStyle/>
            <a:p>
              <a:pPr defTabSz="914093">
                <a:lnSpc>
                  <a:spcPct val="90000"/>
                </a:lnSpc>
                <a:defRPr/>
              </a:pPr>
              <a:r>
                <a:rPr lang="en-US" sz="1200" kern="0">
                  <a:solidFill>
                    <a:srgbClr val="000000"/>
                  </a:solidFill>
                  <a:latin typeface="Segoe UI Semibold"/>
                  <a:sym typeface="Segoe UI Semibold"/>
                </a:rPr>
                <a:t>Azure </a:t>
              </a:r>
              <a:br>
                <a:rPr lang="en-US" sz="1200" kern="0">
                  <a:solidFill>
                    <a:srgbClr val="000000"/>
                  </a:solidFill>
                  <a:latin typeface="Segoe UI Semibold"/>
                  <a:sym typeface="Segoe UI Semibold"/>
                </a:rPr>
              </a:br>
              <a:r>
                <a:rPr lang="en-US" sz="1200" kern="0">
                  <a:solidFill>
                    <a:srgbClr val="000000"/>
                  </a:solidFill>
                  <a:latin typeface="Segoe UI Semibold"/>
                  <a:sym typeface="Segoe UI Semibold"/>
                </a:rPr>
                <a:t>IoT Hub</a:t>
              </a:r>
            </a:p>
          </p:txBody>
        </p:sp>
        <p:pic>
          <p:nvPicPr>
            <p:cNvPr id="54" name="Graphic 53">
              <a:extLst>
                <a:ext uri="{FF2B5EF4-FFF2-40B4-BE49-F238E27FC236}">
                  <a16:creationId xmlns:a16="http://schemas.microsoft.com/office/drawing/2014/main" id="{0B5D69B3-9DA5-42A7-A352-E348B834EA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1094" y="3143895"/>
              <a:ext cx="360000" cy="360000"/>
            </a:xfrm>
            <a:prstGeom prst="rect">
              <a:avLst/>
            </a:prstGeom>
          </p:spPr>
        </p:pic>
      </p:grpSp>
      <p:grpSp>
        <p:nvGrpSpPr>
          <p:cNvPr id="95" name="Group 94">
            <a:extLst>
              <a:ext uri="{FF2B5EF4-FFF2-40B4-BE49-F238E27FC236}">
                <a16:creationId xmlns:a16="http://schemas.microsoft.com/office/drawing/2014/main" id="{9C80676B-4525-4D77-B1DE-CBA5D10209FF}"/>
              </a:ext>
            </a:extLst>
          </p:cNvPr>
          <p:cNvGrpSpPr/>
          <p:nvPr/>
        </p:nvGrpSpPr>
        <p:grpSpPr>
          <a:xfrm>
            <a:off x="3618714" y="2430718"/>
            <a:ext cx="3693788" cy="1401882"/>
            <a:chOff x="2885249" y="2515577"/>
            <a:chExt cx="3052481" cy="1401882"/>
          </a:xfrm>
          <a:solidFill>
            <a:schemeClr val="tx1"/>
          </a:solidFill>
        </p:grpSpPr>
        <p:sp>
          <p:nvSpPr>
            <p:cNvPr id="116" name="Rectangle 115">
              <a:extLst>
                <a:ext uri="{FF2B5EF4-FFF2-40B4-BE49-F238E27FC236}">
                  <a16:creationId xmlns:a16="http://schemas.microsoft.com/office/drawing/2014/main" id="{8071C4AA-F47E-4433-BD73-06B070257543}"/>
                </a:ext>
              </a:extLst>
            </p:cNvPr>
            <p:cNvSpPr/>
            <p:nvPr/>
          </p:nvSpPr>
          <p:spPr bwMode="auto">
            <a:xfrm>
              <a:off x="2885249" y="2515577"/>
              <a:ext cx="3052481" cy="1401882"/>
            </a:xfrm>
            <a:prstGeom prst="rect">
              <a:avLst/>
            </a:prstGeom>
            <a:grp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sp>
          <p:nvSpPr>
            <p:cNvPr id="119" name="TextBox 118">
              <a:extLst>
                <a:ext uri="{FF2B5EF4-FFF2-40B4-BE49-F238E27FC236}">
                  <a16:creationId xmlns:a16="http://schemas.microsoft.com/office/drawing/2014/main" id="{40691262-3D00-43E0-9970-139F05CC36E1}"/>
                </a:ext>
              </a:extLst>
            </p:cNvPr>
            <p:cNvSpPr txBox="1"/>
            <p:nvPr/>
          </p:nvSpPr>
          <p:spPr>
            <a:xfrm>
              <a:off x="3081283" y="2716840"/>
              <a:ext cx="907398" cy="1107996"/>
            </a:xfrm>
            <a:prstGeom prst="rect">
              <a:avLst/>
            </a:prstGeom>
            <a:grpFill/>
          </p:spPr>
          <p:txBody>
            <a:bodyPr wrap="square" lIns="0" tIns="0" rIns="0" bIns="0" rtlCol="0">
              <a:spAutoFit/>
            </a:bodyPr>
            <a:lstStyle/>
            <a:p>
              <a:pPr defTabSz="914093">
                <a:lnSpc>
                  <a:spcPct val="90000"/>
                </a:lnSpc>
                <a:defRPr/>
              </a:pPr>
              <a:r>
                <a:rPr lang="en-US" sz="8000" kern="0">
                  <a:solidFill>
                    <a:srgbClr val="008575"/>
                  </a:solidFill>
                  <a:latin typeface="Segoe UI Semibold"/>
                  <a:sym typeface="Segoe UI Semibold"/>
                </a:rPr>
                <a:t>?</a:t>
              </a:r>
            </a:p>
          </p:txBody>
        </p:sp>
        <p:sp>
          <p:nvSpPr>
            <p:cNvPr id="18" name="TextBox 17">
              <a:extLst>
                <a:ext uri="{FF2B5EF4-FFF2-40B4-BE49-F238E27FC236}">
                  <a16:creationId xmlns:a16="http://schemas.microsoft.com/office/drawing/2014/main" id="{BF7AC315-6139-4916-A17B-26917F9365AE}"/>
                </a:ext>
              </a:extLst>
            </p:cNvPr>
            <p:cNvSpPr txBox="1"/>
            <p:nvPr/>
          </p:nvSpPr>
          <p:spPr>
            <a:xfrm>
              <a:off x="3715332" y="2849830"/>
              <a:ext cx="2160857" cy="276999"/>
            </a:xfrm>
            <a:prstGeom prst="rect">
              <a:avLst/>
            </a:prstGeom>
            <a:grpFill/>
          </p:spPr>
          <p:txBody>
            <a:bodyPr wrap="square" lIns="0" tIns="0" rIns="0" bIns="0" rtlCol="0">
              <a:spAutoFit/>
            </a:bodyPr>
            <a:lstStyle/>
            <a:p>
              <a:pPr defTabSz="914093">
                <a:lnSpc>
                  <a:spcPct val="90000"/>
                </a:lnSpc>
                <a:defRPr/>
              </a:pPr>
              <a:r>
                <a:rPr lang="en-US" sz="2000" kern="0" spc="-150">
                  <a:solidFill>
                    <a:srgbClr val="008575"/>
                  </a:solidFill>
                  <a:latin typeface="Segoe UI Semibold"/>
                  <a:sym typeface="Segoe UI Semibold"/>
                </a:rPr>
                <a:t>Where to store our data ?</a:t>
              </a:r>
            </a:p>
          </p:txBody>
        </p:sp>
        <p:sp>
          <p:nvSpPr>
            <p:cNvPr id="20" name="TextBox 19">
              <a:extLst>
                <a:ext uri="{FF2B5EF4-FFF2-40B4-BE49-F238E27FC236}">
                  <a16:creationId xmlns:a16="http://schemas.microsoft.com/office/drawing/2014/main" id="{8400EA9F-82E5-4E61-BAF5-E611D2E2272D}"/>
                </a:ext>
              </a:extLst>
            </p:cNvPr>
            <p:cNvSpPr txBox="1"/>
            <p:nvPr/>
          </p:nvSpPr>
          <p:spPr>
            <a:xfrm>
              <a:off x="3482279" y="3304134"/>
              <a:ext cx="2330116" cy="276999"/>
            </a:xfrm>
            <a:prstGeom prst="rect">
              <a:avLst/>
            </a:prstGeom>
            <a:grpFill/>
          </p:spPr>
          <p:txBody>
            <a:bodyPr wrap="square" lIns="0" tIns="0" rIns="0" bIns="0" rtlCol="0">
              <a:spAutoFit/>
            </a:bodyPr>
            <a:lstStyle/>
            <a:p>
              <a:pPr defTabSz="914093">
                <a:lnSpc>
                  <a:spcPct val="90000"/>
                </a:lnSpc>
                <a:defRPr/>
              </a:pPr>
              <a:r>
                <a:rPr lang="en-US" sz="2000" kern="0" spc="-150">
                  <a:solidFill>
                    <a:srgbClr val="008575"/>
                  </a:solidFill>
                  <a:latin typeface="Segoe UI Semibold"/>
                  <a:sym typeface="Segoe UI Semibold"/>
                </a:rPr>
                <a:t>Where to process our data ?</a:t>
              </a:r>
            </a:p>
          </p:txBody>
        </p:sp>
      </p:grpSp>
      <p:cxnSp>
        <p:nvCxnSpPr>
          <p:cNvPr id="122" name="Straight Arrow Connector 121">
            <a:extLst>
              <a:ext uri="{FF2B5EF4-FFF2-40B4-BE49-F238E27FC236}">
                <a16:creationId xmlns:a16="http://schemas.microsoft.com/office/drawing/2014/main" id="{79B296E7-F04C-40A9-A445-185261CA1C3E}"/>
              </a:ext>
            </a:extLst>
          </p:cNvPr>
          <p:cNvCxnSpPr>
            <a:cxnSpLocks/>
          </p:cNvCxnSpPr>
          <p:nvPr/>
        </p:nvCxnSpPr>
        <p:spPr>
          <a:xfrm>
            <a:off x="2118179" y="3204730"/>
            <a:ext cx="1417185" cy="0"/>
          </a:xfrm>
          <a:prstGeom prst="straightConnector1">
            <a:avLst/>
          </a:prstGeom>
          <a:noFill/>
          <a:ln w="19050" cap="flat" cmpd="sng" algn="ctr">
            <a:solidFill>
              <a:schemeClr val="tx1"/>
            </a:solidFill>
            <a:prstDash val="solid"/>
            <a:headEnd type="none" w="lg" len="med"/>
            <a:tailEnd type="triangle" w="med" len="med"/>
          </a:ln>
          <a:effectLst/>
        </p:spPr>
      </p:cxnSp>
      <p:cxnSp>
        <p:nvCxnSpPr>
          <p:cNvPr id="123" name="Straight Arrow Connector 122">
            <a:extLst>
              <a:ext uri="{FF2B5EF4-FFF2-40B4-BE49-F238E27FC236}">
                <a16:creationId xmlns:a16="http://schemas.microsoft.com/office/drawing/2014/main" id="{21236C44-E393-48C3-B012-17DCB4E595C8}"/>
              </a:ext>
            </a:extLst>
          </p:cNvPr>
          <p:cNvCxnSpPr>
            <a:cxnSpLocks/>
          </p:cNvCxnSpPr>
          <p:nvPr/>
        </p:nvCxnSpPr>
        <p:spPr>
          <a:xfrm flipH="1">
            <a:off x="7395852" y="3185980"/>
            <a:ext cx="2168109" cy="20369"/>
          </a:xfrm>
          <a:prstGeom prst="straightConnector1">
            <a:avLst/>
          </a:prstGeom>
          <a:noFill/>
          <a:ln w="19050" cap="flat" cmpd="sng" algn="ctr">
            <a:solidFill>
              <a:schemeClr val="tx1"/>
            </a:solidFill>
            <a:prstDash val="solid"/>
            <a:headEnd type="none" w="lg" len="med"/>
            <a:tailEnd type="triangle" w="med" len="med"/>
          </a:ln>
          <a:effectLst/>
        </p:spPr>
      </p:cxnSp>
      <p:sp>
        <p:nvSpPr>
          <p:cNvPr id="57" name="Rectangle 56">
            <a:extLst>
              <a:ext uri="{FF2B5EF4-FFF2-40B4-BE49-F238E27FC236}">
                <a16:creationId xmlns:a16="http://schemas.microsoft.com/office/drawing/2014/main" id="{4E948A42-7075-4281-AB6C-9F32A4F37310}"/>
              </a:ext>
            </a:extLst>
          </p:cNvPr>
          <p:cNvSpPr/>
          <p:nvPr/>
        </p:nvSpPr>
        <p:spPr bwMode="auto">
          <a:xfrm>
            <a:off x="9519366" y="1468438"/>
            <a:ext cx="1841930" cy="3529351"/>
          </a:xfrm>
          <a:prstGeom prst="rect">
            <a:avLst/>
          </a:prstGeom>
          <a:solidFill>
            <a:schemeClr val="tx1"/>
          </a:solidFill>
          <a:ln w="12700" cap="flat" cmpd="sng" algn="ctr">
            <a:noFill/>
            <a:prstDash val="solid"/>
            <a:headEnd type="none" w="med" len="med"/>
            <a:tailEnd type="none" w="med" len="med"/>
          </a:ln>
          <a:effectLst>
            <a:outerShdw blurRad="127000" dist="38100" dir="5400000" algn="ctr" rotWithShape="0">
              <a:prstClr val="black">
                <a:alpha val="34000"/>
              </a:prstClr>
            </a:outerShdw>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4093">
              <a:lnSpc>
                <a:spcPct val="90000"/>
              </a:lnSpc>
              <a:spcAft>
                <a:spcPts val="600"/>
              </a:spcAft>
              <a:defRPr/>
            </a:pPr>
            <a:endParaRPr lang="en-US" sz="1764" kern="0">
              <a:solidFill>
                <a:srgbClr val="0078D7"/>
              </a:solidFill>
              <a:latin typeface="Segoe UI Semibold"/>
              <a:sym typeface="Segoe UI Semibold"/>
            </a:endParaRPr>
          </a:p>
        </p:txBody>
      </p:sp>
      <p:grpSp>
        <p:nvGrpSpPr>
          <p:cNvPr id="51" name="Group 50">
            <a:extLst>
              <a:ext uri="{FF2B5EF4-FFF2-40B4-BE49-F238E27FC236}">
                <a16:creationId xmlns:a16="http://schemas.microsoft.com/office/drawing/2014/main" id="{A4AC3279-830A-4628-931B-931C9B9DD62E}"/>
              </a:ext>
            </a:extLst>
          </p:cNvPr>
          <p:cNvGrpSpPr/>
          <p:nvPr/>
        </p:nvGrpSpPr>
        <p:grpSpPr>
          <a:xfrm>
            <a:off x="9818146" y="3053987"/>
            <a:ext cx="1252935" cy="358250"/>
            <a:chOff x="9730105" y="3501775"/>
            <a:chExt cx="1252935" cy="358250"/>
          </a:xfrm>
        </p:grpSpPr>
        <p:sp>
          <p:nvSpPr>
            <p:cNvPr id="58" name="TextBox 57">
              <a:extLst>
                <a:ext uri="{FF2B5EF4-FFF2-40B4-BE49-F238E27FC236}">
                  <a16:creationId xmlns:a16="http://schemas.microsoft.com/office/drawing/2014/main" id="{CDBA0939-8AA3-4E72-B317-BBE45D1DC071}"/>
                </a:ext>
              </a:extLst>
            </p:cNvPr>
            <p:cNvSpPr txBox="1"/>
            <p:nvPr/>
          </p:nvSpPr>
          <p:spPr>
            <a:xfrm>
              <a:off x="10374997" y="3640359"/>
              <a:ext cx="608043" cy="166156"/>
            </a:xfrm>
            <a:prstGeom prst="rect">
              <a:avLst/>
            </a:prstGeom>
            <a:noFill/>
            <a:ln>
              <a:noFill/>
            </a:ln>
          </p:spPr>
          <p:txBody>
            <a:bodyPr wrap="square" lIns="0" tIns="0" rIns="0" bIns="0" rtlCol="0">
              <a:spAutoFit/>
            </a:bodyPr>
            <a:lstStyle/>
            <a:p>
              <a:pPr defTabSz="914093">
                <a:lnSpc>
                  <a:spcPct val="90000"/>
                </a:lnSpc>
                <a:defRPr/>
              </a:pPr>
              <a:r>
                <a:rPr lang="en-US" sz="1200">
                  <a:solidFill>
                    <a:srgbClr val="000000"/>
                  </a:solidFill>
                  <a:latin typeface="Segoe UI Semibold"/>
                  <a:sym typeface="Segoe UI Semibold"/>
                </a:rPr>
                <a:t>Power BI</a:t>
              </a:r>
            </a:p>
          </p:txBody>
        </p:sp>
        <p:grpSp>
          <p:nvGrpSpPr>
            <p:cNvPr id="59" name="Group 58">
              <a:extLst>
                <a:ext uri="{FF2B5EF4-FFF2-40B4-BE49-F238E27FC236}">
                  <a16:creationId xmlns:a16="http://schemas.microsoft.com/office/drawing/2014/main" id="{CF0CA3EF-E4AF-48CE-A471-4C831E54EF3F}"/>
                </a:ext>
              </a:extLst>
            </p:cNvPr>
            <p:cNvGrpSpPr/>
            <p:nvPr/>
          </p:nvGrpSpPr>
          <p:grpSpPr>
            <a:xfrm>
              <a:off x="9730105" y="3501775"/>
              <a:ext cx="474506" cy="358250"/>
              <a:chOff x="2851176" y="840527"/>
              <a:chExt cx="3024388" cy="2283410"/>
            </a:xfrm>
          </p:grpSpPr>
          <p:sp>
            <p:nvSpPr>
              <p:cNvPr id="60" name="Freeform: Shape 338">
                <a:extLst>
                  <a:ext uri="{FF2B5EF4-FFF2-40B4-BE49-F238E27FC236}">
                    <a16:creationId xmlns:a16="http://schemas.microsoft.com/office/drawing/2014/main" id="{755D314E-9F9D-47B0-8CC8-7815A6387FB6}"/>
                  </a:ext>
                </a:extLst>
              </p:cNvPr>
              <p:cNvSpPr/>
              <p:nvPr/>
            </p:nvSpPr>
            <p:spPr>
              <a:xfrm>
                <a:off x="2851176" y="840527"/>
                <a:ext cx="3024388" cy="1958289"/>
              </a:xfrm>
              <a:custGeom>
                <a:avLst/>
                <a:gdLst>
                  <a:gd name="connsiteX0" fmla="*/ 61230 w 493108"/>
                  <a:gd name="connsiteY0" fmla="*/ 0 h 319287"/>
                  <a:gd name="connsiteX1" fmla="*/ 431878 w 493108"/>
                  <a:gd name="connsiteY1" fmla="*/ 0 h 319287"/>
                  <a:gd name="connsiteX2" fmla="*/ 493108 w 493108"/>
                  <a:gd name="connsiteY2" fmla="*/ 61230 h 319287"/>
                  <a:gd name="connsiteX3" fmla="*/ 493108 w 493108"/>
                  <a:gd name="connsiteY3" fmla="*/ 258057 h 319287"/>
                  <a:gd name="connsiteX4" fmla="*/ 431878 w 493108"/>
                  <a:gd name="connsiteY4" fmla="*/ 319287 h 319287"/>
                  <a:gd name="connsiteX5" fmla="*/ 425306 w 493108"/>
                  <a:gd name="connsiteY5" fmla="*/ 319287 h 319287"/>
                  <a:gd name="connsiteX6" fmla="*/ 425306 w 493108"/>
                  <a:gd name="connsiteY6" fmla="*/ 298563 h 319287"/>
                  <a:gd name="connsiteX7" fmla="*/ 434307 w 493108"/>
                  <a:gd name="connsiteY7" fmla="*/ 298563 h 319287"/>
                  <a:gd name="connsiteX8" fmla="*/ 474000 w 493108"/>
                  <a:gd name="connsiteY8" fmla="*/ 258870 h 319287"/>
                  <a:gd name="connsiteX9" fmla="*/ 474000 w 493108"/>
                  <a:gd name="connsiteY9" fmla="*/ 59417 h 319287"/>
                  <a:gd name="connsiteX10" fmla="*/ 434307 w 493108"/>
                  <a:gd name="connsiteY10" fmla="*/ 19724 h 319287"/>
                  <a:gd name="connsiteX11" fmla="*/ 60650 w 493108"/>
                  <a:gd name="connsiteY11" fmla="*/ 19724 h 319287"/>
                  <a:gd name="connsiteX12" fmla="*/ 20957 w 493108"/>
                  <a:gd name="connsiteY12" fmla="*/ 59417 h 319287"/>
                  <a:gd name="connsiteX13" fmla="*/ 20957 w 493108"/>
                  <a:gd name="connsiteY13" fmla="*/ 258870 h 319287"/>
                  <a:gd name="connsiteX14" fmla="*/ 60650 w 493108"/>
                  <a:gd name="connsiteY14" fmla="*/ 298563 h 319287"/>
                  <a:gd name="connsiteX15" fmla="*/ 69652 w 493108"/>
                  <a:gd name="connsiteY15" fmla="*/ 298563 h 319287"/>
                  <a:gd name="connsiteX16" fmla="*/ 69652 w 493108"/>
                  <a:gd name="connsiteY16" fmla="*/ 319287 h 319287"/>
                  <a:gd name="connsiteX17" fmla="*/ 61230 w 493108"/>
                  <a:gd name="connsiteY17" fmla="*/ 319287 h 319287"/>
                  <a:gd name="connsiteX18" fmla="*/ 0 w 493108"/>
                  <a:gd name="connsiteY18" fmla="*/ 258057 h 319287"/>
                  <a:gd name="connsiteX19" fmla="*/ 0 w 493108"/>
                  <a:gd name="connsiteY19" fmla="*/ 61230 h 319287"/>
                  <a:gd name="connsiteX20" fmla="*/ 61230 w 493108"/>
                  <a:gd name="connsiteY20" fmla="*/ 0 h 31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3108" h="319287">
                    <a:moveTo>
                      <a:pt x="61230" y="0"/>
                    </a:moveTo>
                    <a:lnTo>
                      <a:pt x="431878" y="0"/>
                    </a:lnTo>
                    <a:cubicBezTo>
                      <a:pt x="465695" y="0"/>
                      <a:pt x="493108" y="27414"/>
                      <a:pt x="493108" y="61230"/>
                    </a:cubicBezTo>
                    <a:lnTo>
                      <a:pt x="493108" y="258057"/>
                    </a:lnTo>
                    <a:cubicBezTo>
                      <a:pt x="493108" y="291874"/>
                      <a:pt x="465695" y="319287"/>
                      <a:pt x="431878" y="319287"/>
                    </a:cubicBezTo>
                    <a:lnTo>
                      <a:pt x="425306" y="319287"/>
                    </a:lnTo>
                    <a:lnTo>
                      <a:pt x="425306" y="298563"/>
                    </a:lnTo>
                    <a:lnTo>
                      <a:pt x="434307" y="298563"/>
                    </a:lnTo>
                    <a:cubicBezTo>
                      <a:pt x="456229" y="298563"/>
                      <a:pt x="474000" y="280792"/>
                      <a:pt x="474000" y="258870"/>
                    </a:cubicBezTo>
                    <a:lnTo>
                      <a:pt x="474000" y="59417"/>
                    </a:lnTo>
                    <a:cubicBezTo>
                      <a:pt x="474000" y="37495"/>
                      <a:pt x="456229" y="19724"/>
                      <a:pt x="434307" y="19724"/>
                    </a:cubicBezTo>
                    <a:lnTo>
                      <a:pt x="60650" y="19724"/>
                    </a:lnTo>
                    <a:cubicBezTo>
                      <a:pt x="38728" y="19724"/>
                      <a:pt x="20957" y="37495"/>
                      <a:pt x="20957" y="59417"/>
                    </a:cubicBezTo>
                    <a:lnTo>
                      <a:pt x="20957" y="258870"/>
                    </a:lnTo>
                    <a:cubicBezTo>
                      <a:pt x="20957" y="280792"/>
                      <a:pt x="38728" y="298563"/>
                      <a:pt x="60650" y="298563"/>
                    </a:cubicBezTo>
                    <a:lnTo>
                      <a:pt x="69652" y="298563"/>
                    </a:lnTo>
                    <a:lnTo>
                      <a:pt x="69652" y="319287"/>
                    </a:lnTo>
                    <a:lnTo>
                      <a:pt x="61230" y="319287"/>
                    </a:lnTo>
                    <a:cubicBezTo>
                      <a:pt x="27414" y="319287"/>
                      <a:pt x="0" y="291874"/>
                      <a:pt x="0" y="258057"/>
                    </a:cubicBezTo>
                    <a:lnTo>
                      <a:pt x="0" y="61230"/>
                    </a:lnTo>
                    <a:cubicBezTo>
                      <a:pt x="0" y="27414"/>
                      <a:pt x="27414" y="0"/>
                      <a:pt x="61230" y="0"/>
                    </a:cubicBezTo>
                    <a:close/>
                  </a:path>
                </a:pathLst>
              </a:custGeom>
              <a:solidFill>
                <a:srgbClr val="0078D7"/>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sp>
            <p:nvSpPr>
              <p:cNvPr id="61" name="Freeform: Shape 339">
                <a:extLst>
                  <a:ext uri="{FF2B5EF4-FFF2-40B4-BE49-F238E27FC236}">
                    <a16:creationId xmlns:a16="http://schemas.microsoft.com/office/drawing/2014/main" id="{37EC31AF-BED1-444B-9403-A3721206BF92}"/>
                  </a:ext>
                </a:extLst>
              </p:cNvPr>
              <p:cNvSpPr/>
              <p:nvPr/>
            </p:nvSpPr>
            <p:spPr>
              <a:xfrm>
                <a:off x="3382432" y="1335590"/>
                <a:ext cx="1959012" cy="1788347"/>
              </a:xfrm>
              <a:custGeom>
                <a:avLst/>
                <a:gdLst>
                  <a:gd name="connsiteX0" fmla="*/ 169583 w 1959012"/>
                  <a:gd name="connsiteY0" fmla="*/ 1054931 h 1788347"/>
                  <a:gd name="connsiteX1" fmla="*/ 339166 w 1959012"/>
                  <a:gd name="connsiteY1" fmla="*/ 1224514 h 1788347"/>
                  <a:gd name="connsiteX2" fmla="*/ 339166 w 1959012"/>
                  <a:gd name="connsiteY2" fmla="*/ 1618758 h 1788347"/>
                  <a:gd name="connsiteX3" fmla="*/ 169583 w 1959012"/>
                  <a:gd name="connsiteY3" fmla="*/ 1788341 h 1788347"/>
                  <a:gd name="connsiteX4" fmla="*/ 0 w 1959012"/>
                  <a:gd name="connsiteY4" fmla="*/ 1618758 h 1788347"/>
                  <a:gd name="connsiteX5" fmla="*/ 0 w 1959012"/>
                  <a:gd name="connsiteY5" fmla="*/ 1224514 h 1788347"/>
                  <a:gd name="connsiteX6" fmla="*/ 169583 w 1959012"/>
                  <a:gd name="connsiteY6" fmla="*/ 1054931 h 1788347"/>
                  <a:gd name="connsiteX7" fmla="*/ 1255480 w 1959012"/>
                  <a:gd name="connsiteY7" fmla="*/ 692010 h 1788347"/>
                  <a:gd name="connsiteX8" fmla="*/ 1425063 w 1959012"/>
                  <a:gd name="connsiteY8" fmla="*/ 861593 h 1788347"/>
                  <a:gd name="connsiteX9" fmla="*/ 1425063 w 1959012"/>
                  <a:gd name="connsiteY9" fmla="*/ 1618764 h 1788347"/>
                  <a:gd name="connsiteX10" fmla="*/ 1255480 w 1959012"/>
                  <a:gd name="connsiteY10" fmla="*/ 1788347 h 1788347"/>
                  <a:gd name="connsiteX11" fmla="*/ 1085897 w 1959012"/>
                  <a:gd name="connsiteY11" fmla="*/ 1618764 h 1788347"/>
                  <a:gd name="connsiteX12" fmla="*/ 1085897 w 1959012"/>
                  <a:gd name="connsiteY12" fmla="*/ 861593 h 1788347"/>
                  <a:gd name="connsiteX13" fmla="*/ 1255480 w 1959012"/>
                  <a:gd name="connsiteY13" fmla="*/ 692010 h 1788347"/>
                  <a:gd name="connsiteX14" fmla="*/ 712526 w 1959012"/>
                  <a:gd name="connsiteY14" fmla="*/ 438716 h 1788347"/>
                  <a:gd name="connsiteX15" fmla="*/ 882106 w 1959012"/>
                  <a:gd name="connsiteY15" fmla="*/ 608296 h 1788347"/>
                  <a:gd name="connsiteX16" fmla="*/ 882106 w 1959012"/>
                  <a:gd name="connsiteY16" fmla="*/ 1618767 h 1788347"/>
                  <a:gd name="connsiteX17" fmla="*/ 712526 w 1959012"/>
                  <a:gd name="connsiteY17" fmla="*/ 1788347 h 1788347"/>
                  <a:gd name="connsiteX18" fmla="*/ 542946 w 1959012"/>
                  <a:gd name="connsiteY18" fmla="*/ 1618767 h 1788347"/>
                  <a:gd name="connsiteX19" fmla="*/ 542946 w 1959012"/>
                  <a:gd name="connsiteY19" fmla="*/ 608296 h 1788347"/>
                  <a:gd name="connsiteX20" fmla="*/ 712526 w 1959012"/>
                  <a:gd name="connsiteY20" fmla="*/ 438716 h 1788347"/>
                  <a:gd name="connsiteX21" fmla="*/ 1789429 w 1959012"/>
                  <a:gd name="connsiteY21" fmla="*/ 0 h 1788347"/>
                  <a:gd name="connsiteX22" fmla="*/ 1959012 w 1959012"/>
                  <a:gd name="connsiteY22" fmla="*/ 169583 h 1788347"/>
                  <a:gd name="connsiteX23" fmla="*/ 1959012 w 1959012"/>
                  <a:gd name="connsiteY23" fmla="*/ 1618764 h 1788347"/>
                  <a:gd name="connsiteX24" fmla="*/ 1789429 w 1959012"/>
                  <a:gd name="connsiteY24" fmla="*/ 1788347 h 1788347"/>
                  <a:gd name="connsiteX25" fmla="*/ 1619846 w 1959012"/>
                  <a:gd name="connsiteY25" fmla="*/ 1618764 h 1788347"/>
                  <a:gd name="connsiteX26" fmla="*/ 1619846 w 1959012"/>
                  <a:gd name="connsiteY26" fmla="*/ 169583 h 1788347"/>
                  <a:gd name="connsiteX27" fmla="*/ 1789429 w 1959012"/>
                  <a:gd name="connsiteY27" fmla="*/ 0 h 178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59012" h="1788347">
                    <a:moveTo>
                      <a:pt x="169583" y="1054931"/>
                    </a:moveTo>
                    <a:cubicBezTo>
                      <a:pt x="263241" y="1054931"/>
                      <a:pt x="339166" y="1130856"/>
                      <a:pt x="339166" y="1224514"/>
                    </a:cubicBezTo>
                    <a:lnTo>
                      <a:pt x="339166" y="1618758"/>
                    </a:lnTo>
                    <a:cubicBezTo>
                      <a:pt x="339166" y="1712416"/>
                      <a:pt x="263241" y="1788341"/>
                      <a:pt x="169583" y="1788341"/>
                    </a:cubicBezTo>
                    <a:cubicBezTo>
                      <a:pt x="75925" y="1788341"/>
                      <a:pt x="0" y="1712416"/>
                      <a:pt x="0" y="1618758"/>
                    </a:cubicBezTo>
                    <a:lnTo>
                      <a:pt x="0" y="1224514"/>
                    </a:lnTo>
                    <a:cubicBezTo>
                      <a:pt x="0" y="1130856"/>
                      <a:pt x="75925" y="1054931"/>
                      <a:pt x="169583" y="1054931"/>
                    </a:cubicBezTo>
                    <a:close/>
                    <a:moveTo>
                      <a:pt x="1255480" y="692010"/>
                    </a:moveTo>
                    <a:cubicBezTo>
                      <a:pt x="1349138" y="692010"/>
                      <a:pt x="1425063" y="767935"/>
                      <a:pt x="1425063" y="861593"/>
                    </a:cubicBezTo>
                    <a:lnTo>
                      <a:pt x="1425063" y="1618764"/>
                    </a:lnTo>
                    <a:cubicBezTo>
                      <a:pt x="1425063" y="1712422"/>
                      <a:pt x="1349138" y="1788347"/>
                      <a:pt x="1255480" y="1788347"/>
                    </a:cubicBezTo>
                    <a:cubicBezTo>
                      <a:pt x="1161822" y="1788347"/>
                      <a:pt x="1085897" y="1712422"/>
                      <a:pt x="1085897" y="1618764"/>
                    </a:cubicBezTo>
                    <a:lnTo>
                      <a:pt x="1085897" y="861593"/>
                    </a:lnTo>
                    <a:cubicBezTo>
                      <a:pt x="1085897" y="767935"/>
                      <a:pt x="1161822" y="692010"/>
                      <a:pt x="1255480" y="692010"/>
                    </a:cubicBezTo>
                    <a:close/>
                    <a:moveTo>
                      <a:pt x="712526" y="438716"/>
                    </a:moveTo>
                    <a:cubicBezTo>
                      <a:pt x="806182" y="438716"/>
                      <a:pt x="882106" y="514640"/>
                      <a:pt x="882106" y="608296"/>
                    </a:cubicBezTo>
                    <a:lnTo>
                      <a:pt x="882106" y="1618767"/>
                    </a:lnTo>
                    <a:cubicBezTo>
                      <a:pt x="882106" y="1712423"/>
                      <a:pt x="806182" y="1788347"/>
                      <a:pt x="712526" y="1788347"/>
                    </a:cubicBezTo>
                    <a:cubicBezTo>
                      <a:pt x="618870" y="1788347"/>
                      <a:pt x="542946" y="1712423"/>
                      <a:pt x="542946" y="1618767"/>
                    </a:cubicBezTo>
                    <a:lnTo>
                      <a:pt x="542946" y="608296"/>
                    </a:lnTo>
                    <a:cubicBezTo>
                      <a:pt x="542946" y="514640"/>
                      <a:pt x="618870" y="438716"/>
                      <a:pt x="712526" y="438716"/>
                    </a:cubicBezTo>
                    <a:close/>
                    <a:moveTo>
                      <a:pt x="1789429" y="0"/>
                    </a:moveTo>
                    <a:cubicBezTo>
                      <a:pt x="1883087" y="0"/>
                      <a:pt x="1959012" y="75925"/>
                      <a:pt x="1959012" y="169583"/>
                    </a:cubicBezTo>
                    <a:lnTo>
                      <a:pt x="1959012" y="1618764"/>
                    </a:lnTo>
                    <a:cubicBezTo>
                      <a:pt x="1959012" y="1712422"/>
                      <a:pt x="1883087" y="1788347"/>
                      <a:pt x="1789429" y="1788347"/>
                    </a:cubicBezTo>
                    <a:cubicBezTo>
                      <a:pt x="1695771" y="1788347"/>
                      <a:pt x="1619846" y="1712422"/>
                      <a:pt x="1619846" y="1618764"/>
                    </a:cubicBezTo>
                    <a:lnTo>
                      <a:pt x="1619846" y="169583"/>
                    </a:lnTo>
                    <a:cubicBezTo>
                      <a:pt x="1619846" y="75925"/>
                      <a:pt x="1695771" y="0"/>
                      <a:pt x="1789429" y="0"/>
                    </a:cubicBezTo>
                    <a:close/>
                  </a:path>
                </a:pathLst>
              </a:custGeom>
              <a:solidFill>
                <a:srgbClr val="50E6FF"/>
              </a:solidFill>
              <a:ln w="342900" cap="sq" cmpd="sng" algn="ctr">
                <a:noFill/>
                <a:prstDash val="solid"/>
              </a:ln>
              <a:effectLst/>
            </p:spPr>
            <p:txBody>
              <a:bodyPr wrap="square" rtlCol="0" anchor="ctr">
                <a:noAutofit/>
              </a:bodyPr>
              <a:lstStyle/>
              <a:p>
                <a:pPr algn="ctr" defTabSz="914093">
                  <a:defRPr/>
                </a:pPr>
                <a:endParaRPr lang="en-US" sz="1764" kern="0">
                  <a:solidFill>
                    <a:srgbClr val="FFFFFF"/>
                  </a:solidFill>
                  <a:latin typeface="Segoe UI"/>
                  <a:sym typeface="Segoe UI Semibold"/>
                </a:endParaRPr>
              </a:p>
            </p:txBody>
          </p:sp>
        </p:grpSp>
      </p:grpSp>
      <p:sp>
        <p:nvSpPr>
          <p:cNvPr id="25" name="TextBox 24">
            <a:extLst>
              <a:ext uri="{FF2B5EF4-FFF2-40B4-BE49-F238E27FC236}">
                <a16:creationId xmlns:a16="http://schemas.microsoft.com/office/drawing/2014/main" id="{35F2F61F-923A-42F2-976D-32E0B47C1209}"/>
              </a:ext>
            </a:extLst>
          </p:cNvPr>
          <p:cNvSpPr txBox="1"/>
          <p:nvPr/>
        </p:nvSpPr>
        <p:spPr>
          <a:xfrm>
            <a:off x="-214849" y="5213033"/>
            <a:ext cx="3235970"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57109">
              <a:spcAft>
                <a:spcPts val="600"/>
              </a:spcAft>
              <a:defRPr/>
            </a:pPr>
            <a:r>
              <a:rPr lang="en-US" sz="2200" dirty="0">
                <a:latin typeface="Segoe UI Semibold" panose="020B0502040204020203" pitchFamily="34" charset="0"/>
                <a:cs typeface="Segoe UI Semibold" panose="020B0502040204020203" pitchFamily="34" charset="0"/>
                <a:sym typeface="Segoe UI Semibold"/>
              </a:rPr>
              <a:t>Cloud Gateway</a:t>
            </a:r>
          </a:p>
        </p:txBody>
      </p:sp>
      <p:sp>
        <p:nvSpPr>
          <p:cNvPr id="26" name="TextBox 25">
            <a:extLst>
              <a:ext uri="{FF2B5EF4-FFF2-40B4-BE49-F238E27FC236}">
                <a16:creationId xmlns:a16="http://schemas.microsoft.com/office/drawing/2014/main" id="{97A5D607-231E-4D8F-8897-45DBF76B5C46}"/>
              </a:ext>
            </a:extLst>
          </p:cNvPr>
          <p:cNvSpPr txBox="1"/>
          <p:nvPr/>
        </p:nvSpPr>
        <p:spPr>
          <a:xfrm>
            <a:off x="8822346" y="5281564"/>
            <a:ext cx="3235970"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457109">
              <a:spcAft>
                <a:spcPts val="600"/>
              </a:spcAft>
              <a:defRPr/>
            </a:pPr>
            <a:r>
              <a:rPr lang="en-US" sz="2200" dirty="0">
                <a:latin typeface="Segoe UI Semibold" panose="020B0502040204020203" pitchFamily="34" charset="0"/>
                <a:cs typeface="Segoe UI Semibold" panose="020B0502040204020203" pitchFamily="34" charset="0"/>
                <a:sym typeface="Segoe UI Semibold"/>
              </a:rPr>
              <a:t>Visualize Data</a:t>
            </a:r>
          </a:p>
        </p:txBody>
      </p:sp>
    </p:spTree>
    <p:extLst>
      <p:ext uri="{BB962C8B-B14F-4D97-AF65-F5344CB8AC3E}">
        <p14:creationId xmlns:p14="http://schemas.microsoft.com/office/powerpoint/2010/main" val="114306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3154507"/>
            <a:ext cx="7454643" cy="548985"/>
          </a:xfrm>
        </p:spPr>
        <p:txBody>
          <a:bodyPr/>
          <a:lstStyle/>
          <a:p>
            <a:r>
              <a:rPr lang="en-US" sz="4400" dirty="0">
                <a:gradFill>
                  <a:gsLst>
                    <a:gs pos="0">
                      <a:schemeClr val="accent5"/>
                    </a:gs>
                    <a:gs pos="100000">
                      <a:schemeClr val="accent4"/>
                    </a:gs>
                  </a:gsLst>
                  <a:lin ang="2700000" scaled="1"/>
                </a:gradFill>
              </a:rPr>
              <a:t>Integrating IoT data</a:t>
            </a:r>
          </a:p>
        </p:txBody>
      </p:sp>
    </p:spTree>
    <p:extLst>
      <p:ext uri="{BB962C8B-B14F-4D97-AF65-F5344CB8AC3E}">
        <p14:creationId xmlns:p14="http://schemas.microsoft.com/office/powerpoint/2010/main" val="4157191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4.44444E-6 L 0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0.xml><?xml version="1.0" encoding="utf-8"?>
<a:theme xmlns:a="http://schemas.openxmlformats.org/drawingml/2006/main" name="TR18_BO_CT_Template_16x9">
  <a:themeElements>
    <a:clrScheme name="TR17-Blue">
      <a:dk1>
        <a:srgbClr val="505050"/>
      </a:dk1>
      <a:lt1>
        <a:srgbClr val="FFFFFF"/>
      </a:lt1>
      <a:dk2>
        <a:srgbClr val="0072C6"/>
      </a:dk2>
      <a:lt2>
        <a:srgbClr val="6DC2E9"/>
      </a:lt2>
      <a:accent1>
        <a:srgbClr val="002050"/>
      </a:accent1>
      <a:accent2>
        <a:srgbClr val="007233"/>
      </a:accent2>
      <a:accent3>
        <a:srgbClr val="DC3C00"/>
      </a:accent3>
      <a:accent4>
        <a:srgbClr val="442359"/>
      </a:accent4>
      <a:accent5>
        <a:srgbClr val="B4009E"/>
      </a:accent5>
      <a:accent6>
        <a:srgbClr val="FF8C00"/>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ppt/theme/theme1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2.xml><?xml version="1.0" encoding="utf-8"?>
<a:theme xmlns:a="http://schemas.openxmlformats.org/drawingml/2006/main" name="2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3.xml><?xml version="1.0" encoding="utf-8"?>
<a:theme xmlns:a="http://schemas.openxmlformats.org/drawingml/2006/main" name="3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E7F13FD8-A640-4E35-8F61-306DA1D17B81}"/>
    </a:ext>
  </a:extLst>
</a:theme>
</file>

<file path=ppt/theme/theme1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16.xml><?xml version="1.0" encoding="utf-8"?>
<a:theme xmlns:a="http://schemas.openxmlformats.org/drawingml/2006/main" name="2_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E7F13FD8-A640-4E35-8F61-306DA1D17B81}"/>
    </a:ext>
  </a:extLst>
</a:theme>
</file>

<file path=ppt/theme/theme17.xml><?xml version="1.0" encoding="utf-8"?>
<a:theme xmlns:a="http://schemas.openxmlformats.org/drawingml/2006/main" name="1_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18.xml><?xml version="1.0" encoding="utf-8"?>
<a:theme xmlns:a="http://schemas.openxmlformats.org/drawingml/2006/main" name="4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9.xml><?xml version="1.0" encoding="utf-8"?>
<a:theme xmlns:a="http://schemas.openxmlformats.org/drawingml/2006/main" name="5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8F53374-45FC-4FE2-A734-987B38B4F728}" vid="{275E48DB-F7F1-47EF-AD59-BC93EEF78B96}"/>
    </a:ext>
  </a:extLst>
</a:theme>
</file>

<file path=ppt/theme/theme20.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1.xml><?xml version="1.0" encoding="utf-8"?>
<a:theme xmlns:a="http://schemas.openxmlformats.org/drawingml/2006/main" name="2_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22.xml><?xml version="1.0" encoding="utf-8"?>
<a:theme xmlns:a="http://schemas.openxmlformats.org/drawingml/2006/main" name="2. Blue">
  <a:themeElements>
    <a:clrScheme name="MSFT Learn 1">
      <a:dk1>
        <a:srgbClr val="50E6FF"/>
      </a:dk1>
      <a:lt1>
        <a:srgbClr val="FFFFFF"/>
      </a:lt1>
      <a:dk2>
        <a:srgbClr val="243A5E"/>
      </a:dk2>
      <a:lt2>
        <a:srgbClr val="FFFFFF"/>
      </a:lt2>
      <a:accent1>
        <a:srgbClr val="243A5E"/>
      </a:accent1>
      <a:accent2>
        <a:srgbClr val="3B2E58"/>
      </a:accent2>
      <a:accent3>
        <a:srgbClr val="054B16"/>
      </a:accent3>
      <a:accent4>
        <a:srgbClr val="274B47"/>
      </a:accent4>
      <a:accent5>
        <a:srgbClr val="6B2828"/>
      </a:accent5>
      <a:accent6>
        <a:srgbClr val="008575"/>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emplate - Ignite" id="{69F892DB-77B0-A34A-A732-FD97D4E2F53D}" vid="{CD1D0627-885F-FE42-81FE-F116FAFABF1A}"/>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oT Summit">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16_9_Microsoft_Azure.pptx" id="{CB2F00D6-8B2E-48B4-BBEB-A9DFE81F43FF}" vid="{D4AA22CE-2EB6-4D58-AC1F-AD8246D21621}"/>
    </a:ext>
  </a:extLst>
</a:theme>
</file>

<file path=ppt/theme/theme4.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5.xml><?xml version="1.0" encoding="utf-8"?>
<a:theme xmlns:a="http://schemas.openxmlformats.org/drawingml/2006/main" name="1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Microsoft_Learn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1" id="{A2B4404C-4C97-6145-A86B-A85F76804F3E}" vid="{84A7CE14-D1D3-344C-A42F-A4FA3DE071E1}"/>
    </a:ext>
  </a:extLst>
</a:theme>
</file>

<file path=ppt/theme/theme7.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8.xml><?xml version="1.0" encoding="utf-8"?>
<a:theme xmlns:a="http://schemas.openxmlformats.org/drawingml/2006/main" name="1.Grey">
  <a:themeElements>
    <a:clrScheme name="MSFT Learn 1">
      <a:dk1>
        <a:srgbClr val="50E6FF"/>
      </a:dk1>
      <a:lt1>
        <a:srgbClr val="FFFFFF"/>
      </a:lt1>
      <a:dk2>
        <a:srgbClr val="243A5E"/>
      </a:dk2>
      <a:lt2>
        <a:srgbClr val="FFFFFF"/>
      </a:lt2>
      <a:accent1>
        <a:srgbClr val="243A5E"/>
      </a:accent1>
      <a:accent2>
        <a:srgbClr val="3B2E58"/>
      </a:accent2>
      <a:accent3>
        <a:srgbClr val="054B16"/>
      </a:accent3>
      <a:accent4>
        <a:srgbClr val="274B47"/>
      </a:accent4>
      <a:accent5>
        <a:srgbClr val="6B2828"/>
      </a:accent5>
      <a:accent6>
        <a:srgbClr val="008575"/>
      </a:accent6>
      <a:hlink>
        <a:srgbClr val="0078D3"/>
      </a:hlink>
      <a:folHlink>
        <a:srgbClr val="50E6FF"/>
      </a:folHlink>
    </a:clrScheme>
    <a:fontScheme name="White">
      <a:majorFont>
        <a:latin typeface="Segoe UI Semibold"/>
        <a:ea typeface="Segoe UI Semibold"/>
        <a:cs typeface="Segoe UI Semibold"/>
      </a:majorFont>
      <a:minorFont>
        <a:latin typeface="Segoe UI Semibold"/>
        <a:ea typeface="Segoe UI Semibold"/>
        <a:cs typeface="Segoe UI Semibold"/>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70000"/>
          </a:lnSpc>
          <a:spcBef>
            <a:spcPts val="0"/>
          </a:spcBef>
          <a:spcAft>
            <a:spcPts val="0"/>
          </a:spcAft>
          <a:buClrTx/>
          <a:buSzTx/>
          <a:buFontTx/>
          <a:buNone/>
          <a:tabLst/>
          <a:defRPr kumimoji="0" sz="11200" b="0" i="0" u="none" strike="noStrike" cap="none" spc="-224" normalizeH="0" baseline="0">
            <a:ln>
              <a:noFill/>
            </a:ln>
            <a:solidFill>
              <a:srgbClr val="FFFFFF"/>
            </a:solidFill>
            <a:effectLst/>
            <a:uFillTx/>
            <a:latin typeface="+mn-lt"/>
            <a:ea typeface="+mn-ea"/>
            <a:cs typeface="+mn-cs"/>
            <a:sym typeface="Segoe UI Semi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 Ignite" id="{69F892DB-77B0-A34A-A732-FD97D4E2F53D}" vid="{8197B14A-AA05-9847-A67E-6E1078E0F403}"/>
    </a:ext>
  </a:extLst>
</a:theme>
</file>

<file path=ppt/theme/theme9.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1C5440DF00361458231CD93B84B4EBD" ma:contentTypeVersion="15" ma:contentTypeDescription="Create a new document." ma:contentTypeScope="" ma:versionID="76dcc76f583e995c2b707a9627c01dd3">
  <xsd:schema xmlns:xsd="http://www.w3.org/2001/XMLSchema" xmlns:xs="http://www.w3.org/2001/XMLSchema" xmlns:p="http://schemas.microsoft.com/office/2006/metadata/properties" xmlns:ns1="http://schemas.microsoft.com/sharepoint/v3" xmlns:ns2="32920a28-a2a2-424f-9212-a42fc62de534" xmlns:ns3="a446482e-8c04-4f10-91f4-5d651528d8f6" targetNamespace="http://schemas.microsoft.com/office/2006/metadata/properties" ma:root="true" ma:fieldsID="d20c7831cf78a95559e0d8abe898fc27" ns1:_="" ns2:_="" ns3:_="">
    <xsd:import namespace="http://schemas.microsoft.com/sharepoint/v3"/>
    <xsd:import namespace="32920a28-a2a2-424f-9212-a42fc62de534"/>
    <xsd:import namespace="a446482e-8c04-4f10-91f4-5d651528d8f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AutoTags" minOccurs="0"/>
                <xsd:element ref="ns2:MediaServiceEventHashCode" minOccurs="0"/>
                <xsd:element ref="ns2:MediaServiceGenerationTime"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920a28-a2a2-424f-9212-a42fc62de534"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false">
      <xsd:simpleType>
        <xsd:restriction base="dms:Note">
          <xsd:maxLength value="255"/>
        </xsd:restriction>
      </xsd:simpleType>
    </xsd:element>
    <xsd:element name="MediaServiceDateTaken" ma:index="2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446482e-8c04-4f10-91f4-5d651528d8f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a446482e-8c04-4f10-91f4-5d651528d8f6">
      <UserInfo>
        <DisplayName>Jessica Harbin (BRIDGE PARTNERS LLC)</DisplayName>
        <AccountId>80</AccountId>
        <AccountType/>
      </UserInfo>
    </SharedWithUsers>
    <MediaServiceKeyPoints xmlns="32920a28-a2a2-424f-9212-a42fc62de534"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D5F3F2-4FDF-45D0-9CCD-1C41D4C5F4EE}"/>
</file>

<file path=customXml/itemProps2.xml><?xml version="1.0" encoding="utf-8"?>
<ds:datastoreItem xmlns:ds="http://schemas.openxmlformats.org/officeDocument/2006/customXml" ds:itemID="{6B6FA06D-DA79-41E3-989C-44B8E143E50E}">
  <ds:schemaRefs>
    <ds:schemaRef ds:uri="c01e68ff-ba35-4d49-95e5-a716800ab2f9"/>
    <ds:schemaRef ds:uri="d33f47d4-3353-4c47-93a7-37f1bba64da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8c7c6d36-a165-4e76-ab0d-29282b64d3c9"/>
  </ds:schemaRefs>
</ds:datastoreItem>
</file>

<file path=customXml/itemProps3.xml><?xml version="1.0" encoding="utf-8"?>
<ds:datastoreItem xmlns:ds="http://schemas.openxmlformats.org/officeDocument/2006/customXml" ds:itemID="{D33158D9-87A7-4EDD-A5FF-F19D04665731}">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4950</TotalTime>
  <Words>15624</Words>
  <Application>Microsoft Office PowerPoint</Application>
  <PresentationFormat>Widescreen</PresentationFormat>
  <Paragraphs>1731</Paragraphs>
  <Slides>75</Slides>
  <Notes>74</Notes>
  <HiddenSlides>0</HiddenSlides>
  <MMClips>2</MMClips>
  <ScaleCrop>false</ScaleCrop>
  <HeadingPairs>
    <vt:vector size="8" baseType="variant">
      <vt:variant>
        <vt:lpstr>Fonts Used</vt:lpstr>
      </vt:variant>
      <vt:variant>
        <vt:i4>20</vt:i4>
      </vt:variant>
      <vt:variant>
        <vt:lpstr>Theme</vt:lpstr>
      </vt:variant>
      <vt:variant>
        <vt:i4>23</vt:i4>
      </vt:variant>
      <vt:variant>
        <vt:lpstr>Embedded OLE Servers</vt:lpstr>
      </vt:variant>
      <vt:variant>
        <vt:i4>1</vt:i4>
      </vt:variant>
      <vt:variant>
        <vt:lpstr>Slide Titles</vt:lpstr>
      </vt:variant>
      <vt:variant>
        <vt:i4>75</vt:i4>
      </vt:variant>
    </vt:vector>
  </HeadingPairs>
  <TitlesOfParts>
    <vt:vector size="119" baseType="lpstr">
      <vt:lpstr>Arial</vt:lpstr>
      <vt:lpstr>Barlow</vt:lpstr>
      <vt:lpstr>Calibri</vt:lpstr>
      <vt:lpstr>Calibri Light</vt:lpstr>
      <vt:lpstr>Consolas</vt:lpstr>
      <vt:lpstr>Helvetica Neue Medium</vt:lpstr>
      <vt:lpstr>Myriad Pro</vt:lpstr>
      <vt:lpstr>Roboto</vt:lpstr>
      <vt:lpstr>Segoe Semibold</vt:lpstr>
      <vt:lpstr>Segoe UI</vt:lpstr>
      <vt:lpstr>Segoe UI (Body)</vt:lpstr>
      <vt:lpstr>Segoe UI Light</vt:lpstr>
      <vt:lpstr>Segoe UI Light (Headings)</vt:lpstr>
      <vt:lpstr>Segoe UI Semibold</vt:lpstr>
      <vt:lpstr>Segoe UI Semibold (Headings)</vt:lpstr>
      <vt:lpstr>Segoe UI Semilight</vt:lpstr>
      <vt:lpstr>Symbol</vt:lpstr>
      <vt:lpstr>Times</vt:lpstr>
      <vt:lpstr>Times New Roman</vt:lpstr>
      <vt:lpstr>Wingdings</vt:lpstr>
      <vt:lpstr>Azure 1 template</vt:lpstr>
      <vt:lpstr>Black Template</vt:lpstr>
      <vt:lpstr>IoT Summit</vt:lpstr>
      <vt:lpstr>1_Black Template</vt:lpstr>
      <vt:lpstr>1_Azure 1</vt:lpstr>
      <vt:lpstr>Microsoft_Learn_White_Template</vt:lpstr>
      <vt:lpstr>2_Black Template</vt:lpstr>
      <vt:lpstr>1.Grey</vt:lpstr>
      <vt:lpstr>Azure 1</vt:lpstr>
      <vt:lpstr>TR18_BO_CT_Template_16x9</vt:lpstr>
      <vt:lpstr>5-50203_Microsoft_Ignite_Template</vt:lpstr>
      <vt:lpstr>2_Azure 1</vt:lpstr>
      <vt:lpstr>3_Azure 1</vt:lpstr>
      <vt:lpstr>1_WHITE TEMPLATE</vt:lpstr>
      <vt:lpstr>9-51120_Microsoft_Ready_Template_Light</vt:lpstr>
      <vt:lpstr>2_WHITE TEMPLATE</vt:lpstr>
      <vt:lpstr>1_9-51120_Microsoft_Ready_Template_Light</vt:lpstr>
      <vt:lpstr>4_Azure 1</vt:lpstr>
      <vt:lpstr>5_Azure 1</vt:lpstr>
      <vt:lpstr>1_Dynamics 365</vt:lpstr>
      <vt:lpstr>2_9-51120_Microsoft_Ready_Template_Light</vt:lpstr>
      <vt:lpstr>2. Blue</vt:lpstr>
      <vt:lpstr>Office Theme</vt:lpstr>
      <vt:lpstr>think-cell Slide</vt:lpstr>
      <vt:lpstr>PowerPoint Presentation</vt:lpstr>
      <vt:lpstr>Build end to end IoT Solutions</vt:lpstr>
      <vt:lpstr>Agenda</vt:lpstr>
      <vt:lpstr>IoT Solution Architecture</vt:lpstr>
      <vt:lpstr>PowerPoint Presentation</vt:lpstr>
      <vt:lpstr>IoT data overview</vt:lpstr>
      <vt:lpstr>The nature of IoT Data</vt:lpstr>
      <vt:lpstr>Using IoT as an operational Data Source</vt:lpstr>
      <vt:lpstr>Integrating IoT data</vt:lpstr>
      <vt:lpstr>PowerPoint Presentation</vt:lpstr>
      <vt:lpstr>PowerPoint Presentation</vt:lpstr>
      <vt:lpstr>Using IoT as an operational Data Source</vt:lpstr>
      <vt:lpstr>Azure Stream Analytics: Fully Managed PaaS offering for real-time analytics </vt:lpstr>
      <vt:lpstr>Insights and Actions from IoT data</vt:lpstr>
      <vt:lpstr>Augment your existing reports with IoT Data</vt:lpstr>
      <vt:lpstr>Augment your existing reports with IoT Data</vt:lpstr>
      <vt:lpstr>PowerPoint Presentation</vt:lpstr>
      <vt:lpstr>Using IoT as an operational Data Source</vt:lpstr>
      <vt:lpstr>Using IoT as an operational Data Source</vt:lpstr>
      <vt:lpstr>Using IoT as an operational Data Source</vt:lpstr>
      <vt:lpstr>Augment your existing dashboards with realtime IoT Data</vt:lpstr>
      <vt:lpstr>Using IoT as an operational Data Source</vt:lpstr>
      <vt:lpstr>Demo: Identify anomalies by routing data via IoT Hub to a built-in ML model in Azure Stream Analytics  </vt:lpstr>
      <vt:lpstr>Realtime actions with Logic App</vt:lpstr>
      <vt:lpstr>IoT empowers immediate action</vt:lpstr>
      <vt:lpstr>Using IoT as an operational Data Source</vt:lpstr>
      <vt:lpstr>Going further with IoT Edge and SQL Edge</vt:lpstr>
      <vt:lpstr>Time Series Insights  Collect, store, model and visualize timeseries and historical data </vt:lpstr>
      <vt:lpstr>Azure Time Series Insights (TSI)</vt:lpstr>
      <vt:lpstr>Turn insight into action with an end-to-end analytics platform</vt:lpstr>
      <vt:lpstr>PowerPoint Presentation</vt:lpstr>
      <vt:lpstr>PowerPoint Presentation</vt:lpstr>
      <vt:lpstr>PowerPoint Presentation</vt:lpstr>
      <vt:lpstr>PowerPoint Presentation</vt:lpstr>
      <vt:lpstr>PowerPoint Presentation</vt:lpstr>
      <vt:lpstr>PowerPoint Presentation</vt:lpstr>
      <vt:lpstr>Data exploration and anomaly detection</vt:lpstr>
      <vt:lpstr>Demo: Time Series Insights Walkthrough</vt:lpstr>
      <vt:lpstr>Resources</vt:lpstr>
      <vt:lpstr>PowerPoint Presentation</vt:lpstr>
      <vt:lpstr>PowerPoint Presentation</vt:lpstr>
      <vt:lpstr>Live Q&amp;A  Thank you!  IoT Arch Reference: https://aka.ms/iotrefarchitecture Azure Account Signup: https://aka.ms/get-started-azure-2021 Azure IoT Central: https://apps.azureiotcentral.com/myapps Cloud Skills Challenge: https://aka.ms/30DaysCSC/IoT  MS Learn: https://aka.ms/mslearniot MSFT IoT Developer Video Channel: https://aka.ms/msiotdevs IoT Tech Community: https://aka.ms/iottechcommunity Azure IoT Docs: https://docs.microsoft.com/en-us/azure/iot-fundamentals/   </vt:lpstr>
      <vt:lpstr>We would love to hear from you!  Would you please tell the Azure IoT engineering team about your development processes and tools? By completing this very short (&lt;4 minute) survey?  http://aka.ms/EmbeddedDevResearch</vt:lpstr>
      <vt:lpstr>Develop with choice</vt:lpstr>
      <vt:lpstr>PowerPoint Presentation</vt:lpstr>
      <vt:lpstr>Biggest challenges with devices</vt:lpstr>
      <vt:lpstr>IoT Device Management Lifecycle</vt:lpstr>
      <vt:lpstr>Why provisioning is hard today?</vt:lpstr>
      <vt:lpstr>Device Provisioning Service (DPS) brief feature overview</vt:lpstr>
      <vt:lpstr>A Selection of Scenarios</vt:lpstr>
      <vt:lpstr>What is Provisioning?</vt:lpstr>
      <vt:lpstr>Provision Challenges</vt:lpstr>
      <vt:lpstr>IoT Hub Device Provisioning Service</vt:lpstr>
      <vt:lpstr>Provisioning with IoT Hub Device Provisioning Service</vt:lpstr>
      <vt:lpstr>Re-Provisioning at Scale</vt:lpstr>
      <vt:lpstr>IoT Hub &amp; Device Provisioning Service Support </vt:lpstr>
      <vt:lpstr>Simplifying IoT with developer tools</vt:lpstr>
      <vt:lpstr>Demo: Cheese Cave  Provisioning devices to monitor and control temperature &amp; humidity</vt:lpstr>
      <vt:lpstr>Your options for building IoT solutions</vt:lpstr>
      <vt:lpstr>IoT Solution Architecture</vt:lpstr>
      <vt:lpstr>PowerPoint Presentation</vt:lpstr>
      <vt:lpstr>Communication protocols</vt:lpstr>
      <vt:lpstr>PowerPoint Presentation</vt:lpstr>
      <vt:lpstr>Our story for Embedded</vt:lpstr>
      <vt:lpstr>IoT Data: Azure IoT Smart Factory Architecture Scenario</vt:lpstr>
      <vt:lpstr>Azure IoT Hub Message</vt:lpstr>
      <vt:lpstr>Device Twin</vt:lpstr>
      <vt:lpstr>Cloud-to-device communications</vt:lpstr>
      <vt:lpstr>Azure IoT Hub Messaging Routing and Partitioning</vt:lpstr>
      <vt:lpstr>IoT Hub Message Routing and Message Enrichments</vt:lpstr>
      <vt:lpstr>Serverless Integration</vt:lpstr>
      <vt:lpstr>NEW: Device Update  for IoT Hub</vt:lpstr>
      <vt:lpstr>Device Update for IoT Hub Robust features  for every IoT ecosystem</vt:lpstr>
      <vt:lpstr>How Device Update for IoT Hub  works in the real wor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 Kennedy</dc:creator>
  <cp:lastModifiedBy>Pamela Cortez</cp:lastModifiedBy>
  <cp:revision>127</cp:revision>
  <dcterms:created xsi:type="dcterms:W3CDTF">2020-09-22T18:25:46Z</dcterms:created>
  <dcterms:modified xsi:type="dcterms:W3CDTF">2021-03-29T23:1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9-22T18:25:46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0e288a68-516b-4f89-9aa9-0b1cc8750d82</vt:lpwstr>
  </property>
  <property fmtid="{D5CDD505-2E9C-101B-9397-08002B2CF9AE}" pid="8" name="MSIP_Label_f42aa342-8706-4288-bd11-ebb85995028c_ContentBits">
    <vt:lpwstr>0</vt:lpwstr>
  </property>
  <property fmtid="{D5CDD505-2E9C-101B-9397-08002B2CF9AE}" pid="9" name="ContentTypeId">
    <vt:lpwstr>0x010100F1C5440DF00361458231CD93B84B4EBD</vt:lpwstr>
  </property>
</Properties>
</file>